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85" r:id="rId1"/>
  </p:sldMasterIdLst>
  <p:notesMasterIdLst>
    <p:notesMasterId r:id="rId31"/>
  </p:notesMasterIdLst>
  <p:sldIdLst>
    <p:sldId id="260" r:id="rId2"/>
    <p:sldId id="261" r:id="rId3"/>
    <p:sldId id="263" r:id="rId4"/>
    <p:sldId id="265" r:id="rId5"/>
    <p:sldId id="316" r:id="rId6"/>
    <p:sldId id="303" r:id="rId7"/>
    <p:sldId id="304" r:id="rId8"/>
    <p:sldId id="317" r:id="rId9"/>
    <p:sldId id="318" r:id="rId10"/>
    <p:sldId id="271" r:id="rId11"/>
    <p:sldId id="305" r:id="rId12"/>
    <p:sldId id="289" r:id="rId13"/>
    <p:sldId id="290" r:id="rId14"/>
    <p:sldId id="291" r:id="rId15"/>
    <p:sldId id="293" r:id="rId16"/>
    <p:sldId id="306" r:id="rId17"/>
    <p:sldId id="307" r:id="rId18"/>
    <p:sldId id="272" r:id="rId19"/>
    <p:sldId id="319" r:id="rId20"/>
    <p:sldId id="320" r:id="rId21"/>
    <p:sldId id="300" r:id="rId22"/>
    <p:sldId id="301" r:id="rId23"/>
    <p:sldId id="287" r:id="rId24"/>
    <p:sldId id="308" r:id="rId25"/>
    <p:sldId id="315" r:id="rId26"/>
    <p:sldId id="276" r:id="rId27"/>
    <p:sldId id="302" r:id="rId28"/>
    <p:sldId id="277" r:id="rId29"/>
    <p:sldId id="278" r:id="rId30"/>
  </p:sldIdLst>
  <p:sldSz cx="9144000" cy="5715000" type="screen16x10"/>
  <p:notesSz cx="7099300" cy="10234613"/>
  <p:embeddedFontLst>
    <p:embeddedFont>
      <p:font typeface="Segoe WP" panose="02010600030101010101" charset="-122"/>
      <p:regular r:id="rId32"/>
    </p:embeddedFont>
    <p:embeddedFont>
      <p:font typeface="微软雅黑" panose="020B0503020204020204" pitchFamily="34" charset="-122"/>
      <p:regular r:id="rId33"/>
      <p:bold r:id="rId34"/>
    </p:embeddedFont>
    <p:embeddedFont>
      <p:font typeface="方正姚体" panose="02010601030101010101" pitchFamily="2" charset="-122"/>
      <p:regular r:id="rId35"/>
    </p:embeddedFont>
    <p:embeddedFont>
      <p:font typeface="华文楷体" panose="02010600040101010101" pitchFamily="2" charset="-122"/>
      <p:regular r:id="rId36"/>
    </p:embeddedFont>
    <p:embeddedFont>
      <p:font typeface="Tahoma" panose="020B0604030504040204" pitchFamily="34" charset="0"/>
      <p:regular r:id="rId37"/>
      <p:bold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  <p:embeddedFont>
      <p:font typeface="微软雅黑" panose="020B0503020204020204" pitchFamily="34" charset="-122"/>
      <p:regular r:id="rId33"/>
      <p:bold r:id="rId34"/>
    </p:embeddedFont>
    <p:embeddedFont>
      <p:font typeface="Impact" panose="020B0806030902050204" pitchFamily="34" charset="0"/>
      <p:regular r:id="rId43"/>
    </p:embeddedFont>
    <p:embeddedFont>
      <p:font typeface="MS PGothic" panose="020B0600070205080204" pitchFamily="34" charset="-128"/>
      <p:regular r:id="rId44"/>
    </p:embeddedFont>
    <p:embeddedFont>
      <p:font typeface="Corbel" panose="020B0503020204020204" pitchFamily="34" charset="0"/>
      <p:regular r:id="rId45"/>
      <p:bold r:id="rId46"/>
      <p:italic r:id="rId47"/>
      <p:boldItalic r:id="rId48"/>
    </p:embeddedFont>
    <p:embeddedFont>
      <p:font typeface="PMingLiU" panose="02020500000000000000" pitchFamily="18" charset="-120"/>
      <p:regular r:id="rId49"/>
    </p:embeddedFont>
  </p:embeddedFontLst>
  <p:custDataLst>
    <p:tags r:id="rId50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EDF4"/>
    <a:srgbClr val="D0D8E8"/>
    <a:srgbClr val="0D0D0D"/>
    <a:srgbClr val="96C8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主题样式 1 - 强调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4" autoAdjust="0"/>
    <p:restoredTop sz="92626" autoAdjust="0"/>
  </p:normalViewPr>
  <p:slideViewPr>
    <p:cSldViewPr>
      <p:cViewPr varScale="1">
        <p:scale>
          <a:sx n="82" d="100"/>
          <a:sy n="82" d="100"/>
        </p:scale>
        <p:origin x="1038" y="84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8.fntdata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font" Target="fonts/font16.fntdata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font" Target="fonts/font14.fntdata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3.fntdata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font" Target="fonts/font17.fntdata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font" Target="fonts/font15.fntdata"/><Relationship Id="rId20" Type="http://schemas.openxmlformats.org/officeDocument/2006/relationships/slide" Target="slides/slide19.xml"/><Relationship Id="rId41" Type="http://schemas.openxmlformats.org/officeDocument/2006/relationships/font" Target="fonts/font10.fntdata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49" Type="http://schemas.openxmlformats.org/officeDocument/2006/relationships/font" Target="fonts/font18.fntdata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3.xml"/><Relationship Id="rId1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9F9893-5B6D-4C6F-9F81-E1DE4DB7BEE0}" type="doc">
      <dgm:prSet loTypeId="urn:microsoft.com/office/officeart/2005/8/layout/venn3" loCatId="relationship" qsTypeId="urn:microsoft.com/office/officeart/2005/8/quickstyle/3d5" qsCatId="3D" csTypeId="urn:microsoft.com/office/officeart/2005/8/colors/accent1_2#2" csCatId="accent1" phldr="1"/>
      <dgm:spPr/>
      <dgm:t>
        <a:bodyPr/>
        <a:lstStyle/>
        <a:p>
          <a:endParaRPr lang="zh-CN" altLang="en-US"/>
        </a:p>
      </dgm:t>
    </dgm:pt>
    <dgm:pt modelId="{37BC37D8-4355-4C51-B26C-51ADC0B8B361}">
      <dgm:prSet custT="1"/>
      <dgm:spPr/>
      <dgm:t>
        <a:bodyPr/>
        <a:lstStyle/>
        <a:p>
          <a:r>
            <a:rPr lang="en-US" altLang="en-US" sz="1000" b="1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Calibration</a:t>
          </a:r>
          <a:endParaRPr lang="en-US" altLang="zh-CN" sz="1000" b="1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gm:t>
    </dgm:pt>
    <dgm:pt modelId="{5344B160-F046-42AC-9A45-9FCB92CB7CCE}" type="parTrans" cxnId="{E19FEFA9-52B2-47A7-A444-916FA04D7CFB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7B72E323-682E-4855-91F6-6E2CC0791DA1}" type="sibTrans" cxnId="{E19FEFA9-52B2-47A7-A444-916FA04D7CFB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D4EE9188-A9B7-46FF-B3EC-039A08B8449A}">
      <dgm:prSet custT="1"/>
      <dgm:spPr/>
      <dgm:t>
        <a:bodyPr/>
        <a:lstStyle/>
        <a:p>
          <a:r>
            <a:rPr lang="en-US" altLang="zh-CN" sz="1000" b="1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A</a:t>
          </a:r>
          <a:r>
            <a:rPr lang="en-US" altLang="en-US" sz="1000" b="1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djustment</a:t>
          </a:r>
          <a:endParaRPr lang="zh-CN" altLang="en-US" sz="1000" b="1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gm:t>
    </dgm:pt>
    <dgm:pt modelId="{F69D1EB7-B353-49BE-A784-D556A4B89CC7}" type="parTrans" cxnId="{D4520929-4887-4C20-81EC-75928DCA4F53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E2194DBB-BD75-4BD1-9E1E-0418042F5F3E}" type="sibTrans" cxnId="{D4520929-4887-4C20-81EC-75928DCA4F53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56BB8DB2-32A1-4478-8C5F-FBEED38A7606}">
      <dgm:prSet custT="1"/>
      <dgm:spPr/>
      <dgm:t>
        <a:bodyPr/>
        <a:lstStyle/>
        <a:p>
          <a:endParaRPr lang="en-US" altLang="zh-CN" sz="1000" b="1" cap="none" spc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  <a:p>
          <a:r>
            <a:rPr lang="en-US" altLang="en-US" sz="1000" b="1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Repair</a:t>
          </a:r>
          <a:endParaRPr lang="zh-CN" altLang="en-US" sz="1000" b="1" cap="none" spc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  <a:p>
          <a:endParaRPr lang="zh-CN" altLang="en-US" sz="1000" b="1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gm:t>
    </dgm:pt>
    <dgm:pt modelId="{67C7F1E1-F353-41AC-8322-BF77D0C0AD2F}" type="parTrans" cxnId="{70DCB43D-FAA6-4C07-A6A3-60B3069EAA66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DFE7641A-B0CE-4CB1-B479-DD0BCB8B3B31}" type="sibTrans" cxnId="{70DCB43D-FAA6-4C07-A6A3-60B3069EAA66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356E6173-8F0A-4429-B330-3D1CF0A16C29}">
      <dgm:prSet custT="1"/>
      <dgm:spPr/>
      <dgm:t>
        <a:bodyPr/>
        <a:lstStyle/>
        <a:p>
          <a:r>
            <a:rPr lang="en-US" altLang="zh-CN" sz="1000" b="1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E</a:t>
          </a:r>
          <a:r>
            <a:rPr lang="en-US" altLang="en-US" sz="1000" b="1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quipment leasing</a:t>
          </a:r>
          <a:endParaRPr lang="zh-CN" altLang="en-US" sz="1000" b="1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gm:t>
    </dgm:pt>
    <dgm:pt modelId="{F4EA0B79-A0DD-402C-83AA-6F9933F8CCC0}" type="parTrans" cxnId="{0D5FFB20-4662-4393-B96F-489086E47BAB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969D6C48-0086-411E-905E-757AD59DB489}" type="sibTrans" cxnId="{0D5FFB20-4662-4393-B96F-489086E47BAB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A6FAA1E2-48B8-40E4-873D-6D8CF6FF065B}">
      <dgm:prSet custT="1"/>
      <dgm:spPr/>
      <dgm:t>
        <a:bodyPr/>
        <a:lstStyle/>
        <a:p>
          <a:r>
            <a:rPr lang="en-US" altLang="zh-CN" sz="1000" b="1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T</a:t>
          </a:r>
          <a:r>
            <a:rPr lang="en-US" altLang="en-US" sz="1000" b="1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raining on operation</a:t>
          </a:r>
          <a:endParaRPr lang="zh-CN" altLang="en-US" sz="1000" b="1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gm:t>
    </dgm:pt>
    <dgm:pt modelId="{137B9DC6-50BE-4EB6-BE7F-580B420D6DCC}" type="parTrans" cxnId="{BC7E170E-A5D9-453B-AAE8-70F354561B4C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72B13322-E9B8-49F8-AFD1-BE4CCAC0918C}" type="sibTrans" cxnId="{BC7E170E-A5D9-453B-AAE8-70F354561B4C}">
      <dgm:prSet/>
      <dgm:spPr/>
      <dgm:t>
        <a:bodyPr/>
        <a:lstStyle/>
        <a:p>
          <a:endParaRPr lang="zh-CN" altLang="en-US" sz="1000" b="1" cap="none" spc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4F29FB1E-DEDE-4A66-8F4A-BCF471136A0E}" type="pres">
      <dgm:prSet presAssocID="{229F9893-5B6D-4C6F-9F81-E1DE4DB7BEE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8D22B864-ED6C-4C8F-87F1-5E7FCA106511}" type="pres">
      <dgm:prSet presAssocID="{37BC37D8-4355-4C51-B26C-51ADC0B8B361}" presName="Name5" presStyleLbl="vennNode1" presStyleIdx="0" presStyleCnt="5" custLinFactNeighborX="-24357" custLinFactNeighborY="-154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73718BF-ECFB-4E85-A532-EB0AA8C9A4AF}" type="pres">
      <dgm:prSet presAssocID="{7B72E323-682E-4855-91F6-6E2CC0791DA1}" presName="space" presStyleCnt="0"/>
      <dgm:spPr/>
    </dgm:pt>
    <dgm:pt modelId="{84DDDA31-F226-4520-9045-5A824DD111B4}" type="pres">
      <dgm:prSet presAssocID="{D4EE9188-A9B7-46FF-B3EC-039A08B8449A}" presName="Name5" presStyleLbl="vennNode1" presStyleIdx="1" presStyleCnt="5" custScaleX="103766" custLinFactNeighborX="-12836" custLinFactNeighborY="-106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E1AE4C-5C6F-47BC-959E-3D3F94D434D5}" type="pres">
      <dgm:prSet presAssocID="{E2194DBB-BD75-4BD1-9E1E-0418042F5F3E}" presName="space" presStyleCnt="0"/>
      <dgm:spPr/>
    </dgm:pt>
    <dgm:pt modelId="{3293A055-CCAF-490C-BA57-D656B4E61116}" type="pres">
      <dgm:prSet presAssocID="{56BB8DB2-32A1-4478-8C5F-FBEED38A7606}" presName="Name5" presStyleLbl="vennNode1" presStyleIdx="2" presStyleCnt="5" custLinFactNeighborX="-13041" custLinFactNeighborY="-154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B40E657-E51A-4EEB-83E0-AA931E067AEC}" type="pres">
      <dgm:prSet presAssocID="{DFE7641A-B0CE-4CB1-B479-DD0BCB8B3B31}" presName="space" presStyleCnt="0"/>
      <dgm:spPr/>
    </dgm:pt>
    <dgm:pt modelId="{8368CB94-D978-485E-A297-C1D36C1C97E3}" type="pres">
      <dgm:prSet presAssocID="{356E6173-8F0A-4429-B330-3D1CF0A16C29}" presName="Name5" presStyleLbl="venn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D717D76-D32D-4F23-BC67-0A14512270D7}" type="pres">
      <dgm:prSet presAssocID="{969D6C48-0086-411E-905E-757AD59DB489}" presName="space" presStyleCnt="0"/>
      <dgm:spPr/>
    </dgm:pt>
    <dgm:pt modelId="{433BDACD-6DC3-4385-8AFF-B5711E81AA86}" type="pres">
      <dgm:prSet presAssocID="{A6FAA1E2-48B8-40E4-873D-6D8CF6FF065B}" presName="Name5" presStyleLbl="vennNode1" presStyleIdx="4" presStyleCnt="5" custLinFactNeighborX="14380" custLinFactNeighborY="-154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C7E170E-A5D9-453B-AAE8-70F354561B4C}" srcId="{229F9893-5B6D-4C6F-9F81-E1DE4DB7BEE0}" destId="{A6FAA1E2-48B8-40E4-873D-6D8CF6FF065B}" srcOrd="4" destOrd="0" parTransId="{137B9DC6-50BE-4EB6-BE7F-580B420D6DCC}" sibTransId="{72B13322-E9B8-49F8-AFD1-BE4CCAC0918C}"/>
    <dgm:cxn modelId="{0D5FFB20-4662-4393-B96F-489086E47BAB}" srcId="{229F9893-5B6D-4C6F-9F81-E1DE4DB7BEE0}" destId="{356E6173-8F0A-4429-B330-3D1CF0A16C29}" srcOrd="3" destOrd="0" parTransId="{F4EA0B79-A0DD-402C-83AA-6F9933F8CCC0}" sibTransId="{969D6C48-0086-411E-905E-757AD59DB489}"/>
    <dgm:cxn modelId="{8ACBB09D-98A0-475B-B606-DD273CECFC65}" type="presOf" srcId="{37BC37D8-4355-4C51-B26C-51ADC0B8B361}" destId="{8D22B864-ED6C-4C8F-87F1-5E7FCA106511}" srcOrd="0" destOrd="0" presId="urn:microsoft.com/office/officeart/2005/8/layout/venn3"/>
    <dgm:cxn modelId="{70DCB43D-FAA6-4C07-A6A3-60B3069EAA66}" srcId="{229F9893-5B6D-4C6F-9F81-E1DE4DB7BEE0}" destId="{56BB8DB2-32A1-4478-8C5F-FBEED38A7606}" srcOrd="2" destOrd="0" parTransId="{67C7F1E1-F353-41AC-8322-BF77D0C0AD2F}" sibTransId="{DFE7641A-B0CE-4CB1-B479-DD0BCB8B3B31}"/>
    <dgm:cxn modelId="{4FF0E5CA-54B2-46FA-93D1-19EF911800BF}" type="presOf" srcId="{A6FAA1E2-48B8-40E4-873D-6D8CF6FF065B}" destId="{433BDACD-6DC3-4385-8AFF-B5711E81AA86}" srcOrd="0" destOrd="0" presId="urn:microsoft.com/office/officeart/2005/8/layout/venn3"/>
    <dgm:cxn modelId="{D4520929-4887-4C20-81EC-75928DCA4F53}" srcId="{229F9893-5B6D-4C6F-9F81-E1DE4DB7BEE0}" destId="{D4EE9188-A9B7-46FF-B3EC-039A08B8449A}" srcOrd="1" destOrd="0" parTransId="{F69D1EB7-B353-49BE-A784-D556A4B89CC7}" sibTransId="{E2194DBB-BD75-4BD1-9E1E-0418042F5F3E}"/>
    <dgm:cxn modelId="{E19FEFA9-52B2-47A7-A444-916FA04D7CFB}" srcId="{229F9893-5B6D-4C6F-9F81-E1DE4DB7BEE0}" destId="{37BC37D8-4355-4C51-B26C-51ADC0B8B361}" srcOrd="0" destOrd="0" parTransId="{5344B160-F046-42AC-9A45-9FCB92CB7CCE}" sibTransId="{7B72E323-682E-4855-91F6-6E2CC0791DA1}"/>
    <dgm:cxn modelId="{9FC42C32-0020-4569-B4C7-3A65AA69C2C1}" type="presOf" srcId="{356E6173-8F0A-4429-B330-3D1CF0A16C29}" destId="{8368CB94-D978-485E-A297-C1D36C1C97E3}" srcOrd="0" destOrd="0" presId="urn:microsoft.com/office/officeart/2005/8/layout/venn3"/>
    <dgm:cxn modelId="{4A66BC22-41A2-4B83-A149-CE4AA3B0429C}" type="presOf" srcId="{56BB8DB2-32A1-4478-8C5F-FBEED38A7606}" destId="{3293A055-CCAF-490C-BA57-D656B4E61116}" srcOrd="0" destOrd="0" presId="urn:microsoft.com/office/officeart/2005/8/layout/venn3"/>
    <dgm:cxn modelId="{6A6D8211-82FA-4936-BDFA-2AC45CCFDEED}" type="presOf" srcId="{D4EE9188-A9B7-46FF-B3EC-039A08B8449A}" destId="{84DDDA31-F226-4520-9045-5A824DD111B4}" srcOrd="0" destOrd="0" presId="urn:microsoft.com/office/officeart/2005/8/layout/venn3"/>
    <dgm:cxn modelId="{8D915191-3769-47C9-881C-3C86FD0DE45F}" type="presOf" srcId="{229F9893-5B6D-4C6F-9F81-E1DE4DB7BEE0}" destId="{4F29FB1E-DEDE-4A66-8F4A-BCF471136A0E}" srcOrd="0" destOrd="0" presId="urn:microsoft.com/office/officeart/2005/8/layout/venn3"/>
    <dgm:cxn modelId="{0F0B03E3-28C6-4097-B9C4-35F1353FE539}" type="presParOf" srcId="{4F29FB1E-DEDE-4A66-8F4A-BCF471136A0E}" destId="{8D22B864-ED6C-4C8F-87F1-5E7FCA106511}" srcOrd="0" destOrd="0" presId="urn:microsoft.com/office/officeart/2005/8/layout/venn3"/>
    <dgm:cxn modelId="{488023D2-56A5-42AD-BD32-74BDD4CC171E}" type="presParOf" srcId="{4F29FB1E-DEDE-4A66-8F4A-BCF471136A0E}" destId="{A73718BF-ECFB-4E85-A532-EB0AA8C9A4AF}" srcOrd="1" destOrd="0" presId="urn:microsoft.com/office/officeart/2005/8/layout/venn3"/>
    <dgm:cxn modelId="{F52965D1-2DDE-42A3-889E-D84408D50691}" type="presParOf" srcId="{4F29FB1E-DEDE-4A66-8F4A-BCF471136A0E}" destId="{84DDDA31-F226-4520-9045-5A824DD111B4}" srcOrd="2" destOrd="0" presId="urn:microsoft.com/office/officeart/2005/8/layout/venn3"/>
    <dgm:cxn modelId="{A3810984-85FF-409F-9913-A277DDB27919}" type="presParOf" srcId="{4F29FB1E-DEDE-4A66-8F4A-BCF471136A0E}" destId="{09E1AE4C-5C6F-47BC-959E-3D3F94D434D5}" srcOrd="3" destOrd="0" presId="urn:microsoft.com/office/officeart/2005/8/layout/venn3"/>
    <dgm:cxn modelId="{64CC634B-DBB8-452C-A202-9864AC63DE6E}" type="presParOf" srcId="{4F29FB1E-DEDE-4A66-8F4A-BCF471136A0E}" destId="{3293A055-CCAF-490C-BA57-D656B4E61116}" srcOrd="4" destOrd="0" presId="urn:microsoft.com/office/officeart/2005/8/layout/venn3"/>
    <dgm:cxn modelId="{08702C60-0C65-49C5-BF49-84894579176C}" type="presParOf" srcId="{4F29FB1E-DEDE-4A66-8F4A-BCF471136A0E}" destId="{4B40E657-E51A-4EEB-83E0-AA931E067AEC}" srcOrd="5" destOrd="0" presId="urn:microsoft.com/office/officeart/2005/8/layout/venn3"/>
    <dgm:cxn modelId="{4DB99F3D-1910-48E1-BEC2-DCC3A300F3AA}" type="presParOf" srcId="{4F29FB1E-DEDE-4A66-8F4A-BCF471136A0E}" destId="{8368CB94-D978-485E-A297-C1D36C1C97E3}" srcOrd="6" destOrd="0" presId="urn:microsoft.com/office/officeart/2005/8/layout/venn3"/>
    <dgm:cxn modelId="{E3AC8ADF-8FA4-47CC-AD36-5032B8F6A6FA}" type="presParOf" srcId="{4F29FB1E-DEDE-4A66-8F4A-BCF471136A0E}" destId="{8D717D76-D32D-4F23-BC67-0A14512270D7}" srcOrd="7" destOrd="0" presId="urn:microsoft.com/office/officeart/2005/8/layout/venn3"/>
    <dgm:cxn modelId="{246A8775-AB92-4186-830D-BCB9AF7EF04B}" type="presParOf" srcId="{4F29FB1E-DEDE-4A66-8F4A-BCF471136A0E}" destId="{433BDACD-6DC3-4385-8AFF-B5711E81AA86}" srcOrd="8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489283A-080E-422A-B843-75DE2B737ADD}" type="doc">
      <dgm:prSet loTypeId="urn:microsoft.com/office/officeart/2005/8/layout/vList6" loCatId="list" qsTypeId="urn:microsoft.com/office/officeart/2005/8/quickstyle/3d2" qsCatId="3D" csTypeId="urn:microsoft.com/office/officeart/2005/8/colors/accent1_2#4" csCatId="accent1" phldr="1"/>
      <dgm:spPr/>
      <dgm:t>
        <a:bodyPr/>
        <a:lstStyle/>
        <a:p>
          <a:endParaRPr lang="zh-CN" altLang="en-US"/>
        </a:p>
      </dgm:t>
    </dgm:pt>
    <dgm:pt modelId="{170B7268-61E2-4CE5-AB1D-27A68CBE2D1E}">
      <dgm:prSet custT="1"/>
      <dgm:spPr/>
      <dgm:t>
        <a:bodyPr/>
        <a:lstStyle/>
        <a:p>
          <a:pPr rtl="0"/>
          <a:r>
            <a:rPr lang="en-US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Business Management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7160A7DC-FF67-4324-95C5-77A6787D13AE}" type="parTrans" cxnId="{F01085E7-49A5-4D73-A4DE-57087D4CCE69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D80C5002-0C3A-4F83-89D6-B082B3FDD09C}" type="sibTrans" cxnId="{F01085E7-49A5-4D73-A4DE-57087D4CCE69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BE023F26-9441-4831-9988-C3C93008BEB3}">
      <dgm:prSet custT="1"/>
      <dgm:spPr/>
      <dgm:t>
        <a:bodyPr anchor="ctr"/>
        <a:lstStyle/>
        <a:p>
          <a:pPr algn="l"/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Business quotation    Contract    Assessment     Client Management       </a:t>
          </a:r>
          <a:endParaRPr lang="zh-CN" altLang="en-US" sz="1200" dirty="0">
            <a:latin typeface="微软雅黑" pitchFamily="34" charset="-122"/>
            <a:ea typeface="微软雅黑" pitchFamily="34" charset="-122"/>
          </a:endParaRPr>
        </a:p>
      </dgm:t>
    </dgm:pt>
    <dgm:pt modelId="{E5268D79-C3BF-4D31-B2FF-3DDD3400480F}" type="parTrans" cxnId="{D33FB98E-CDBB-4CD7-9579-AF044C12243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8A253704-B7B5-43F0-9AD4-D2717AEABFAE}" type="sibTrans" cxnId="{D33FB98E-CDBB-4CD7-9579-AF044C12243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DD72C43E-3513-43CD-89F3-56C868740CE3}">
      <dgm:prSet custT="1"/>
      <dgm:spPr/>
      <dgm:t>
        <a:bodyPr anchor="ctr"/>
        <a:lstStyle/>
        <a:p>
          <a:pPr algn="ctr" rtl="0"/>
          <a:r>
            <a: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Testing Management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ACA354FB-AA20-4DE3-9077-5E1EEA11CA63}" type="parTrans" cxnId="{84E6F84E-3FD8-4665-8532-BFD8CE8D5E30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C54FD4F6-0FA4-4024-AA41-43E3F8D5F183}" type="sibTrans" cxnId="{84E6F84E-3FD8-4665-8532-BFD8CE8D5E30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CBD79E9F-219E-4396-8CD5-A93681DAF0D9}">
      <dgm:prSet custT="1"/>
      <dgm:spPr/>
      <dgm:t>
        <a:bodyPr anchor="ctr"/>
        <a:lstStyle/>
        <a:p>
          <a:pPr algn="ctr"/>
          <a:r>
            <a: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Reports Management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47802F88-DC46-4607-B4A9-27E456213069}" type="parTrans" cxnId="{920C34C2-5A81-4A4C-A2D8-5EA3B1A288C9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8B64E2E9-5D59-4858-B6AF-2E4DEB4CFBD1}" type="sibTrans" cxnId="{920C34C2-5A81-4A4C-A2D8-5EA3B1A288C9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48865825-A9FA-4841-9654-6E136ECE6224}">
      <dgm:prSet custT="1"/>
      <dgm:spPr/>
      <dgm:t>
        <a:bodyPr anchor="ctr"/>
        <a:lstStyle/>
        <a:p>
          <a:pPr algn="l"/>
          <a:r>
            <a:rPr lang="en-US" altLang="zh-CN" sz="1200" dirty="0">
              <a:latin typeface="微软雅黑" pitchFamily="34" charset="-122"/>
              <a:ea typeface="微软雅黑" pitchFamily="34" charset="-122"/>
            </a:rPr>
            <a:t>Reports    A</a:t>
          </a:r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pproval</a:t>
          </a:r>
          <a:endParaRPr lang="zh-CN" altLang="en-US" sz="1200" dirty="0">
            <a:latin typeface="微软雅黑" pitchFamily="34" charset="-122"/>
            <a:ea typeface="微软雅黑" pitchFamily="34" charset="-122"/>
          </a:endParaRPr>
        </a:p>
      </dgm:t>
    </dgm:pt>
    <dgm:pt modelId="{30D61B91-3F25-46BF-A893-1AA13F20D073}" type="parTrans" cxnId="{5ECC1F51-597F-46C6-AD05-1BB3DBCB216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9772EBC-43AD-4F7B-8F02-78C45EC26A22}" type="sibTrans" cxnId="{5ECC1F51-597F-46C6-AD05-1BB3DBCB216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8EFC637F-90D2-4708-A96B-B549E7CD2008}">
      <dgm:prSet custT="1"/>
      <dgm:spPr/>
      <dgm:t>
        <a:bodyPr anchor="ctr"/>
        <a:lstStyle/>
        <a:p>
          <a:pPr algn="ctr"/>
          <a:r>
            <a:rPr lang="zh-CN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F</a:t>
          </a:r>
          <a:r>
            <a:rPr lang="en-US" alt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inances Management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9E5C0DB9-A1DD-4101-BB82-30EEEB809650}" type="parTrans" cxnId="{F9D1873B-A1CC-4F15-92C7-A441E0CDB7C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9BF52DEE-D55A-4A7B-B7BA-E1541456F94B}" type="sibTrans" cxnId="{F9D1873B-A1CC-4F15-92C7-A441E0CDB7CF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DE505453-2745-4C63-908F-A06E51CC2007}">
      <dgm:prSet custT="1"/>
      <dgm:spPr/>
      <dgm:t>
        <a:bodyPr anchor="ctr"/>
        <a:lstStyle/>
        <a:p>
          <a:pPr algn="ctr"/>
          <a:r>
            <a: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Lab Management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9F4902F5-8C31-472F-B2E9-BCE89619A12B}" type="parTrans" cxnId="{B0DB883C-8E94-41BB-B535-02621C4427D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3E89B257-EA00-4B68-B7BE-F29D55FC3927}" type="sibTrans" cxnId="{B0DB883C-8E94-41BB-B535-02621C4427D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5794ECA0-D011-418E-B4F2-55AB70C0873D}">
      <dgm:prSet custT="1"/>
      <dgm:spPr/>
      <dgm:t>
        <a:bodyPr anchor="ctr"/>
        <a:lstStyle/>
        <a:p>
          <a:pPr algn="l"/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Standards</a:t>
          </a:r>
          <a:r>
            <a:rPr lang="zh-CN" altLang="en-US" sz="1200" dirty="0"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zh-CN" sz="1200" dirty="0">
              <a:latin typeface="微软雅黑" pitchFamily="34" charset="-122"/>
              <a:ea typeface="微软雅黑" pitchFamily="34" charset="-122"/>
            </a:rPr>
            <a:t>Management    Facilities Management </a:t>
          </a:r>
          <a:endParaRPr lang="zh-CN" altLang="en-US" sz="1200" dirty="0">
            <a:latin typeface="微软雅黑" pitchFamily="34" charset="-122"/>
            <a:ea typeface="微软雅黑" pitchFamily="34" charset="-122"/>
          </a:endParaRPr>
        </a:p>
      </dgm:t>
    </dgm:pt>
    <dgm:pt modelId="{CC4A52C3-9E77-48D2-99B1-2530E8E3F0DF}" type="parTrans" cxnId="{B060E603-ED3E-41D1-959E-639DC730D4F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81747917-8106-491B-8AA2-E7D687A8B4BB}" type="sibTrans" cxnId="{B060E603-ED3E-41D1-959E-639DC730D4F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BD92536-DDFF-42E2-BD50-4B62DE16227E}">
      <dgm:prSet custT="1"/>
      <dgm:spPr/>
      <dgm:t>
        <a:bodyPr anchor="ctr"/>
        <a:lstStyle/>
        <a:p>
          <a:pPr algn="ctr"/>
          <a:r>
            <a:rPr lang="en-US" altLang="zh-CN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Data Query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6B1F9FC7-192E-481A-A4F2-013F125BB4D1}" type="parTrans" cxnId="{7510835A-6011-4DA8-814B-E0025BEAA45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3A879828-FA09-4110-BC7A-A8EC04AAB21A}" type="sibTrans" cxnId="{7510835A-6011-4DA8-814B-E0025BEAA455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B6D5C1D0-1D64-4BAB-88AF-CA6B378B7C25}">
      <dgm:prSet custT="1"/>
      <dgm:spPr/>
      <dgm:t>
        <a:bodyPr anchor="ctr"/>
        <a:lstStyle/>
        <a:p>
          <a:pPr algn="l"/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Data Entry    </a:t>
          </a:r>
          <a:r>
            <a:rPr lang="en-US" altLang="zh-CN" sz="1200" dirty="0">
              <a:latin typeface="微软雅黑" pitchFamily="34" charset="-122"/>
              <a:ea typeface="微软雅黑" pitchFamily="34" charset="-122"/>
            </a:rPr>
            <a:t>Test </a:t>
          </a:r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 Duties    Equipment Planning</a:t>
          </a:r>
          <a:endParaRPr lang="zh-CN" altLang="en-US" sz="1200" dirty="0">
            <a:latin typeface="微软雅黑" pitchFamily="34" charset="-122"/>
            <a:ea typeface="微软雅黑" pitchFamily="34" charset="-122"/>
          </a:endParaRPr>
        </a:p>
      </dgm:t>
    </dgm:pt>
    <dgm:pt modelId="{4D92C2F3-9AA7-4FCF-AF7F-02390F86316F}" type="parTrans" cxnId="{22A35136-FEED-4833-8095-6995452F831D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21273D24-F3CD-4802-9080-74950EF5D9CA}" type="sibTrans" cxnId="{22A35136-FEED-4833-8095-6995452F831D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79EB58DA-10E6-4B58-80FF-004E64C5A795}">
      <dgm:prSet custT="1"/>
      <dgm:spPr/>
      <dgm:t>
        <a:bodyPr anchor="ctr"/>
        <a:lstStyle/>
        <a:p>
          <a:pPr algn="l"/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Charge </a:t>
          </a:r>
          <a:r>
            <a:rPr lang="en-US" altLang="zh-CN" sz="1200" dirty="0">
              <a:latin typeface="微软雅黑" pitchFamily="34" charset="-122"/>
              <a:ea typeface="微软雅黑" pitchFamily="34" charset="-122"/>
            </a:rPr>
            <a:t>Record    </a:t>
          </a:r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Account Management            Price Management</a:t>
          </a:r>
          <a:endParaRPr lang="zh-CN" altLang="en-US" sz="1200" dirty="0">
            <a:latin typeface="微软雅黑" pitchFamily="34" charset="-122"/>
            <a:ea typeface="微软雅黑" pitchFamily="34" charset="-122"/>
          </a:endParaRPr>
        </a:p>
      </dgm:t>
    </dgm:pt>
    <dgm:pt modelId="{887FF13C-89FD-4DDC-9434-ABDD94DC4184}" type="parTrans" cxnId="{FB910B13-0248-4953-A00C-59FF6DEC3A7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942109B2-2D78-47E8-BA52-EF100D39ED16}" type="sibTrans" cxnId="{FB910B13-0248-4953-A00C-59FF6DEC3A76}">
      <dgm:prSet/>
      <dgm:spPr/>
      <dgm:t>
        <a:bodyPr/>
        <a:lstStyle/>
        <a:p>
          <a:endParaRPr lang="zh-CN" altLang="en-US" sz="1200">
            <a:latin typeface="微软雅黑" pitchFamily="34" charset="-122"/>
            <a:ea typeface="微软雅黑" pitchFamily="34" charset="-122"/>
          </a:endParaRPr>
        </a:p>
      </dgm:t>
    </dgm:pt>
    <dgm:pt modelId="{8606816E-485A-4338-A3C1-F5993D040B15}">
      <dgm:prSet custT="1"/>
      <dgm:spPr/>
      <dgm:t>
        <a:bodyPr anchor="ctr"/>
        <a:lstStyle/>
        <a:p>
          <a:pPr algn="l"/>
          <a:r>
            <a:rPr lang="en-US" altLang="en-US" sz="1200" dirty="0">
              <a:latin typeface="微软雅黑" pitchFamily="34" charset="-122"/>
              <a:ea typeface="微软雅黑" pitchFamily="34" charset="-122"/>
            </a:rPr>
            <a:t>Contract  Inquiry    Samples Inquiry                  Reports Inquiry</a:t>
          </a:r>
          <a:endParaRPr lang="zh-CN" altLang="en-US" sz="12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gm:t>
    </dgm:pt>
    <dgm:pt modelId="{191217C2-1528-429F-9843-2F43CDA2F3F3}" type="parTrans" cxnId="{5775B5BB-894F-489C-A565-FDD5AFF5DB83}">
      <dgm:prSet/>
      <dgm:spPr/>
      <dgm:t>
        <a:bodyPr/>
        <a:lstStyle/>
        <a:p>
          <a:endParaRPr lang="zh-CN" altLang="en-US"/>
        </a:p>
      </dgm:t>
    </dgm:pt>
    <dgm:pt modelId="{23E5E1E7-B508-4807-9E6E-2687FABFDF82}" type="sibTrans" cxnId="{5775B5BB-894F-489C-A565-FDD5AFF5DB83}">
      <dgm:prSet/>
      <dgm:spPr/>
      <dgm:t>
        <a:bodyPr/>
        <a:lstStyle/>
        <a:p>
          <a:endParaRPr lang="zh-CN" altLang="en-US"/>
        </a:p>
      </dgm:t>
    </dgm:pt>
    <dgm:pt modelId="{B39F0972-0A0E-4161-848D-0F76160721EE}" type="pres">
      <dgm:prSet presAssocID="{A489283A-080E-422A-B843-75DE2B737ADD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F71AE449-A544-456C-8C84-BCE45152C95A}" type="pres">
      <dgm:prSet presAssocID="{170B7268-61E2-4CE5-AB1D-27A68CBE2D1E}" presName="linNode" presStyleCnt="0"/>
      <dgm:spPr/>
    </dgm:pt>
    <dgm:pt modelId="{44498A9F-48AD-4EDA-AD67-E2D6F42FAAA7}" type="pres">
      <dgm:prSet presAssocID="{170B7268-61E2-4CE5-AB1D-27A68CBE2D1E}" presName="parentShp" presStyleLbl="node1" presStyleIdx="0" presStyleCnt="6" custScaleX="76136" custLinFactNeighborX="-443" custLinFactNeighborY="-557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EBD006A-815A-43C1-B432-FA89E840382F}" type="pres">
      <dgm:prSet presAssocID="{170B7268-61E2-4CE5-AB1D-27A68CBE2D1E}" presName="childShp" presStyleLbl="bgAccFollowNode1" presStyleIdx="0" presStyleCnt="6" custScaleX="105972" custScaleY="13035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763B9BE-0144-4450-ADEA-27B355CCDB6F}" type="pres">
      <dgm:prSet presAssocID="{D80C5002-0C3A-4F83-89D6-B082B3FDD09C}" presName="spacing" presStyleCnt="0"/>
      <dgm:spPr/>
    </dgm:pt>
    <dgm:pt modelId="{6B25B308-125B-4021-8C76-6E28093854E9}" type="pres">
      <dgm:prSet presAssocID="{DD72C43E-3513-43CD-89F3-56C868740CE3}" presName="linNode" presStyleCnt="0"/>
      <dgm:spPr/>
    </dgm:pt>
    <dgm:pt modelId="{6A1FF6CF-9264-47F8-A7D0-DC3C05E23F51}" type="pres">
      <dgm:prSet presAssocID="{DD72C43E-3513-43CD-89F3-56C868740CE3}" presName="parentShp" presStyleLbl="node1" presStyleIdx="1" presStyleCnt="6" custScaleX="761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32C6D39C-200B-4B62-B227-B6E6D27D3769}" type="pres">
      <dgm:prSet presAssocID="{DD72C43E-3513-43CD-89F3-56C868740CE3}" presName="childShp" presStyleLbl="bgAccFollowNode1" presStyleIdx="1" presStyleCnt="6" custScaleX="105972" custScaleY="13064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A9E24B6-C070-4A5C-8FFE-F70E67BD9FBE}" type="pres">
      <dgm:prSet presAssocID="{C54FD4F6-0FA4-4024-AA41-43E3F8D5F183}" presName="spacing" presStyleCnt="0"/>
      <dgm:spPr/>
    </dgm:pt>
    <dgm:pt modelId="{EE577076-F2BF-4BA4-99CA-C5E80B8C95EE}" type="pres">
      <dgm:prSet presAssocID="{CBD79E9F-219E-4396-8CD5-A93681DAF0D9}" presName="linNode" presStyleCnt="0"/>
      <dgm:spPr/>
    </dgm:pt>
    <dgm:pt modelId="{DD32F40F-CA28-44ED-8A8C-40B3AD39C0E9}" type="pres">
      <dgm:prSet presAssocID="{CBD79E9F-219E-4396-8CD5-A93681DAF0D9}" presName="parentShp" presStyleLbl="node1" presStyleIdx="2" presStyleCnt="6" custScaleX="761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C322226-7B31-43F2-946D-2D4D8CECF564}" type="pres">
      <dgm:prSet presAssocID="{CBD79E9F-219E-4396-8CD5-A93681DAF0D9}" presName="childShp" presStyleLbl="bgAccFollowNode1" presStyleIdx="2" presStyleCnt="6" custScaleX="105972" custScaleY="11658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733A3A0-70DD-4ED3-90EA-A8D7F135CD8C}" type="pres">
      <dgm:prSet presAssocID="{8B64E2E9-5D59-4858-B6AF-2E4DEB4CFBD1}" presName="spacing" presStyleCnt="0"/>
      <dgm:spPr/>
    </dgm:pt>
    <dgm:pt modelId="{D6EF374A-7EF0-425F-8324-34B43EA52551}" type="pres">
      <dgm:prSet presAssocID="{8EFC637F-90D2-4708-A96B-B549E7CD2008}" presName="linNode" presStyleCnt="0"/>
      <dgm:spPr/>
    </dgm:pt>
    <dgm:pt modelId="{EFA26B8D-B276-4B35-B2DF-3F94BE8D8426}" type="pres">
      <dgm:prSet presAssocID="{8EFC637F-90D2-4708-A96B-B549E7CD2008}" presName="parentShp" presStyleLbl="node1" presStyleIdx="3" presStyleCnt="6" custScaleX="761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4EB52C-5140-4E52-B901-A6E4BD75DB45}" type="pres">
      <dgm:prSet presAssocID="{8EFC637F-90D2-4708-A96B-B549E7CD2008}" presName="childShp" presStyleLbl="bgAccFollowNode1" presStyleIdx="3" presStyleCnt="6" custScaleX="106125" custScaleY="11465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E1BE18A-07D5-4A75-8A8F-8C95817ECDE9}" type="pres">
      <dgm:prSet presAssocID="{9BF52DEE-D55A-4A7B-B7BA-E1541456F94B}" presName="spacing" presStyleCnt="0"/>
      <dgm:spPr/>
    </dgm:pt>
    <dgm:pt modelId="{CFAA0D5F-5F12-4237-836E-0830715123BD}" type="pres">
      <dgm:prSet presAssocID="{DE505453-2745-4C63-908F-A06E51CC2007}" presName="linNode" presStyleCnt="0"/>
      <dgm:spPr/>
    </dgm:pt>
    <dgm:pt modelId="{546B707D-54AF-4452-AEBA-596296179EDF}" type="pres">
      <dgm:prSet presAssocID="{DE505453-2745-4C63-908F-A06E51CC2007}" presName="parentShp" presStyleLbl="node1" presStyleIdx="4" presStyleCnt="6" custScaleX="76136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243D1AA-6F51-49C8-BFAD-46EAC9535AFF}" type="pres">
      <dgm:prSet presAssocID="{DE505453-2745-4C63-908F-A06E51CC2007}" presName="childShp" presStyleLbl="bgAccFollowNode1" presStyleIdx="4" presStyleCnt="6" custScaleX="105972" custScaleY="12264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9D054A5-7BFB-48FA-AF4A-2C3650168848}" type="pres">
      <dgm:prSet presAssocID="{3E89B257-EA00-4B68-B7BE-F29D55FC3927}" presName="spacing" presStyleCnt="0"/>
      <dgm:spPr/>
    </dgm:pt>
    <dgm:pt modelId="{DFBB9F3E-B2C6-46B4-B675-4B286A4AE39C}" type="pres">
      <dgm:prSet presAssocID="{7BD92536-DDFF-42E2-BD50-4B62DE16227E}" presName="linNode" presStyleCnt="0"/>
      <dgm:spPr/>
    </dgm:pt>
    <dgm:pt modelId="{7CC35207-FD59-440E-8DA6-5D1B24593F02}" type="pres">
      <dgm:prSet presAssocID="{7BD92536-DDFF-42E2-BD50-4B62DE16227E}" presName="parentShp" presStyleLbl="node1" presStyleIdx="5" presStyleCnt="6" custScaleX="78117" custLinFactNeighborX="-661" custLinFactNeighborY="-361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9017A06-ED07-4466-BE7C-9B6F490FFAF2}" type="pres">
      <dgm:prSet presAssocID="{7BD92536-DDFF-42E2-BD50-4B62DE16227E}" presName="childShp" presStyleLbl="bgAccFollowNode1" presStyleIdx="5" presStyleCnt="6" custScaleX="103609" custScaleY="124015" custLinFactNeighborX="-99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20C34C2-5A81-4A4C-A2D8-5EA3B1A288C9}" srcId="{A489283A-080E-422A-B843-75DE2B737ADD}" destId="{CBD79E9F-219E-4396-8CD5-A93681DAF0D9}" srcOrd="2" destOrd="0" parTransId="{47802F88-DC46-4607-B4A9-27E456213069}" sibTransId="{8B64E2E9-5D59-4858-B6AF-2E4DEB4CFBD1}"/>
    <dgm:cxn modelId="{A6DA000D-C5CA-4ABD-836F-F0A7924C9739}" type="presOf" srcId="{7BD92536-DDFF-42E2-BD50-4B62DE16227E}" destId="{7CC35207-FD59-440E-8DA6-5D1B24593F02}" srcOrd="0" destOrd="0" presId="urn:microsoft.com/office/officeart/2005/8/layout/vList6"/>
    <dgm:cxn modelId="{69D9FCF6-A597-496C-B68E-2F87380028CF}" type="presOf" srcId="{DD72C43E-3513-43CD-89F3-56C868740CE3}" destId="{6A1FF6CF-9264-47F8-A7D0-DC3C05E23F51}" srcOrd="0" destOrd="0" presId="urn:microsoft.com/office/officeart/2005/8/layout/vList6"/>
    <dgm:cxn modelId="{C2E84BA6-E2A3-4DF7-AF7D-8ACDF20B18E1}" type="presOf" srcId="{A489283A-080E-422A-B843-75DE2B737ADD}" destId="{B39F0972-0A0E-4161-848D-0F76160721EE}" srcOrd="0" destOrd="0" presId="urn:microsoft.com/office/officeart/2005/8/layout/vList6"/>
    <dgm:cxn modelId="{109E541F-EB7C-45F6-8D8D-BB3297DA439C}" type="presOf" srcId="{48865825-A9FA-4841-9654-6E136ECE6224}" destId="{6C322226-7B31-43F2-946D-2D4D8CECF564}" srcOrd="0" destOrd="0" presId="urn:microsoft.com/office/officeart/2005/8/layout/vList6"/>
    <dgm:cxn modelId="{CE750349-0496-4C03-8C75-D8A6483FB963}" type="presOf" srcId="{170B7268-61E2-4CE5-AB1D-27A68CBE2D1E}" destId="{44498A9F-48AD-4EDA-AD67-E2D6F42FAAA7}" srcOrd="0" destOrd="0" presId="urn:microsoft.com/office/officeart/2005/8/layout/vList6"/>
    <dgm:cxn modelId="{D33FB98E-CDBB-4CD7-9579-AF044C122436}" srcId="{170B7268-61E2-4CE5-AB1D-27A68CBE2D1E}" destId="{BE023F26-9441-4831-9988-C3C93008BEB3}" srcOrd="0" destOrd="0" parTransId="{E5268D79-C3BF-4D31-B2FF-3DDD3400480F}" sibTransId="{8A253704-B7B5-43F0-9AD4-D2717AEABFAE}"/>
    <dgm:cxn modelId="{FB910B13-0248-4953-A00C-59FF6DEC3A76}" srcId="{8EFC637F-90D2-4708-A96B-B549E7CD2008}" destId="{79EB58DA-10E6-4B58-80FF-004E64C5A795}" srcOrd="0" destOrd="0" parTransId="{887FF13C-89FD-4DDC-9434-ABDD94DC4184}" sibTransId="{942109B2-2D78-47E8-BA52-EF100D39ED16}"/>
    <dgm:cxn modelId="{649C8B77-3D5B-49A2-82B4-93FADE5525A1}" type="presOf" srcId="{79EB58DA-10E6-4B58-80FF-004E64C5A795}" destId="{944EB52C-5140-4E52-B901-A6E4BD75DB45}" srcOrd="0" destOrd="0" presId="urn:microsoft.com/office/officeart/2005/8/layout/vList6"/>
    <dgm:cxn modelId="{B060E603-ED3E-41D1-959E-639DC730D4F5}" srcId="{DE505453-2745-4C63-908F-A06E51CC2007}" destId="{5794ECA0-D011-418E-B4F2-55AB70C0873D}" srcOrd="0" destOrd="0" parTransId="{CC4A52C3-9E77-48D2-99B1-2530E8E3F0DF}" sibTransId="{81747917-8106-491B-8AA2-E7D687A8B4BB}"/>
    <dgm:cxn modelId="{D017681A-CDBC-4E83-AE33-3DEE36C283D0}" type="presOf" srcId="{8EFC637F-90D2-4708-A96B-B549E7CD2008}" destId="{EFA26B8D-B276-4B35-B2DF-3F94BE8D8426}" srcOrd="0" destOrd="0" presId="urn:microsoft.com/office/officeart/2005/8/layout/vList6"/>
    <dgm:cxn modelId="{B0DB883C-8E94-41BB-B535-02621C4427D6}" srcId="{A489283A-080E-422A-B843-75DE2B737ADD}" destId="{DE505453-2745-4C63-908F-A06E51CC2007}" srcOrd="4" destOrd="0" parTransId="{9F4902F5-8C31-472F-B2E9-BCE89619A12B}" sibTransId="{3E89B257-EA00-4B68-B7BE-F29D55FC3927}"/>
    <dgm:cxn modelId="{5775B5BB-894F-489C-A565-FDD5AFF5DB83}" srcId="{7BD92536-DDFF-42E2-BD50-4B62DE16227E}" destId="{8606816E-485A-4338-A3C1-F5993D040B15}" srcOrd="0" destOrd="0" parTransId="{191217C2-1528-429F-9843-2F43CDA2F3F3}" sibTransId="{23E5E1E7-B508-4807-9E6E-2687FABFDF82}"/>
    <dgm:cxn modelId="{606AA79F-3040-4EAF-83BB-C53D2CF624AE}" type="presOf" srcId="{DE505453-2745-4C63-908F-A06E51CC2007}" destId="{546B707D-54AF-4452-AEBA-596296179EDF}" srcOrd="0" destOrd="0" presId="urn:microsoft.com/office/officeart/2005/8/layout/vList6"/>
    <dgm:cxn modelId="{5ECC1F51-597F-46C6-AD05-1BB3DBCB2165}" srcId="{CBD79E9F-219E-4396-8CD5-A93681DAF0D9}" destId="{48865825-A9FA-4841-9654-6E136ECE6224}" srcOrd="0" destOrd="0" parTransId="{30D61B91-3F25-46BF-A893-1AA13F20D073}" sibTransId="{79772EBC-43AD-4F7B-8F02-78C45EC26A22}"/>
    <dgm:cxn modelId="{6319830D-CB13-417B-96B3-FAADE4D4163E}" type="presOf" srcId="{8606816E-485A-4338-A3C1-F5993D040B15}" destId="{89017A06-ED07-4466-BE7C-9B6F490FFAF2}" srcOrd="0" destOrd="0" presId="urn:microsoft.com/office/officeart/2005/8/layout/vList6"/>
    <dgm:cxn modelId="{22A35136-FEED-4833-8095-6995452F831D}" srcId="{DD72C43E-3513-43CD-89F3-56C868740CE3}" destId="{B6D5C1D0-1D64-4BAB-88AF-CA6B378B7C25}" srcOrd="0" destOrd="0" parTransId="{4D92C2F3-9AA7-4FCF-AF7F-02390F86316F}" sibTransId="{21273D24-F3CD-4802-9080-74950EF5D9CA}"/>
    <dgm:cxn modelId="{F01085E7-49A5-4D73-A4DE-57087D4CCE69}" srcId="{A489283A-080E-422A-B843-75DE2B737ADD}" destId="{170B7268-61E2-4CE5-AB1D-27A68CBE2D1E}" srcOrd="0" destOrd="0" parTransId="{7160A7DC-FF67-4324-95C5-77A6787D13AE}" sibTransId="{D80C5002-0C3A-4F83-89D6-B082B3FDD09C}"/>
    <dgm:cxn modelId="{A489E2D1-4810-4C39-8F59-B1633B19554F}" type="presOf" srcId="{BE023F26-9441-4831-9988-C3C93008BEB3}" destId="{3EBD006A-815A-43C1-B432-FA89E840382F}" srcOrd="0" destOrd="0" presId="urn:microsoft.com/office/officeart/2005/8/layout/vList6"/>
    <dgm:cxn modelId="{F9D1873B-A1CC-4F15-92C7-A441E0CDB7CF}" srcId="{A489283A-080E-422A-B843-75DE2B737ADD}" destId="{8EFC637F-90D2-4708-A96B-B549E7CD2008}" srcOrd="3" destOrd="0" parTransId="{9E5C0DB9-A1DD-4101-BB82-30EEEB809650}" sibTransId="{9BF52DEE-D55A-4A7B-B7BA-E1541456F94B}"/>
    <dgm:cxn modelId="{84E6F84E-3FD8-4665-8532-BFD8CE8D5E30}" srcId="{A489283A-080E-422A-B843-75DE2B737ADD}" destId="{DD72C43E-3513-43CD-89F3-56C868740CE3}" srcOrd="1" destOrd="0" parTransId="{ACA354FB-AA20-4DE3-9077-5E1EEA11CA63}" sibTransId="{C54FD4F6-0FA4-4024-AA41-43E3F8D5F183}"/>
    <dgm:cxn modelId="{7510835A-6011-4DA8-814B-E0025BEAA455}" srcId="{A489283A-080E-422A-B843-75DE2B737ADD}" destId="{7BD92536-DDFF-42E2-BD50-4B62DE16227E}" srcOrd="5" destOrd="0" parTransId="{6B1F9FC7-192E-481A-A4F2-013F125BB4D1}" sibTransId="{3A879828-FA09-4110-BC7A-A8EC04AAB21A}"/>
    <dgm:cxn modelId="{DB6CC623-DE58-452D-82DF-E9117820318F}" type="presOf" srcId="{5794ECA0-D011-418E-B4F2-55AB70C0873D}" destId="{4243D1AA-6F51-49C8-BFAD-46EAC9535AFF}" srcOrd="0" destOrd="0" presId="urn:microsoft.com/office/officeart/2005/8/layout/vList6"/>
    <dgm:cxn modelId="{CA345BFD-D70F-46B8-B56C-B0078F6BC447}" type="presOf" srcId="{B6D5C1D0-1D64-4BAB-88AF-CA6B378B7C25}" destId="{32C6D39C-200B-4B62-B227-B6E6D27D3769}" srcOrd="0" destOrd="0" presId="urn:microsoft.com/office/officeart/2005/8/layout/vList6"/>
    <dgm:cxn modelId="{CB8864C8-27E7-491B-BB24-B6A0E3A17B6F}" type="presOf" srcId="{CBD79E9F-219E-4396-8CD5-A93681DAF0D9}" destId="{DD32F40F-CA28-44ED-8A8C-40B3AD39C0E9}" srcOrd="0" destOrd="0" presId="urn:microsoft.com/office/officeart/2005/8/layout/vList6"/>
    <dgm:cxn modelId="{D47F19B9-F5B9-4102-A461-75C1AADF9AA7}" type="presParOf" srcId="{B39F0972-0A0E-4161-848D-0F76160721EE}" destId="{F71AE449-A544-456C-8C84-BCE45152C95A}" srcOrd="0" destOrd="0" presId="urn:microsoft.com/office/officeart/2005/8/layout/vList6"/>
    <dgm:cxn modelId="{95EE5653-FC4C-420D-8BCF-7D24E60127C7}" type="presParOf" srcId="{F71AE449-A544-456C-8C84-BCE45152C95A}" destId="{44498A9F-48AD-4EDA-AD67-E2D6F42FAAA7}" srcOrd="0" destOrd="0" presId="urn:microsoft.com/office/officeart/2005/8/layout/vList6"/>
    <dgm:cxn modelId="{994D2B06-397D-4797-9CFD-804475D25E01}" type="presParOf" srcId="{F71AE449-A544-456C-8C84-BCE45152C95A}" destId="{3EBD006A-815A-43C1-B432-FA89E840382F}" srcOrd="1" destOrd="0" presId="urn:microsoft.com/office/officeart/2005/8/layout/vList6"/>
    <dgm:cxn modelId="{221F366C-4C86-40B3-BC8C-643B75ED4A93}" type="presParOf" srcId="{B39F0972-0A0E-4161-848D-0F76160721EE}" destId="{9763B9BE-0144-4450-ADEA-27B355CCDB6F}" srcOrd="1" destOrd="0" presId="urn:microsoft.com/office/officeart/2005/8/layout/vList6"/>
    <dgm:cxn modelId="{F77ED76D-A5E0-496A-BFA1-8AB899A34D37}" type="presParOf" srcId="{B39F0972-0A0E-4161-848D-0F76160721EE}" destId="{6B25B308-125B-4021-8C76-6E28093854E9}" srcOrd="2" destOrd="0" presId="urn:microsoft.com/office/officeart/2005/8/layout/vList6"/>
    <dgm:cxn modelId="{DA8C02B5-49AD-4AE3-8F6D-4D88ADEC169D}" type="presParOf" srcId="{6B25B308-125B-4021-8C76-6E28093854E9}" destId="{6A1FF6CF-9264-47F8-A7D0-DC3C05E23F51}" srcOrd="0" destOrd="0" presId="urn:microsoft.com/office/officeart/2005/8/layout/vList6"/>
    <dgm:cxn modelId="{22212A22-F225-4C1F-BB1E-74EDB2814B2C}" type="presParOf" srcId="{6B25B308-125B-4021-8C76-6E28093854E9}" destId="{32C6D39C-200B-4B62-B227-B6E6D27D3769}" srcOrd="1" destOrd="0" presId="urn:microsoft.com/office/officeart/2005/8/layout/vList6"/>
    <dgm:cxn modelId="{321E4726-8BED-4CC0-B88A-FE81BDBEE25A}" type="presParOf" srcId="{B39F0972-0A0E-4161-848D-0F76160721EE}" destId="{1A9E24B6-C070-4A5C-8FFE-F70E67BD9FBE}" srcOrd="3" destOrd="0" presId="urn:microsoft.com/office/officeart/2005/8/layout/vList6"/>
    <dgm:cxn modelId="{03CFE394-40EC-435A-9983-9A13AEB53588}" type="presParOf" srcId="{B39F0972-0A0E-4161-848D-0F76160721EE}" destId="{EE577076-F2BF-4BA4-99CA-C5E80B8C95EE}" srcOrd="4" destOrd="0" presId="urn:microsoft.com/office/officeart/2005/8/layout/vList6"/>
    <dgm:cxn modelId="{5BA7235B-A015-4553-BFD2-2D0880A6039D}" type="presParOf" srcId="{EE577076-F2BF-4BA4-99CA-C5E80B8C95EE}" destId="{DD32F40F-CA28-44ED-8A8C-40B3AD39C0E9}" srcOrd="0" destOrd="0" presId="urn:microsoft.com/office/officeart/2005/8/layout/vList6"/>
    <dgm:cxn modelId="{7ED9C774-B858-427C-A3EC-973FF6277F1B}" type="presParOf" srcId="{EE577076-F2BF-4BA4-99CA-C5E80B8C95EE}" destId="{6C322226-7B31-43F2-946D-2D4D8CECF564}" srcOrd="1" destOrd="0" presId="urn:microsoft.com/office/officeart/2005/8/layout/vList6"/>
    <dgm:cxn modelId="{18DCDD27-526F-4A30-BF5D-13AB2490DB7C}" type="presParOf" srcId="{B39F0972-0A0E-4161-848D-0F76160721EE}" destId="{7733A3A0-70DD-4ED3-90EA-A8D7F135CD8C}" srcOrd="5" destOrd="0" presId="urn:microsoft.com/office/officeart/2005/8/layout/vList6"/>
    <dgm:cxn modelId="{1C9D7033-7E03-44FB-AE14-DBCEDFC8BE34}" type="presParOf" srcId="{B39F0972-0A0E-4161-848D-0F76160721EE}" destId="{D6EF374A-7EF0-425F-8324-34B43EA52551}" srcOrd="6" destOrd="0" presId="urn:microsoft.com/office/officeart/2005/8/layout/vList6"/>
    <dgm:cxn modelId="{523C586D-8356-4EFB-99F1-60B8D3EA3967}" type="presParOf" srcId="{D6EF374A-7EF0-425F-8324-34B43EA52551}" destId="{EFA26B8D-B276-4B35-B2DF-3F94BE8D8426}" srcOrd="0" destOrd="0" presId="urn:microsoft.com/office/officeart/2005/8/layout/vList6"/>
    <dgm:cxn modelId="{4788E50A-D785-490B-AE57-D4345EB07DF0}" type="presParOf" srcId="{D6EF374A-7EF0-425F-8324-34B43EA52551}" destId="{944EB52C-5140-4E52-B901-A6E4BD75DB45}" srcOrd="1" destOrd="0" presId="urn:microsoft.com/office/officeart/2005/8/layout/vList6"/>
    <dgm:cxn modelId="{BF71ECDE-31FE-4A65-B12E-F2F1D71881DF}" type="presParOf" srcId="{B39F0972-0A0E-4161-848D-0F76160721EE}" destId="{CE1BE18A-07D5-4A75-8A8F-8C95817ECDE9}" srcOrd="7" destOrd="0" presId="urn:microsoft.com/office/officeart/2005/8/layout/vList6"/>
    <dgm:cxn modelId="{6C50BB26-0143-498E-A47C-3AE477A639A9}" type="presParOf" srcId="{B39F0972-0A0E-4161-848D-0F76160721EE}" destId="{CFAA0D5F-5F12-4237-836E-0830715123BD}" srcOrd="8" destOrd="0" presId="urn:microsoft.com/office/officeart/2005/8/layout/vList6"/>
    <dgm:cxn modelId="{3CBB4C7D-454E-4E86-A958-8820C33FA6DC}" type="presParOf" srcId="{CFAA0D5F-5F12-4237-836E-0830715123BD}" destId="{546B707D-54AF-4452-AEBA-596296179EDF}" srcOrd="0" destOrd="0" presId="urn:microsoft.com/office/officeart/2005/8/layout/vList6"/>
    <dgm:cxn modelId="{756EA7A2-5126-4811-960D-D457B6100DEE}" type="presParOf" srcId="{CFAA0D5F-5F12-4237-836E-0830715123BD}" destId="{4243D1AA-6F51-49C8-BFAD-46EAC9535AFF}" srcOrd="1" destOrd="0" presId="urn:microsoft.com/office/officeart/2005/8/layout/vList6"/>
    <dgm:cxn modelId="{F10B6EBF-0633-4FF0-BBD0-9F4656E8737A}" type="presParOf" srcId="{B39F0972-0A0E-4161-848D-0F76160721EE}" destId="{09D054A5-7BFB-48FA-AF4A-2C3650168848}" srcOrd="9" destOrd="0" presId="urn:microsoft.com/office/officeart/2005/8/layout/vList6"/>
    <dgm:cxn modelId="{9C8AC687-4260-430A-B05C-9E8F52ABFCD0}" type="presParOf" srcId="{B39F0972-0A0E-4161-848D-0F76160721EE}" destId="{DFBB9F3E-B2C6-46B4-B675-4B286A4AE39C}" srcOrd="10" destOrd="0" presId="urn:microsoft.com/office/officeart/2005/8/layout/vList6"/>
    <dgm:cxn modelId="{F1EE0316-F69F-4DFA-B854-F48F67AFE7D0}" type="presParOf" srcId="{DFBB9F3E-B2C6-46B4-B675-4B286A4AE39C}" destId="{7CC35207-FD59-440E-8DA6-5D1B24593F02}" srcOrd="0" destOrd="0" presId="urn:microsoft.com/office/officeart/2005/8/layout/vList6"/>
    <dgm:cxn modelId="{47764ADD-AEEA-4E05-B249-F748AC391C70}" type="presParOf" srcId="{DFBB9F3E-B2C6-46B4-B675-4B286A4AE39C}" destId="{89017A06-ED07-4466-BE7C-9B6F490FFAF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C91793-5478-4E12-947A-87BD5E9F0FA8}" type="doc">
      <dgm:prSet loTypeId="urn:microsoft.com/office/officeart/2005/8/layout/arrow6" loCatId="relationship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zh-CN" altLang="en-US"/>
        </a:p>
      </dgm:t>
    </dgm:pt>
    <dgm:pt modelId="{4D91CE3C-EE5D-4E79-8DD7-5789B237F81E}">
      <dgm:prSet custT="1"/>
      <dgm:spPr/>
      <dgm:t>
        <a:bodyPr/>
        <a:lstStyle/>
        <a:p>
          <a:pPr rtl="0"/>
          <a:r>
            <a:rPr lang="en-US" altLang="en-US" sz="1200" b="1" dirty="0">
              <a:latin typeface="微软雅黑" pitchFamily="34" charset="-122"/>
              <a:ea typeface="微软雅黑" pitchFamily="34" charset="-122"/>
            </a:rPr>
            <a:t>Accurate data</a:t>
          </a:r>
          <a:endParaRPr lang="zh-CN" altLang="en-US" sz="1200" b="1" dirty="0">
            <a:latin typeface="微软雅黑" pitchFamily="34" charset="-122"/>
            <a:ea typeface="微软雅黑" pitchFamily="34" charset="-122"/>
          </a:endParaRPr>
        </a:p>
      </dgm:t>
    </dgm:pt>
    <dgm:pt modelId="{B947470E-92F7-4905-9075-498CA502F143}" type="parTrans" cxnId="{371CFFE8-D714-48FB-83EE-32C648FE07F4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38C40586-2142-4C0E-AF4E-21B304E3806E}" type="sibTrans" cxnId="{371CFFE8-D714-48FB-83EE-32C648FE07F4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B02AAA1-8292-4714-959A-A1A3BC562BC9}">
      <dgm:prSet custT="1"/>
      <dgm:spPr/>
      <dgm:t>
        <a:bodyPr/>
        <a:lstStyle/>
        <a:p>
          <a:pPr rtl="0"/>
          <a:r>
            <a:rPr lang="en-US" altLang="en-US" sz="1200" b="1" dirty="0">
              <a:latin typeface="微软雅黑" pitchFamily="34" charset="-122"/>
              <a:ea typeface="微软雅黑" pitchFamily="34" charset="-122"/>
            </a:rPr>
            <a:t>Information</a:t>
          </a:r>
          <a:r>
            <a:rPr lang="en-US" altLang="en-US" sz="1400" b="1" dirty="0"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en-US" sz="1200" b="1" dirty="0">
              <a:latin typeface="微软雅黑" pitchFamily="34" charset="-122"/>
              <a:ea typeface="微软雅黑" pitchFamily="34" charset="-122"/>
            </a:rPr>
            <a:t>Publicity</a:t>
          </a:r>
          <a:endParaRPr lang="zh-CN" altLang="en-US" sz="1400" b="1" dirty="0">
            <a:latin typeface="微软雅黑" pitchFamily="34" charset="-122"/>
            <a:ea typeface="微软雅黑" pitchFamily="34" charset="-122"/>
          </a:endParaRPr>
        </a:p>
      </dgm:t>
    </dgm:pt>
    <dgm:pt modelId="{7FC70325-C971-4F37-9708-2DC2ED665DC4}" type="parTrans" cxnId="{52BF0D5A-1D00-485D-ACB7-9E683D325D79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FB19F12D-A489-4895-9783-506771CEC0A2}" type="sibTrans" cxnId="{52BF0D5A-1D00-485D-ACB7-9E683D325D79}">
      <dgm:prSet/>
      <dgm:spPr/>
      <dgm:t>
        <a:bodyPr/>
        <a:lstStyle/>
        <a:p>
          <a:endParaRPr lang="zh-CN" altLang="en-US">
            <a:latin typeface="微软雅黑" pitchFamily="34" charset="-122"/>
            <a:ea typeface="微软雅黑" pitchFamily="34" charset="-122"/>
          </a:endParaRPr>
        </a:p>
      </dgm:t>
    </dgm:pt>
    <dgm:pt modelId="{530A0398-EF37-4B0C-933F-96005799A91B}" type="pres">
      <dgm:prSet presAssocID="{24C91793-5478-4E12-947A-87BD5E9F0FA8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684935B-8A9D-4648-8722-A599B328BF85}" type="pres">
      <dgm:prSet presAssocID="{24C91793-5478-4E12-947A-87BD5E9F0FA8}" presName="ribbon" presStyleLbl="node1" presStyleIdx="0" presStyleCnt="1" custScaleX="108000" custLinFactNeighborX="-10000"/>
      <dgm:spPr/>
    </dgm:pt>
    <dgm:pt modelId="{78DFCE61-5521-40F0-8B95-A82FF5F8CBC7}" type="pres">
      <dgm:prSet presAssocID="{24C91793-5478-4E12-947A-87BD5E9F0FA8}" presName="leftArrowText" presStyleLbl="node1" presStyleIdx="0" presStyleCnt="1" custScaleY="116965" custLinFactNeighborX="-11181" custLinFactNeighborY="45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48BCC5F-4E48-4B45-827A-45DD1BBF001C}" type="pres">
      <dgm:prSet presAssocID="{24C91793-5478-4E12-947A-87BD5E9F0FA8}" presName="rightArrowText" presStyleLbl="node1" presStyleIdx="0" presStyleCnt="1" custLinFactNeighborX="-17949" custLinFactNeighborY="6016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C667922B-8668-41E4-B7E1-F205A5354E89}" type="presOf" srcId="{4D91CE3C-EE5D-4E79-8DD7-5789B237F81E}" destId="{78DFCE61-5521-40F0-8B95-A82FF5F8CBC7}" srcOrd="0" destOrd="0" presId="urn:microsoft.com/office/officeart/2005/8/layout/arrow6"/>
    <dgm:cxn modelId="{52BF0D5A-1D00-485D-ACB7-9E683D325D79}" srcId="{24C91793-5478-4E12-947A-87BD5E9F0FA8}" destId="{5B02AAA1-8292-4714-959A-A1A3BC562BC9}" srcOrd="1" destOrd="0" parTransId="{7FC70325-C971-4F37-9708-2DC2ED665DC4}" sibTransId="{FB19F12D-A489-4895-9783-506771CEC0A2}"/>
    <dgm:cxn modelId="{41DEF31D-E32A-480E-8B76-C414F271DBF7}" type="presOf" srcId="{5B02AAA1-8292-4714-959A-A1A3BC562BC9}" destId="{048BCC5F-4E48-4B45-827A-45DD1BBF001C}" srcOrd="0" destOrd="0" presId="urn:microsoft.com/office/officeart/2005/8/layout/arrow6"/>
    <dgm:cxn modelId="{371CFFE8-D714-48FB-83EE-32C648FE07F4}" srcId="{24C91793-5478-4E12-947A-87BD5E9F0FA8}" destId="{4D91CE3C-EE5D-4E79-8DD7-5789B237F81E}" srcOrd="0" destOrd="0" parTransId="{B947470E-92F7-4905-9075-498CA502F143}" sibTransId="{38C40586-2142-4C0E-AF4E-21B304E3806E}"/>
    <dgm:cxn modelId="{76AA213B-E2B6-4A8E-AD51-58EBEF01D346}" type="presOf" srcId="{24C91793-5478-4E12-947A-87BD5E9F0FA8}" destId="{530A0398-EF37-4B0C-933F-96005799A91B}" srcOrd="0" destOrd="0" presId="urn:microsoft.com/office/officeart/2005/8/layout/arrow6"/>
    <dgm:cxn modelId="{F5EC35FA-F0BE-4C15-872D-28B4C1EF5C79}" type="presParOf" srcId="{530A0398-EF37-4B0C-933F-96005799A91B}" destId="{2684935B-8A9D-4648-8722-A599B328BF85}" srcOrd="0" destOrd="0" presId="urn:microsoft.com/office/officeart/2005/8/layout/arrow6"/>
    <dgm:cxn modelId="{4FBB4379-5770-4482-A5FA-B3EF5389DDC7}" type="presParOf" srcId="{530A0398-EF37-4B0C-933F-96005799A91B}" destId="{78DFCE61-5521-40F0-8B95-A82FF5F8CBC7}" srcOrd="1" destOrd="0" presId="urn:microsoft.com/office/officeart/2005/8/layout/arrow6"/>
    <dgm:cxn modelId="{AD50DBDA-B5D1-4AA2-BB89-6C9C1D426386}" type="presParOf" srcId="{530A0398-EF37-4B0C-933F-96005799A91B}" destId="{048BCC5F-4E48-4B45-827A-45DD1BBF001C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22B864-ED6C-4C8F-87F1-5E7FCA106511}">
      <dsp:nvSpPr>
        <dsp:cNvPr id="0" name=""/>
        <dsp:cNvSpPr/>
      </dsp:nvSpPr>
      <dsp:spPr>
        <a:xfrm>
          <a:off x="0" y="674677"/>
          <a:ext cx="1205747" cy="12057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6356" tIns="12700" rIns="66356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000" b="1" kern="1200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Calibration</a:t>
          </a:r>
          <a:endParaRPr lang="en-US" altLang="zh-CN" sz="1000" b="1" kern="1200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sp:txBody>
      <dsp:txXfrm>
        <a:off x="176578" y="851255"/>
        <a:ext cx="852591" cy="852591"/>
      </dsp:txXfrm>
    </dsp:sp>
    <dsp:sp modelId="{84DDDA31-F226-4520-9045-5A824DD111B4}">
      <dsp:nvSpPr>
        <dsp:cNvPr id="0" name=""/>
        <dsp:cNvSpPr/>
      </dsp:nvSpPr>
      <dsp:spPr>
        <a:xfrm>
          <a:off x="935154" y="680417"/>
          <a:ext cx="1251155" cy="12057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6356" tIns="12700" rIns="66356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b="1" kern="1200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A</a:t>
          </a:r>
          <a:r>
            <a:rPr lang="en-US" altLang="en-US" sz="1000" b="1" kern="1200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djustment</a:t>
          </a:r>
          <a:endParaRPr lang="zh-CN" altLang="en-US" sz="1000" b="1" kern="1200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sp:txBody>
      <dsp:txXfrm>
        <a:off x="1118381" y="856995"/>
        <a:ext cx="884701" cy="852591"/>
      </dsp:txXfrm>
    </dsp:sp>
    <dsp:sp modelId="{3293A055-CCAF-490C-BA57-D656B4E61116}">
      <dsp:nvSpPr>
        <dsp:cNvPr id="0" name=""/>
        <dsp:cNvSpPr/>
      </dsp:nvSpPr>
      <dsp:spPr>
        <a:xfrm>
          <a:off x="1944666" y="674677"/>
          <a:ext cx="1205747" cy="12057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6356" tIns="12700" rIns="66356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1000" b="1" kern="1200" cap="none" spc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000" b="1" kern="1200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Repair</a:t>
          </a:r>
          <a:endParaRPr lang="zh-CN" altLang="en-US" sz="1000" b="1" kern="1200" cap="none" spc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1000" b="1" kern="1200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sp:txBody>
      <dsp:txXfrm>
        <a:off x="2121244" y="851255"/>
        <a:ext cx="852591" cy="852591"/>
      </dsp:txXfrm>
    </dsp:sp>
    <dsp:sp modelId="{8368CB94-D978-485E-A297-C1D36C1C97E3}">
      <dsp:nvSpPr>
        <dsp:cNvPr id="0" name=""/>
        <dsp:cNvSpPr/>
      </dsp:nvSpPr>
      <dsp:spPr>
        <a:xfrm>
          <a:off x="2940712" y="693270"/>
          <a:ext cx="1205747" cy="12057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6356" tIns="12700" rIns="66356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b="1" kern="1200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E</a:t>
          </a:r>
          <a:r>
            <a:rPr lang="en-US" altLang="en-US" sz="1000" b="1" kern="1200" cap="none" spc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quipment leasing</a:t>
          </a:r>
          <a:endParaRPr lang="zh-CN" altLang="en-US" sz="1000" b="1" kern="1200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sp:txBody>
      <dsp:txXfrm>
        <a:off x="3117290" y="869848"/>
        <a:ext cx="852591" cy="852591"/>
      </dsp:txXfrm>
    </dsp:sp>
    <dsp:sp modelId="{433BDACD-6DC3-4385-8AFF-B5711E81AA86}">
      <dsp:nvSpPr>
        <dsp:cNvPr id="0" name=""/>
        <dsp:cNvSpPr/>
      </dsp:nvSpPr>
      <dsp:spPr>
        <a:xfrm>
          <a:off x="3906820" y="674677"/>
          <a:ext cx="1205747" cy="120574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6356" tIns="12700" rIns="66356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000" b="1" kern="1200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T</a:t>
          </a:r>
          <a:r>
            <a:rPr lang="en-US" altLang="en-US" sz="1000" b="1" kern="1200" cap="none" spc="0" dirty="0">
              <a:ln w="12700">
                <a:prstDash val="solid"/>
              </a:ln>
              <a:effectLst/>
              <a:latin typeface="微软雅黑" pitchFamily="34" charset="-122"/>
              <a:ea typeface="微软雅黑" pitchFamily="34" charset="-122"/>
            </a:rPr>
            <a:t>raining on operation</a:t>
          </a:r>
          <a:endParaRPr lang="zh-CN" altLang="en-US" sz="1000" b="1" kern="1200" cap="none" spc="0" dirty="0">
            <a:ln w="12700">
              <a:prstDash val="solid"/>
            </a:ln>
            <a:effectLst/>
            <a:latin typeface="微软雅黑" pitchFamily="34" charset="-122"/>
            <a:ea typeface="微软雅黑" pitchFamily="34" charset="-122"/>
          </a:endParaRPr>
        </a:p>
      </dsp:txBody>
      <dsp:txXfrm>
        <a:off x="4083398" y="851255"/>
        <a:ext cx="852591" cy="8525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BD006A-815A-43C1-B432-FA89E840382F}">
      <dsp:nvSpPr>
        <dsp:cNvPr id="0" name=""/>
        <dsp:cNvSpPr/>
      </dsp:nvSpPr>
      <dsp:spPr>
        <a:xfrm>
          <a:off x="2119740" y="718"/>
          <a:ext cx="4025144" cy="594674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Business quotation    Contract    Assessment     Client Management       </a:t>
          </a:r>
          <a:endParaRPr lang="zh-CN" altLang="en-US" sz="12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19740" y="75052"/>
        <a:ext cx="3802141" cy="446006"/>
      </dsp:txXfrm>
    </dsp:sp>
    <dsp:sp modelId="{44498A9F-48AD-4EDA-AD67-E2D6F42FAAA7}">
      <dsp:nvSpPr>
        <dsp:cNvPr id="0" name=""/>
        <dsp:cNvSpPr/>
      </dsp:nvSpPr>
      <dsp:spPr>
        <a:xfrm>
          <a:off x="174992" y="44511"/>
          <a:ext cx="1927920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Business Management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197262" y="66781"/>
        <a:ext cx="1883380" cy="411663"/>
      </dsp:txXfrm>
    </dsp:sp>
    <dsp:sp modelId="{32C6D39C-200B-4B62-B227-B6E6D27D3769}">
      <dsp:nvSpPr>
        <dsp:cNvPr id="0" name=""/>
        <dsp:cNvSpPr/>
      </dsp:nvSpPr>
      <dsp:spPr>
        <a:xfrm>
          <a:off x="2119740" y="641013"/>
          <a:ext cx="4025144" cy="59601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Data Entry    </a:t>
          </a:r>
          <a:r>
            <a:rPr lang="en-US" altLang="zh-CN" sz="1200" kern="1200" dirty="0">
              <a:latin typeface="微软雅黑" pitchFamily="34" charset="-122"/>
              <a:ea typeface="微软雅黑" pitchFamily="34" charset="-122"/>
            </a:rPr>
            <a:t>Test </a:t>
          </a: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 Duties    Equipment Planning</a:t>
          </a:r>
          <a:endParaRPr lang="zh-CN" altLang="en-US" sz="12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19740" y="715514"/>
        <a:ext cx="3801640" cy="447009"/>
      </dsp:txXfrm>
    </dsp:sp>
    <dsp:sp modelId="{6A1FF6CF-9264-47F8-A7D0-DC3C05E23F51}">
      <dsp:nvSpPr>
        <dsp:cNvPr id="0" name=""/>
        <dsp:cNvSpPr/>
      </dsp:nvSpPr>
      <dsp:spPr>
        <a:xfrm>
          <a:off x="191819" y="710917"/>
          <a:ext cx="1927920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Testing Management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14089" y="733187"/>
        <a:ext cx="1883380" cy="411663"/>
      </dsp:txXfrm>
    </dsp:sp>
    <dsp:sp modelId="{6C322226-7B31-43F2-946D-2D4D8CECF564}">
      <dsp:nvSpPr>
        <dsp:cNvPr id="0" name=""/>
        <dsp:cNvSpPr/>
      </dsp:nvSpPr>
      <dsp:spPr>
        <a:xfrm>
          <a:off x="2119740" y="1282644"/>
          <a:ext cx="4025144" cy="5318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1200" kern="1200" dirty="0">
              <a:latin typeface="微软雅黑" pitchFamily="34" charset="-122"/>
              <a:ea typeface="微软雅黑" pitchFamily="34" charset="-122"/>
            </a:rPr>
            <a:t>Reports    A</a:t>
          </a: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pproval</a:t>
          </a:r>
          <a:endParaRPr lang="zh-CN" altLang="en-US" sz="12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19740" y="1349128"/>
        <a:ext cx="3825694" cy="398901"/>
      </dsp:txXfrm>
    </dsp:sp>
    <dsp:sp modelId="{DD32F40F-CA28-44ED-8A8C-40B3AD39C0E9}">
      <dsp:nvSpPr>
        <dsp:cNvPr id="0" name=""/>
        <dsp:cNvSpPr/>
      </dsp:nvSpPr>
      <dsp:spPr>
        <a:xfrm>
          <a:off x="191819" y="1320477"/>
          <a:ext cx="1927920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Reports Management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14089" y="1342747"/>
        <a:ext cx="1883380" cy="411663"/>
      </dsp:txXfrm>
    </dsp:sp>
    <dsp:sp modelId="{944EB52C-5140-4E52-B901-A6E4BD75DB45}">
      <dsp:nvSpPr>
        <dsp:cNvPr id="0" name=""/>
        <dsp:cNvSpPr/>
      </dsp:nvSpPr>
      <dsp:spPr>
        <a:xfrm>
          <a:off x="2116834" y="1860133"/>
          <a:ext cx="4030955" cy="52304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Charge </a:t>
          </a:r>
          <a:r>
            <a:rPr lang="en-US" altLang="zh-CN" sz="1200" kern="1200" dirty="0">
              <a:latin typeface="微软雅黑" pitchFamily="34" charset="-122"/>
              <a:ea typeface="微软雅黑" pitchFamily="34" charset="-122"/>
            </a:rPr>
            <a:t>Record    </a:t>
          </a: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Account Management            Price Management</a:t>
          </a:r>
          <a:endParaRPr lang="zh-CN" altLang="en-US" sz="12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16834" y="1925514"/>
        <a:ext cx="3834813" cy="392283"/>
      </dsp:txXfrm>
    </dsp:sp>
    <dsp:sp modelId="{EFA26B8D-B276-4B35-B2DF-3F94BE8D8426}">
      <dsp:nvSpPr>
        <dsp:cNvPr id="0" name=""/>
        <dsp:cNvSpPr/>
      </dsp:nvSpPr>
      <dsp:spPr>
        <a:xfrm>
          <a:off x="188913" y="1893555"/>
          <a:ext cx="1927920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zh-CN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F</a:t>
          </a:r>
          <a:r>
            <a:rPr lang="en-US" altLang="en-US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inances Management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11183" y="1915825"/>
        <a:ext cx="1883380" cy="411663"/>
      </dsp:txXfrm>
    </dsp:sp>
    <dsp:sp modelId="{4243D1AA-6F51-49C8-BFAD-46EAC9535AFF}">
      <dsp:nvSpPr>
        <dsp:cNvPr id="0" name=""/>
        <dsp:cNvSpPr/>
      </dsp:nvSpPr>
      <dsp:spPr>
        <a:xfrm>
          <a:off x="2119740" y="2428799"/>
          <a:ext cx="4025144" cy="55950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Standards</a:t>
          </a:r>
          <a:r>
            <a:rPr lang="zh-CN" altLang="en-US" sz="1200" kern="1200" dirty="0"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zh-CN" sz="1200" kern="1200" dirty="0">
              <a:latin typeface="微软雅黑" pitchFamily="34" charset="-122"/>
              <a:ea typeface="微软雅黑" pitchFamily="34" charset="-122"/>
            </a:rPr>
            <a:t>Management    Facilities Management </a:t>
          </a:r>
          <a:endParaRPr lang="zh-CN" altLang="en-US" sz="1200" kern="1200" dirty="0">
            <a:latin typeface="微软雅黑" pitchFamily="34" charset="-122"/>
            <a:ea typeface="微软雅黑" pitchFamily="34" charset="-122"/>
          </a:endParaRPr>
        </a:p>
      </dsp:txBody>
      <dsp:txXfrm>
        <a:off x="2119740" y="2498737"/>
        <a:ext cx="3815331" cy="419625"/>
      </dsp:txXfrm>
    </dsp:sp>
    <dsp:sp modelId="{546B707D-54AF-4452-AEBA-596296179EDF}">
      <dsp:nvSpPr>
        <dsp:cNvPr id="0" name=""/>
        <dsp:cNvSpPr/>
      </dsp:nvSpPr>
      <dsp:spPr>
        <a:xfrm>
          <a:off x="191819" y="2480448"/>
          <a:ext cx="1927920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Lab Management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14089" y="2502718"/>
        <a:ext cx="1883380" cy="411663"/>
      </dsp:txXfrm>
    </dsp:sp>
    <dsp:sp modelId="{89017A06-ED07-4466-BE7C-9B6F490FFAF2}">
      <dsp:nvSpPr>
        <dsp:cNvPr id="0" name=""/>
        <dsp:cNvSpPr/>
      </dsp:nvSpPr>
      <dsp:spPr>
        <a:xfrm>
          <a:off x="2164604" y="3033921"/>
          <a:ext cx="3935390" cy="56576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en-US" sz="1200" kern="1200" dirty="0">
              <a:latin typeface="微软雅黑" pitchFamily="34" charset="-122"/>
              <a:ea typeface="微软雅黑" pitchFamily="34" charset="-122"/>
            </a:rPr>
            <a:t>Contract  Inquiry    Samples Inquiry                  Reports Inquiry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164604" y="3104641"/>
        <a:ext cx="3723230" cy="424320"/>
      </dsp:txXfrm>
    </dsp:sp>
    <dsp:sp modelId="{7CC35207-FD59-440E-8DA6-5D1B24593F02}">
      <dsp:nvSpPr>
        <dsp:cNvPr id="0" name=""/>
        <dsp:cNvSpPr/>
      </dsp:nvSpPr>
      <dsp:spPr>
        <a:xfrm>
          <a:off x="186508" y="3072189"/>
          <a:ext cx="1978083" cy="456203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itchFamily="34" charset="-122"/>
              <a:ea typeface="微软雅黑" pitchFamily="34" charset="-122"/>
            </a:rPr>
            <a:t>Data Query</a:t>
          </a:r>
          <a:endParaRPr lang="zh-CN" altLang="en-US" sz="12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微软雅黑" pitchFamily="34" charset="-122"/>
            <a:ea typeface="微软雅黑" pitchFamily="34" charset="-122"/>
          </a:endParaRPr>
        </a:p>
      </dsp:txBody>
      <dsp:txXfrm>
        <a:off x="208778" y="3094459"/>
        <a:ext cx="1933543" cy="4116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84935B-8A9D-4648-8722-A599B328BF85}">
      <dsp:nvSpPr>
        <dsp:cNvPr id="0" name=""/>
        <dsp:cNvSpPr/>
      </dsp:nvSpPr>
      <dsp:spPr>
        <a:xfrm>
          <a:off x="0" y="0"/>
          <a:ext cx="2916324" cy="1080120"/>
        </a:xfrm>
        <a:prstGeom prst="leftRightRibb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8DFCE61-5521-40F0-8B95-A82FF5F8CBC7}">
      <dsp:nvSpPr>
        <dsp:cNvPr id="0" name=""/>
        <dsp:cNvSpPr/>
      </dsp:nvSpPr>
      <dsp:spPr>
        <a:xfrm>
          <a:off x="530436" y="144364"/>
          <a:ext cx="891099" cy="619047"/>
        </a:xfrm>
        <a:prstGeom prst="rect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42672" rIns="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1" kern="1200" dirty="0">
              <a:latin typeface="微软雅黑" pitchFamily="34" charset="-122"/>
              <a:ea typeface="微软雅黑" pitchFamily="34" charset="-122"/>
            </a:rPr>
            <a:t>Accurate data</a:t>
          </a:r>
          <a:endParaRPr lang="zh-CN" altLang="en-US" sz="1200" b="1" kern="1200" dirty="0">
            <a:latin typeface="微软雅黑" pitchFamily="34" charset="-122"/>
            <a:ea typeface="微软雅黑" pitchFamily="34" charset="-122"/>
          </a:endParaRPr>
        </a:p>
      </dsp:txBody>
      <dsp:txXfrm>
        <a:off x="530436" y="144364"/>
        <a:ext cx="891099" cy="619047"/>
      </dsp:txXfrm>
    </dsp:sp>
    <dsp:sp modelId="{048BCC5F-4E48-4B45-827A-45DD1BBF001C}">
      <dsp:nvSpPr>
        <dsp:cNvPr id="0" name=""/>
        <dsp:cNvSpPr/>
      </dsp:nvSpPr>
      <dsp:spPr>
        <a:xfrm>
          <a:off x="1467160" y="393680"/>
          <a:ext cx="1053117" cy="529258"/>
        </a:xfrm>
        <a:prstGeom prst="rect">
          <a:avLst/>
        </a:prstGeom>
        <a:noFill/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42672" rIns="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200" b="1" kern="1200" dirty="0">
              <a:latin typeface="微软雅黑" pitchFamily="34" charset="-122"/>
              <a:ea typeface="微软雅黑" pitchFamily="34" charset="-122"/>
            </a:rPr>
            <a:t>Information</a:t>
          </a:r>
          <a:r>
            <a:rPr lang="en-US" altLang="en-US" sz="1400" b="1" kern="1200" dirty="0">
              <a:latin typeface="微软雅黑" pitchFamily="34" charset="-122"/>
              <a:ea typeface="微软雅黑" pitchFamily="34" charset="-122"/>
            </a:rPr>
            <a:t> </a:t>
          </a:r>
          <a:r>
            <a:rPr lang="en-US" altLang="en-US" sz="1200" b="1" kern="1200" dirty="0">
              <a:latin typeface="微软雅黑" pitchFamily="34" charset="-122"/>
              <a:ea typeface="微软雅黑" pitchFamily="34" charset="-122"/>
            </a:rPr>
            <a:t>Publicity</a:t>
          </a:r>
          <a:endParaRPr lang="zh-CN" altLang="en-US" sz="1400" b="1" kern="1200" dirty="0">
            <a:latin typeface="微软雅黑" pitchFamily="34" charset="-122"/>
            <a:ea typeface="微软雅黑" pitchFamily="34" charset="-122"/>
          </a:endParaRPr>
        </a:p>
      </dsp:txBody>
      <dsp:txXfrm>
        <a:off x="1467160" y="393680"/>
        <a:ext cx="1053117" cy="5292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099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615" y="0"/>
            <a:ext cx="3076098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0395A03B-1390-46EC-9845-E2A4AABD595C}" type="datetimeFigureOut">
              <a:rPr lang="zh-CN" altLang="en-US"/>
              <a:pPr>
                <a:defRPr/>
              </a:pPr>
              <a:t>2019/3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768350"/>
            <a:ext cx="61372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723" y="4860925"/>
            <a:ext cx="5679440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9721851"/>
            <a:ext cx="3076099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615" y="9721851"/>
            <a:ext cx="3076098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</a:defRPr>
            </a:lvl1pPr>
          </a:lstStyle>
          <a:p>
            <a:pPr>
              <a:defRPr/>
            </a:pPr>
            <a:fld id="{49DE9A82-FB5A-472A-AC42-FE3DB797BB3C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39463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7171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736911-D3C0-4CF0-A050-28960BB02F23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26625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3555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120D99-B2E4-4BD8-8C84-A6BBEC6AAAE8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29939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184971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06657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6362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6362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84501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04632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38095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7651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2669506-552A-47DF-AED6-6724A6E60650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109040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2214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9219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1CC61AE-C63B-43A7-B927-E0C08A96EED5}" type="slidenum">
              <a:rPr lang="zh-CN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451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175890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87116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19261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1747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AD68234-663D-4146-8F0D-DD319F8C0FC7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25842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170766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742487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7891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4D6744-AF09-4D7F-8498-E98BAAE8CAA8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83020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446424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9939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99C60A-2879-4BFA-9FE5-C906270F55FB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06767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41987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A45646D-6C72-4AD8-B0B1-DC00BFD4EB56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8056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zh-CN"/>
          </a:p>
        </p:txBody>
      </p:sp>
      <p:sp>
        <p:nvSpPr>
          <p:cNvPr id="11267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DC6B70-5A7C-4B4F-9DE4-59273B141745}" type="slidenum">
              <a:rPr lang="zh-CN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577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13315" name="灯片编号占位符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045214D-CFB9-4CC8-84FB-342EF3916BD1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3775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260216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95126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62821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69846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04404-DA47-41E0-B685-4482151EE927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5401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9"/>
          <p:cNvSpPr/>
          <p:nvPr userDrawn="1"/>
        </p:nvSpPr>
        <p:spPr>
          <a:xfrm>
            <a:off x="0" y="746125"/>
            <a:ext cx="9144000" cy="4827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265" t="50368" b="26492"/>
          <a:stretch/>
        </p:blipFill>
        <p:spPr bwMode="auto">
          <a:xfrm>
            <a:off x="0" y="115888"/>
            <a:ext cx="9144000" cy="6302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4" name="矩形 12"/>
          <p:cNvSpPr/>
          <p:nvPr userDrawn="1"/>
        </p:nvSpPr>
        <p:spPr>
          <a:xfrm>
            <a:off x="0" y="0"/>
            <a:ext cx="9144000" cy="1158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矩形 1"/>
          <p:cNvSpPr/>
          <p:nvPr userDrawn="1"/>
        </p:nvSpPr>
        <p:spPr>
          <a:xfrm>
            <a:off x="0" y="115888"/>
            <a:ext cx="1258888" cy="6302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265" t="67357" b="26492"/>
          <a:stretch/>
        </p:blipFill>
        <p:spPr bwMode="auto">
          <a:xfrm>
            <a:off x="0" y="5580063"/>
            <a:ext cx="9144000" cy="168275"/>
          </a:xfrm>
          <a:prstGeom prst="rect">
            <a:avLst/>
          </a:prstGeom>
          <a:noFill/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22237"/>
            <a:ext cx="1258889" cy="6175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104" b="16667"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微软雅黑" charset="-122"/>
          <a:ea typeface="+mj-ea"/>
          <a:cs typeface="Arial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ea typeface="华文楷体" charset="-122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ea typeface="华文楷体" charset="-122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ea typeface="华文楷体" charset="-122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ea typeface="华文楷体" charset="-122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软雅黑" charset="-122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Impact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Impact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Impact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Impact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Impact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9.jpe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Relationship Id="rId9" Type="http://schemas.openxmlformats.org/officeDocument/2006/relationships/image" Target="../media/image4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Relationship Id="rId9" Type="http://schemas.openxmlformats.org/officeDocument/2006/relationships/image" Target="../media/image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9.jpe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Relationship Id="rId9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9.jpe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jpeg"/><Relationship Id="rId11" Type="http://schemas.openxmlformats.org/officeDocument/2006/relationships/image" Target="../media/image65.jpeg"/><Relationship Id="rId5" Type="http://schemas.openxmlformats.org/officeDocument/2006/relationships/image" Target="../media/image59.jpeg"/><Relationship Id="rId10" Type="http://schemas.openxmlformats.org/officeDocument/2006/relationships/image" Target="../media/image64.jpeg"/><Relationship Id="rId4" Type="http://schemas.openxmlformats.org/officeDocument/2006/relationships/image" Target="../media/image58.jpeg"/><Relationship Id="rId9" Type="http://schemas.openxmlformats.org/officeDocument/2006/relationships/image" Target="../media/image6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9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6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7" Type="http://schemas.openxmlformats.org/officeDocument/2006/relationships/image" Target="../media/image7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jpeg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13" Type="http://schemas.openxmlformats.org/officeDocument/2006/relationships/image" Target="../media/image85.png"/><Relationship Id="rId3" Type="http://schemas.openxmlformats.org/officeDocument/2006/relationships/image" Target="../media/image75.jpeg"/><Relationship Id="rId7" Type="http://schemas.openxmlformats.org/officeDocument/2006/relationships/image" Target="../media/image79.png"/><Relationship Id="rId12" Type="http://schemas.openxmlformats.org/officeDocument/2006/relationships/image" Target="../media/image8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jpeg"/><Relationship Id="rId11" Type="http://schemas.openxmlformats.org/officeDocument/2006/relationships/image" Target="../media/image83.jpeg"/><Relationship Id="rId5" Type="http://schemas.openxmlformats.org/officeDocument/2006/relationships/image" Target="../media/image77.jpeg"/><Relationship Id="rId10" Type="http://schemas.openxmlformats.org/officeDocument/2006/relationships/image" Target="../media/image82.jpeg"/><Relationship Id="rId4" Type="http://schemas.openxmlformats.org/officeDocument/2006/relationships/image" Target="../media/image76.jpeg"/><Relationship Id="rId9" Type="http://schemas.openxmlformats.org/officeDocument/2006/relationships/image" Target="../media/image81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jpe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emf"/><Relationship Id="rId5" Type="http://schemas.openxmlformats.org/officeDocument/2006/relationships/image" Target="../media/image88.png"/><Relationship Id="rId4" Type="http://schemas.openxmlformats.org/officeDocument/2006/relationships/image" Target="../media/image87.jpeg"/><Relationship Id="rId9" Type="http://schemas.openxmlformats.org/officeDocument/2006/relationships/image" Target="../media/image9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openxmlformats.org/officeDocument/2006/relationships/diagramColors" Target="../diagrams/colors3.xml"/><Relationship Id="rId3" Type="http://schemas.openxmlformats.org/officeDocument/2006/relationships/image" Target="../media/image94.jpeg"/><Relationship Id="rId7" Type="http://schemas.openxmlformats.org/officeDocument/2006/relationships/diagramColors" Target="../diagrams/colors2.xml"/><Relationship Id="rId12" Type="http://schemas.openxmlformats.org/officeDocument/2006/relationships/diagramQuickStyle" Target="../diagrams/quickStyle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11" Type="http://schemas.openxmlformats.org/officeDocument/2006/relationships/diagramLayout" Target="../diagrams/layout3.xml"/><Relationship Id="rId5" Type="http://schemas.openxmlformats.org/officeDocument/2006/relationships/diagramLayout" Target="../diagrams/layout2.xml"/><Relationship Id="rId10" Type="http://schemas.openxmlformats.org/officeDocument/2006/relationships/diagramData" Target="../diagrams/data3.xml"/><Relationship Id="rId4" Type="http://schemas.openxmlformats.org/officeDocument/2006/relationships/diagramData" Target="../diagrams/data2.xml"/><Relationship Id="rId9" Type="http://schemas.openxmlformats.org/officeDocument/2006/relationships/image" Target="../media/image9.jpeg"/><Relationship Id="rId14" Type="http://schemas.microsoft.com/office/2007/relationships/diagramDrawing" Target="../diagrams/drawing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jpeg"/><Relationship Id="rId5" Type="http://schemas.openxmlformats.org/officeDocument/2006/relationships/image" Target="../media/image100.jpg"/><Relationship Id="rId4" Type="http://schemas.openxmlformats.org/officeDocument/2006/relationships/image" Target="../media/image99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03.png"/><Relationship Id="rId4" Type="http://schemas.openxmlformats.org/officeDocument/2006/relationships/image" Target="../media/image102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Relationship Id="rId9" Type="http://schemas.openxmlformats.org/officeDocument/2006/relationships/image" Target="../media/image1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9.jpe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5" name="Picture 2"/>
          <p:cNvPicPr>
            <a:picLocks noChangeAspect="1" noChangeArrowheads="1"/>
          </p:cNvPicPr>
          <p:nvPr/>
        </p:nvPicPr>
        <p:blipFill>
          <a:blip r:embed="rId3" cstate="print"/>
          <a:srcRect l="104" b="16667"/>
          <a:stretch>
            <a:fillRect/>
          </a:stretch>
        </p:blipFill>
        <p:spPr bwMode="auto">
          <a:xfrm>
            <a:off x="0" y="22225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146" name="组合 13"/>
          <p:cNvGrpSpPr>
            <a:grpSpLocks/>
          </p:cNvGrpSpPr>
          <p:nvPr/>
        </p:nvGrpSpPr>
        <p:grpSpPr bwMode="auto">
          <a:xfrm>
            <a:off x="0" y="1129655"/>
            <a:ext cx="9144000" cy="2447925"/>
            <a:chOff x="0" y="1599456"/>
            <a:chExt cx="9144002" cy="2448272"/>
          </a:xfrm>
        </p:grpSpPr>
        <p:sp>
          <p:nvSpPr>
            <p:cNvPr id="13" name="矩形 12"/>
            <p:cNvSpPr/>
            <p:nvPr/>
          </p:nvSpPr>
          <p:spPr>
            <a:xfrm>
              <a:off x="0" y="1777281"/>
              <a:ext cx="1331913" cy="20878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1403350" y="1777281"/>
              <a:ext cx="7740652" cy="2087859"/>
            </a:xfrm>
            <a:prstGeom prst="rect">
              <a:avLst/>
            </a:prstGeom>
            <a:pattFill prst="ltUpDiag">
              <a:fgClr>
                <a:srgbClr val="CACACA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6" name="矩形 5"/>
            <p:cNvSpPr/>
            <p:nvPr/>
          </p:nvSpPr>
          <p:spPr>
            <a:xfrm>
              <a:off x="0" y="1599456"/>
              <a:ext cx="9144002" cy="1794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0" y="3868316"/>
              <a:ext cx="9144002" cy="1794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1187625" y="2095896"/>
              <a:ext cx="7956377" cy="923461"/>
            </a:xfrm>
            <a:prstGeom prst="rect">
              <a:avLst/>
            </a:prstGeom>
            <a:ln>
              <a:noFill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5400" b="1" dirty="0" err="1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50800" algn="tl" rotWithShape="0">
                      <a:srgbClr val="000000"/>
                    </a:outerShdw>
                  </a:effectLst>
                  <a:latin typeface="+mn-lt"/>
                  <a:ea typeface="+mn-ea"/>
                </a:rPr>
                <a:t>Denkei</a:t>
              </a:r>
              <a:r>
                <a:rPr lang="en-US" altLang="zh-CN" sz="5400" b="1" dirty="0">
                  <a:ln w="17780" cmpd="sng">
                    <a:solidFill>
                      <a:srgbClr val="FFFFFF"/>
                    </a:solidFill>
                    <a:prstDash val="solid"/>
                    <a:miter lim="800000"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>
                    <a:outerShdw blurRad="50800" algn="tl" rotWithShape="0">
                      <a:srgbClr val="000000"/>
                    </a:outerShdw>
                  </a:effectLst>
                  <a:latin typeface="+mn-lt"/>
                  <a:ea typeface="+mn-ea"/>
                </a:rPr>
                <a:t> Technology R&amp;D</a:t>
              </a:r>
              <a:endParaRPr lang="zh-CN" altLang="en-US" sz="54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+mn-lt"/>
                <a:ea typeface="+mn-ea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4604755" y="3153987"/>
              <a:ext cx="1110817" cy="46173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  <a:ea typeface="+mn-ea"/>
                </a:rPr>
                <a:t>Ver 8.0</a:t>
              </a:r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1933465"/>
            <a:ext cx="1331642" cy="707887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3" cstate="email">
            <a:extLst/>
          </a:blip>
          <a:srcRect l="9230"/>
          <a:stretch/>
        </p:blipFill>
        <p:spPr>
          <a:xfrm flipH="1">
            <a:off x="6173096" y="2861112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Pudong - Electrical Lab</a:t>
            </a:r>
          </a:p>
        </p:txBody>
      </p:sp>
      <p:pic>
        <p:nvPicPr>
          <p:cNvPr id="22531" name="图片 12"/>
          <p:cNvPicPr>
            <a:picLocks noChangeAspect="1"/>
          </p:cNvPicPr>
          <p:nvPr/>
        </p:nvPicPr>
        <p:blipFill>
          <a:blip r:embed="rId4" cstate="print"/>
          <a:srcRect t="18623" b="13911"/>
          <a:stretch>
            <a:fillRect/>
          </a:stretch>
        </p:blipFill>
        <p:spPr bwMode="auto">
          <a:xfrm>
            <a:off x="5116513" y="1873250"/>
            <a:ext cx="1889125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2" name="图片 13"/>
          <p:cNvPicPr>
            <a:picLocks noChangeAspect="1"/>
          </p:cNvPicPr>
          <p:nvPr/>
        </p:nvPicPr>
        <p:blipFill>
          <a:blip r:embed="rId5" cstate="print"/>
          <a:srcRect b="21492"/>
          <a:stretch>
            <a:fillRect/>
          </a:stretch>
        </p:blipFill>
        <p:spPr bwMode="auto">
          <a:xfrm>
            <a:off x="5116513" y="3925888"/>
            <a:ext cx="1889125" cy="979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3" name="图片 2"/>
          <p:cNvPicPr>
            <a:picLocks noChangeAspect="1"/>
          </p:cNvPicPr>
          <p:nvPr/>
        </p:nvPicPr>
        <p:blipFill>
          <a:blip r:embed="rId6" cstate="print"/>
          <a:srcRect t="17979" b="15529"/>
          <a:stretch>
            <a:fillRect/>
          </a:stretch>
        </p:blipFill>
        <p:spPr bwMode="auto">
          <a:xfrm>
            <a:off x="5116513" y="2895600"/>
            <a:ext cx="1889125" cy="103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2553" name="Group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643729"/>
              </p:ext>
            </p:extLst>
          </p:nvPr>
        </p:nvGraphicFramePr>
        <p:xfrm>
          <a:off x="611188" y="1417638"/>
          <a:ext cx="6394450" cy="3492502"/>
        </p:xfrm>
        <a:graphic>
          <a:graphicData uri="http://schemas.openxmlformats.org/drawingml/2006/table">
            <a:tbl>
              <a:tblPr/>
              <a:tblGrid>
                <a:gridCol w="45053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891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683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Photo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8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Withstand voltage / insulation resistance tes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8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Electric</a:t>
                      </a:r>
                      <a:r>
                        <a:rPr kumimoji="0" lang="en-US" altLang="zh-CN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 Property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08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ESD (Electronic Static Discharge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2936290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Environmental Lab-1</a:t>
            </a:r>
          </a:p>
        </p:txBody>
      </p:sp>
      <p:pic>
        <p:nvPicPr>
          <p:cNvPr id="13" name="图片 12" descr="_TEI0653 副本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4480" y="2784129"/>
            <a:ext cx="1613214" cy="1156507"/>
          </a:xfrm>
          <a:prstGeom prst="rect">
            <a:avLst/>
          </a:prstGeom>
        </p:spPr>
      </p:pic>
      <p:pic>
        <p:nvPicPr>
          <p:cNvPr id="14" name="图片 13" descr="_TEI0746 副本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6355" y="1602118"/>
            <a:ext cx="1613214" cy="1170173"/>
          </a:xfrm>
          <a:prstGeom prst="rect">
            <a:avLst/>
          </a:prstGeom>
        </p:spPr>
      </p:pic>
      <p:pic>
        <p:nvPicPr>
          <p:cNvPr id="15" name="图片 14" descr="_TEI0820 副本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6158" y="3940636"/>
            <a:ext cx="1621536" cy="1153786"/>
          </a:xfrm>
          <a:prstGeom prst="rect">
            <a:avLst/>
          </a:prstGeom>
        </p:spPr>
      </p:pic>
      <p:pic>
        <p:nvPicPr>
          <p:cNvPr id="16" name="图片 15" descr="_TEI0702 副本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0728" y="3932044"/>
            <a:ext cx="1621536" cy="1162378"/>
          </a:xfrm>
          <a:prstGeom prst="rect">
            <a:avLst/>
          </a:prstGeom>
        </p:spPr>
      </p:pic>
      <p:pic>
        <p:nvPicPr>
          <p:cNvPr id="17" name="图片 16" descr="_TEI0761 副本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0728" y="1605033"/>
            <a:ext cx="1621536" cy="1167257"/>
          </a:xfrm>
          <a:prstGeom prst="rect">
            <a:avLst/>
          </a:prstGeom>
        </p:spPr>
      </p:pic>
      <p:pic>
        <p:nvPicPr>
          <p:cNvPr id="19" name="图片 18" descr="_TEI0793 副本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57078" y="2783292"/>
            <a:ext cx="1615186" cy="1148751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6643702" y="1059119"/>
            <a:ext cx="2422336" cy="53803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Environmental laboratory</a:t>
            </a:r>
          </a:p>
        </p:txBody>
      </p:sp>
      <p:sp>
        <p:nvSpPr>
          <p:cNvPr id="22" name="矩形 21"/>
          <p:cNvSpPr/>
          <p:nvPr/>
        </p:nvSpPr>
        <p:spPr>
          <a:xfrm>
            <a:off x="6643702" y="2075951"/>
            <a:ext cx="2422336" cy="478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Environmental equipment </a:t>
            </a:r>
          </a:p>
        </p:txBody>
      </p:sp>
      <p:sp>
        <p:nvSpPr>
          <p:cNvPr id="23" name="矩形 22"/>
          <p:cNvSpPr/>
          <p:nvPr/>
        </p:nvSpPr>
        <p:spPr>
          <a:xfrm>
            <a:off x="6643702" y="1597151"/>
            <a:ext cx="2422336" cy="4788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rgbClr val="262626"/>
                </a:solidFill>
                <a:latin typeface="微软雅黑" charset="-122"/>
                <a:ea typeface="微软雅黑" charset="-122"/>
              </a:rPr>
              <a:t>4 rooms</a:t>
            </a:r>
          </a:p>
        </p:txBody>
      </p:sp>
      <p:sp>
        <p:nvSpPr>
          <p:cNvPr id="24" name="矩形 23"/>
          <p:cNvSpPr/>
          <p:nvPr/>
        </p:nvSpPr>
        <p:spPr>
          <a:xfrm>
            <a:off x="6643702" y="2554751"/>
            <a:ext cx="2422336" cy="4788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zh-CN" altLang="en-US" sz="1600" b="1" dirty="0">
                <a:solidFill>
                  <a:srgbClr val="262626"/>
                </a:solidFill>
                <a:latin typeface="微软雅黑" charset="-122"/>
                <a:ea typeface="微软雅黑" charset="-122"/>
              </a:rPr>
              <a:t> </a:t>
            </a:r>
            <a:r>
              <a:rPr lang="en-US" altLang="zh-CN" sz="1400" b="1" dirty="0">
                <a:solidFill>
                  <a:srgbClr val="262626"/>
                </a:solidFill>
                <a:latin typeface="微软雅黑" charset="-122"/>
                <a:ea typeface="微软雅黑" charset="-122"/>
              </a:rPr>
              <a:t>43 sets</a:t>
            </a:r>
          </a:p>
        </p:txBody>
      </p:sp>
      <p:graphicFrame>
        <p:nvGraphicFramePr>
          <p:cNvPr id="32" name="表格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8813440"/>
              </p:ext>
            </p:extLst>
          </p:nvPr>
        </p:nvGraphicFramePr>
        <p:xfrm>
          <a:off x="83124" y="1057554"/>
          <a:ext cx="6489140" cy="4036868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222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2852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9447">
                <a:tc row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hermal Shock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Low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mperature &amp; Humidity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69447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944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High Temperature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est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6577118"/>
      </p:ext>
    </p:extLst>
  </p:cSld>
  <p:clrMapOvr>
    <a:masterClrMapping/>
  </p:clrMapOvr>
  <p:transition spd="slow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图片 8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13" b="17538"/>
          <a:stretch/>
        </p:blipFill>
        <p:spPr>
          <a:xfrm>
            <a:off x="5294317" y="2763139"/>
            <a:ext cx="1714512" cy="116691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Environmental Lab-2</a:t>
            </a:r>
          </a:p>
        </p:txBody>
      </p:sp>
      <p:pic>
        <p:nvPicPr>
          <p:cNvPr id="79" name="图片 7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6605"/>
          <a:stretch/>
        </p:blipFill>
        <p:spPr>
          <a:xfrm>
            <a:off x="1874818" y="1600190"/>
            <a:ext cx="1713600" cy="1155710"/>
          </a:xfrm>
          <a:prstGeom prst="rect">
            <a:avLst/>
          </a:prstGeom>
        </p:spPr>
      </p:pic>
      <p:pic>
        <p:nvPicPr>
          <p:cNvPr id="88" name="图片 87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757"/>
          <a:stretch/>
        </p:blipFill>
        <p:spPr>
          <a:xfrm>
            <a:off x="5305425" y="1596648"/>
            <a:ext cx="1712520" cy="1159251"/>
          </a:xfrm>
          <a:prstGeom prst="rect">
            <a:avLst/>
          </a:prstGeom>
        </p:spPr>
      </p:pic>
      <p:pic>
        <p:nvPicPr>
          <p:cNvPr id="89" name="图片 8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605"/>
          <a:stretch/>
        </p:blipFill>
        <p:spPr>
          <a:xfrm>
            <a:off x="1874818" y="3937008"/>
            <a:ext cx="1714512" cy="1159141"/>
          </a:xfrm>
          <a:prstGeom prst="rect">
            <a:avLst/>
          </a:prstGeom>
        </p:spPr>
      </p:pic>
      <p:pic>
        <p:nvPicPr>
          <p:cNvPr id="17" name="图片 16" descr="_TEI0599 副本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4818" y="2759074"/>
            <a:ext cx="1714512" cy="1159141"/>
          </a:xfrm>
          <a:prstGeom prst="rect">
            <a:avLst/>
          </a:prstGeom>
        </p:spPr>
      </p:pic>
      <p:pic>
        <p:nvPicPr>
          <p:cNvPr id="19" name="图片 18" descr="_TEI0839 副本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97492" y="3933833"/>
            <a:ext cx="1714512" cy="1159141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300128" y="2874377"/>
            <a:ext cx="2920072" cy="2572979"/>
          </a:xfrm>
          <a:prstGeom prst="rect">
            <a:avLst/>
          </a:prstGeom>
          <a:effectLst>
            <a:softEdge rad="635000"/>
          </a:effectLst>
        </p:spPr>
      </p:pic>
      <p:graphicFrame>
        <p:nvGraphicFramePr>
          <p:cNvPr id="66" name="表格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739799"/>
              </p:ext>
            </p:extLst>
          </p:nvPr>
        </p:nvGraphicFramePr>
        <p:xfrm>
          <a:off x="185706" y="1041399"/>
          <a:ext cx="6837192" cy="405130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7092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092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092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0929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4295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9447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ower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emperture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Cycling Test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Low Pr</a:t>
                      </a: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essur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est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69447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HAST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944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EC/ISO Dust Test</a:t>
                      </a:r>
                      <a:endParaRPr lang="zh-CN" altLang="en-US" sz="1200" b="1" kern="120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b="1" kern="1200" baseline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Water Test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PX1~X4K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JIS R1R2S1S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IPX9K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8816778"/>
      </p:ext>
    </p:extLst>
  </p:cSld>
  <p:clrMapOvr>
    <a:masterClrMapping/>
  </p:clrMapOvr>
  <p:transition spd="slow">
    <p:pull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3030528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Vibration/Mechanical Shock Lab-1</a:t>
            </a:r>
          </a:p>
        </p:txBody>
      </p:sp>
      <p:pic>
        <p:nvPicPr>
          <p:cNvPr id="16" name="图片 15" descr="_TEI0584 副本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7101" y="4040660"/>
            <a:ext cx="1845023" cy="1245734"/>
          </a:xfrm>
          <a:prstGeom prst="rect">
            <a:avLst/>
          </a:prstGeom>
        </p:spPr>
      </p:pic>
      <p:pic>
        <p:nvPicPr>
          <p:cNvPr id="17" name="图片 16" descr="KTEI4994b 副本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4744" y="2773705"/>
            <a:ext cx="1853902" cy="1266954"/>
          </a:xfrm>
          <a:prstGeom prst="rect">
            <a:avLst/>
          </a:prstGeom>
        </p:spPr>
      </p:pic>
      <p:pic>
        <p:nvPicPr>
          <p:cNvPr id="18" name="图片 17" descr="KTEI7938振动试验 副本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744" y="1524892"/>
            <a:ext cx="1853902" cy="1243022"/>
          </a:xfrm>
          <a:prstGeom prst="rect">
            <a:avLst/>
          </a:prstGeom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804763"/>
              </p:ext>
            </p:extLst>
          </p:nvPr>
        </p:nvGraphicFramePr>
        <p:xfrm>
          <a:off x="142844" y="924388"/>
          <a:ext cx="5429288" cy="436200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5950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342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8459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591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Vibration Test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(Sinusoidal, Random and Shock Test)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ombined Enviroment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59135"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59135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4" name="矩形 13"/>
          <p:cNvSpPr/>
          <p:nvPr/>
        </p:nvSpPr>
        <p:spPr bwMode="auto">
          <a:xfrm>
            <a:off x="5685335" y="3073523"/>
            <a:ext cx="3351161" cy="115212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/>
          <a:lstStyle/>
          <a:p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                  ◆ 0.3T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  </a:t>
            </a: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*  1set</a:t>
            </a:r>
          </a:p>
          <a:p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                  ◆ 3T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*  1set</a:t>
            </a:r>
          </a:p>
          <a:p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                  ◆ 5T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*  2sets</a:t>
            </a:r>
          </a:p>
          <a:p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                  ◆ 6T</a:t>
            </a:r>
            <a:r>
              <a:rPr lang="zh-CN" altLang="en-US" sz="1400" b="1" dirty="0"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*  1set</a:t>
            </a:r>
          </a:p>
          <a:p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                  ◆ 12T   *  1set</a:t>
            </a:r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5666436" y="898812"/>
            <a:ext cx="3357153" cy="60096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Vibration Laboratory: 2 rooms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Mechanical Laboratory: 1 room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5666436" y="1489348"/>
            <a:ext cx="3357153" cy="73866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Large-scale Mechanical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Test Equipment: 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15 sets</a:t>
            </a:r>
          </a:p>
        </p:txBody>
      </p:sp>
      <p:sp>
        <p:nvSpPr>
          <p:cNvPr id="22" name="矩形 21"/>
          <p:cNvSpPr/>
          <p:nvPr/>
        </p:nvSpPr>
        <p:spPr bwMode="auto">
          <a:xfrm>
            <a:off x="5672428" y="2336506"/>
            <a:ext cx="3351161" cy="73701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Vibration Equipment: 6 sets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Compound Vibration Equipment: 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6 sets</a:t>
            </a:r>
          </a:p>
        </p:txBody>
      </p:sp>
    </p:spTree>
    <p:extLst>
      <p:ext uri="{BB962C8B-B14F-4D97-AF65-F5344CB8AC3E}">
        <p14:creationId xmlns:p14="http://schemas.microsoft.com/office/powerpoint/2010/main" val="3777818660"/>
      </p:ext>
    </p:extLst>
  </p:cSld>
  <p:clrMapOvr>
    <a:masterClrMapping/>
  </p:clrMapOvr>
  <p:transition spd="slow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3318" r="5731" b="4783"/>
          <a:stretch/>
        </p:blipFill>
        <p:spPr>
          <a:xfrm>
            <a:off x="5067513" y="1569308"/>
            <a:ext cx="1876984" cy="1136821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8"/>
          <a:stretch/>
        </p:blipFill>
        <p:spPr>
          <a:xfrm>
            <a:off x="5067513" y="2677071"/>
            <a:ext cx="1876983" cy="1154051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88" r="1974" b="-1"/>
          <a:stretch/>
        </p:blipFill>
        <p:spPr>
          <a:xfrm>
            <a:off x="5055157" y="3830595"/>
            <a:ext cx="1876984" cy="113799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Vibration/Mechanical Shock Lab-2</a:t>
            </a:r>
          </a:p>
        </p:txBody>
      </p:sp>
      <p:graphicFrame>
        <p:nvGraphicFramePr>
          <p:cNvPr id="16" name="表格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842540"/>
              </p:ext>
            </p:extLst>
          </p:nvPr>
        </p:nvGraphicFramePr>
        <p:xfrm>
          <a:off x="545425" y="1037969"/>
          <a:ext cx="6393992" cy="3917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51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8882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49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307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Mechanical Shock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307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Force - Pull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307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Falling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3030528"/>
            <a:ext cx="3072504" cy="2707292"/>
          </a:xfrm>
          <a:prstGeom prst="rect">
            <a:avLst/>
          </a:prstGeom>
          <a:effectLst>
            <a:softEdge rad="635000"/>
          </a:effectLst>
        </p:spPr>
      </p:pic>
    </p:spTree>
    <p:extLst>
      <p:ext uri="{BB962C8B-B14F-4D97-AF65-F5344CB8AC3E}">
        <p14:creationId xmlns:p14="http://schemas.microsoft.com/office/powerpoint/2010/main" val="3777818660"/>
      </p:ext>
    </p:extLst>
  </p:cSld>
  <p:clrMapOvr>
    <a:masterClrMapping/>
  </p:clrMapOvr>
  <p:transition spd="slow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2936290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5" t="4309" r="5936" b="20401"/>
          <a:stretch/>
        </p:blipFill>
        <p:spPr>
          <a:xfrm>
            <a:off x="1702984" y="1452207"/>
            <a:ext cx="1621536" cy="1201172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636" y="2610934"/>
            <a:ext cx="1621536" cy="1153543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4675" b="30112"/>
          <a:stretch/>
        </p:blipFill>
        <p:spPr>
          <a:xfrm>
            <a:off x="1702984" y="3764476"/>
            <a:ext cx="1621536" cy="1158727"/>
          </a:xfrm>
          <a:prstGeom prst="rect">
            <a:avLst/>
          </a:prstGeom>
        </p:spPr>
      </p:pic>
      <p:pic>
        <p:nvPicPr>
          <p:cNvPr id="28" name="图片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9" r="4619" b="13626"/>
          <a:stretch/>
        </p:blipFill>
        <p:spPr>
          <a:xfrm>
            <a:off x="4944378" y="1452207"/>
            <a:ext cx="1627888" cy="1158727"/>
          </a:xfrm>
          <a:prstGeom prst="rect">
            <a:avLst/>
          </a:prstGeom>
        </p:spPr>
      </p:pic>
      <p:pic>
        <p:nvPicPr>
          <p:cNvPr id="29" name="图片 28" descr="_TEI0660 副本.jp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1682" y="2610934"/>
            <a:ext cx="1640584" cy="1153542"/>
          </a:xfrm>
          <a:prstGeom prst="rect">
            <a:avLst/>
          </a:prstGeom>
        </p:spPr>
      </p:pic>
      <p:pic>
        <p:nvPicPr>
          <p:cNvPr id="30" name="图片 29" descr="_TEI0884 副本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4378" y="3778515"/>
            <a:ext cx="1627888" cy="1165645"/>
          </a:xfrm>
          <a:prstGeom prst="rect">
            <a:avLst/>
          </a:prstGeom>
        </p:spPr>
      </p:pic>
      <p:graphicFrame>
        <p:nvGraphicFramePr>
          <p:cNvPr id="27" name="表格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114301"/>
              </p:ext>
            </p:extLst>
          </p:nvPr>
        </p:nvGraphicFramePr>
        <p:xfrm>
          <a:off x="83126" y="892861"/>
          <a:ext cx="6489140" cy="405130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222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22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42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effectLst>
                          <a:outerShdw blurRad="50800" dist="38100" dir="5400000" algn="t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694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Salt Spray Test (Neutral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ombined Cyclic Corrosion Test(Neutr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Xenon Weather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69447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JIS</a:t>
                      </a:r>
                      <a:r>
                        <a:rPr lang="en-US" altLang="zh-CN" sz="1200" b="1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Dust Test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94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olorime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Flowing Mixed Gas </a:t>
                      </a:r>
                      <a:r>
                        <a:rPr lang="en-US" altLang="zh-CN" sz="1200" b="1" dirty="0" err="1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Gorrosion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est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32" name="矩形 31"/>
          <p:cNvSpPr/>
          <p:nvPr/>
        </p:nvSpPr>
        <p:spPr>
          <a:xfrm>
            <a:off x="6702576" y="2147037"/>
            <a:ext cx="2333920" cy="2239030"/>
          </a:xfrm>
          <a:prstGeom prst="rect">
            <a:avLst/>
          </a:prstGeom>
          <a:solidFill>
            <a:schemeClr val="bg1">
              <a:alpha val="7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Combined Cyclic  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Corrosion Test 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Equipment:1set</a:t>
            </a:r>
          </a:p>
          <a:p>
            <a:pPr lvl="0"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Xenon Weather Test </a:t>
            </a:r>
          </a:p>
          <a:p>
            <a:pPr lvl="0"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Equipment:1set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JIS Dust Test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Equipment:1set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Flowing Mixed Gas 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r>
              <a:rPr lang="en-US" altLang="zh-CN" sz="1400" b="1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orrosion</a:t>
            </a: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est </a:t>
            </a:r>
          </a:p>
          <a:p>
            <a:pPr>
              <a:defRPr/>
            </a:pPr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Equipment:1set</a:t>
            </a:r>
          </a:p>
        </p:txBody>
      </p:sp>
      <p:sp>
        <p:nvSpPr>
          <p:cNvPr id="33" name="矩形 32"/>
          <p:cNvSpPr/>
          <p:nvPr/>
        </p:nvSpPr>
        <p:spPr>
          <a:xfrm>
            <a:off x="6702576" y="867700"/>
            <a:ext cx="2335916" cy="57697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SUGA laboratory</a:t>
            </a:r>
          </a:p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rooms</a:t>
            </a:r>
            <a:endParaRPr lang="zh-CN" altLang="en-US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- SUGA Lab</a:t>
            </a:r>
          </a:p>
        </p:txBody>
      </p:sp>
      <p:sp>
        <p:nvSpPr>
          <p:cNvPr id="15" name="矩形 14"/>
          <p:cNvSpPr/>
          <p:nvPr/>
        </p:nvSpPr>
        <p:spPr bwMode="auto">
          <a:xfrm>
            <a:off x="6702576" y="1489348"/>
            <a:ext cx="2335916" cy="65768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Test Equipment: 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7 sets</a:t>
            </a:r>
          </a:p>
        </p:txBody>
      </p:sp>
    </p:spTree>
    <p:extLst>
      <p:ext uri="{BB962C8B-B14F-4D97-AF65-F5344CB8AC3E}">
        <p14:creationId xmlns:p14="http://schemas.microsoft.com/office/powerpoint/2010/main" val="2106486480"/>
      </p:ext>
    </p:extLst>
  </p:cSld>
  <p:clrMapOvr>
    <a:masterClrMapping/>
  </p:clrMapOvr>
  <p:transition spd="slow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444208" y="3174082"/>
            <a:ext cx="2838363" cy="250098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VOC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Lab</a:t>
            </a:r>
            <a:endParaRPr lang="zh-CN" alt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959" y="1402600"/>
            <a:ext cx="1643730" cy="104371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632" y="3425813"/>
            <a:ext cx="1655604" cy="100041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4601" y="2446317"/>
            <a:ext cx="1649666" cy="97377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439" y="4399590"/>
            <a:ext cx="1655605" cy="104465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574" y="2455159"/>
            <a:ext cx="1656088" cy="964935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178" y="4330424"/>
            <a:ext cx="1656088" cy="111078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4933" y="1392428"/>
            <a:ext cx="1643729" cy="1053889"/>
          </a:xfrm>
          <a:prstGeom prst="rect">
            <a:avLst/>
          </a:prstGeom>
        </p:spPr>
      </p:pic>
      <p:sp>
        <p:nvSpPr>
          <p:cNvPr id="31" name="矩形 30"/>
          <p:cNvSpPr/>
          <p:nvPr/>
        </p:nvSpPr>
        <p:spPr>
          <a:xfrm>
            <a:off x="6897946" y="1988547"/>
            <a:ext cx="2138550" cy="1084977"/>
          </a:xfrm>
          <a:prstGeom prst="rect">
            <a:avLst/>
          </a:prstGeom>
          <a:solidFill>
            <a:schemeClr val="bg1">
              <a:alpha val="7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◆ SHIMADZU-GL</a:t>
            </a:r>
          </a:p>
          <a:p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◆ ESPEC</a:t>
            </a:r>
          </a:p>
          <a:p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◆ AGLIENT</a:t>
            </a:r>
          </a:p>
          <a:p>
            <a:r>
              <a:rPr lang="en-US" altLang="zh-CN" sz="14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◆ SHIMADZU</a:t>
            </a:r>
          </a:p>
        </p:txBody>
      </p:sp>
      <p:sp>
        <p:nvSpPr>
          <p:cNvPr id="37" name="矩形 36"/>
          <p:cNvSpPr/>
          <p:nvPr/>
        </p:nvSpPr>
        <p:spPr>
          <a:xfrm>
            <a:off x="6894239" y="1501490"/>
            <a:ext cx="2138550" cy="49191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Main Supplier</a:t>
            </a:r>
            <a:endParaRPr lang="zh-CN" altLang="en-US" sz="1400" b="1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357" y="3420094"/>
            <a:ext cx="1643730" cy="979496"/>
          </a:xfrm>
          <a:prstGeom prst="rect">
            <a:avLst/>
          </a:prstGeom>
        </p:spPr>
      </p:pic>
      <p:graphicFrame>
        <p:nvGraphicFramePr>
          <p:cNvPr id="27" name="表格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277765"/>
              </p:ext>
            </p:extLst>
          </p:nvPr>
        </p:nvGraphicFramePr>
        <p:xfrm>
          <a:off x="149908" y="864969"/>
          <a:ext cx="6661112" cy="4567397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652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652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652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6527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226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Photo</a:t>
                      </a:r>
                      <a:endParaRPr kumimoji="0" lang="zh-CN" altLang="en-US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Test It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Photo</a:t>
                      </a:r>
                      <a:endParaRPr kumimoji="0" lang="zh-CN" altLang="en-US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59840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Sample</a:t>
                      </a:r>
                      <a:r>
                        <a:rPr lang="en-US" altLang="zh-CN" sz="14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 Prepare</a:t>
                      </a:r>
                      <a:endParaRPr lang="en-US" altLang="zh-CN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171450" marR="0" indent="-17145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ollect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171450" marR="0" indent="-17145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Analys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Environment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Chamber</a:t>
                      </a:r>
                    </a:p>
                    <a:p>
                      <a:pPr marL="171450" marR="0" indent="-17145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4m</a:t>
                      </a:r>
                      <a:r>
                        <a:rPr lang="en-US" altLang="zh-CN" sz="1200" b="1" kern="1200" baseline="300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</a:t>
                      </a:r>
                      <a:r>
                        <a:rPr lang="en-US" altLang="zh-CN" sz="1200" b="1" kern="12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Chamber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8079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Date</a:t>
                      </a:r>
                      <a:r>
                        <a:rPr lang="zh-CN" altLang="en-US" sz="14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14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Analysis</a:t>
                      </a:r>
                      <a:endParaRPr lang="en-US" altLang="zh-CN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285750" indent="-285750" algn="ctr">
                        <a:buFont typeface="Wingdings" panose="05000000000000000000" pitchFamily="2" charset="2"/>
                        <a:buChar char="n"/>
                      </a:pP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TDS-GC/M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*</a:t>
                      </a:r>
                      <a:r>
                        <a:rPr lang="zh-CN" altLang="en-US" sz="1200" b="0" kern="12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ＡＧＬＩＥＮＴ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 </a:t>
                      </a:r>
                      <a:r>
                        <a:rPr lang="zh-CN" altLang="en-US" sz="1200" b="0" kern="12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*</a:t>
                      </a:r>
                      <a:r>
                        <a:rPr lang="zh-CN" altLang="en-US" sz="1200" b="0" kern="1200" baseline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ＳＨＩＭＡＤＺＵ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4772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564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Date</a:t>
                      </a:r>
                      <a:r>
                        <a:rPr lang="zh-CN" altLang="en-US" sz="14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14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Analysis</a:t>
                      </a:r>
                      <a:endParaRPr lang="en-US" altLang="zh-CN" sz="14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  <a:p>
                      <a:pPr marL="171450" marR="0" indent="-17145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HPL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6" name="矩形 15"/>
          <p:cNvSpPr/>
          <p:nvPr/>
        </p:nvSpPr>
        <p:spPr>
          <a:xfrm>
            <a:off x="6894239" y="864970"/>
            <a:ext cx="2138550" cy="52745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2016:VOC Test</a:t>
            </a:r>
          </a:p>
          <a:p>
            <a:pPr algn="ctr"/>
            <a:r>
              <a:rPr lang="en-US" altLang="zh-CN" sz="1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(Bag method) </a:t>
            </a:r>
            <a:endParaRPr lang="zh-CN" altLang="en-US" sz="1400" b="1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56395471"/>
      </p:ext>
    </p:extLst>
  </p:cSld>
  <p:clrMapOvr>
    <a:masterClrMapping/>
  </p:clrMapOvr>
  <p:transition spd="slow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defPPr>
              <a:defRPr lang="zh-CN"/>
            </a:defPPr>
            <a:lvl1pPr algn="ctr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 err="1"/>
              <a:t>Minhang</a:t>
            </a:r>
            <a:r>
              <a:rPr lang="en-US" altLang="zh-CN" dirty="0"/>
              <a:t> - Calibration Lab</a:t>
            </a:r>
            <a:endParaRPr lang="zh-CN" altLang="en-US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5925435" y="2945081"/>
            <a:ext cx="3094655" cy="2666452"/>
          </a:xfrm>
          <a:prstGeom prst="rect">
            <a:avLst/>
          </a:prstGeom>
          <a:effectLst>
            <a:softEdge rad="635000"/>
          </a:effectLst>
        </p:spPr>
      </p:pic>
      <p:pic>
        <p:nvPicPr>
          <p:cNvPr id="13" name="图片 12" descr="_TEI0875 副本.jpg"/>
          <p:cNvPicPr>
            <a:picLocks noChangeAspect="1"/>
          </p:cNvPicPr>
          <p:nvPr/>
        </p:nvPicPr>
        <p:blipFill>
          <a:blip r:embed="rId4"/>
          <a:srcRect r="4909"/>
          <a:stretch>
            <a:fillRect/>
          </a:stretch>
        </p:blipFill>
        <p:spPr>
          <a:xfrm>
            <a:off x="6065012" y="836676"/>
            <a:ext cx="2951988" cy="2287524"/>
          </a:xfrm>
          <a:prstGeom prst="rect">
            <a:avLst/>
          </a:prstGeom>
        </p:spPr>
      </p:pic>
      <p:graphicFrame>
        <p:nvGraphicFramePr>
          <p:cNvPr id="14" name="表格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686735"/>
              </p:ext>
            </p:extLst>
          </p:nvPr>
        </p:nvGraphicFramePr>
        <p:xfrm>
          <a:off x="83128" y="835991"/>
          <a:ext cx="5929166" cy="45854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86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748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262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7941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8208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Lab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prstClr val="white"/>
                          </a:solidFill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alibration</a:t>
                      </a:r>
                      <a:r>
                        <a:rPr lang="zh-CN" altLang="en-US" sz="1400" b="1" baseline="0" dirty="0">
                          <a:solidFill>
                            <a:schemeClr val="lt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en-US" altLang="zh-CN" sz="1400" b="1" baseline="0" dirty="0">
                          <a:solidFill>
                            <a:schemeClr val="lt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tem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4503"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WAVETECH</a:t>
                      </a:r>
                    </a:p>
                    <a:p>
                      <a:pPr algn="ctr"/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GRAPHTEC</a:t>
                      </a:r>
                      <a:r>
                        <a:rPr lang="zh-CN" altLang="en-US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INATO</a:t>
                      </a:r>
                      <a:endParaRPr lang="zh-CN" altLang="en-US" sz="14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opying meter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014">
                <a:tc gridSpan="2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ata Recorder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9409">
                <a:tc rowSpan="8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NAS Calibration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alibration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roject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igital </a:t>
                      </a:r>
                      <a:r>
                        <a:rPr kumimoji="0" lang="en-US" altLang="zh-CN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Multimeter</a:t>
                      </a: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C/AC Voltage &amp; Current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36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Resistance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940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C Standard Voltage Generator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C Voltage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0940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Environmental Test Equipment</a:t>
                      </a:r>
                      <a:endParaRPr kumimoji="0" lang="zh-CN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emp</a:t>
                      </a:r>
                      <a:r>
                        <a:rPr lang="en-US" altLang="zh-CN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&amp;</a:t>
                      </a:r>
                      <a:r>
                        <a:rPr lang="zh-CN" altLang="en-US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Hum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365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ata Recorder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Temp</a:t>
                      </a:r>
                      <a:r>
                        <a:rPr lang="en-US" altLang="zh-CN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&amp;</a:t>
                      </a:r>
                      <a:r>
                        <a:rPr lang="zh-CN" altLang="en-US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kern="1200" baseline="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Hum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7063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Universal Testing Instrument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oad capacity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53858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ea"/>
                        <a:ea typeface="+mj-ea"/>
                        <a:cs typeface="+mn-cs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19</a:t>
                      </a:r>
                      <a:endParaRPr lang="en-US" altLang="zh-CN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Plan)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C Standard 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 Generator</a:t>
                      </a: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DC Current</a:t>
                      </a:r>
                      <a:endParaRPr kumimoji="0" lang="en-US" altLang="zh-CN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微软雅黑" pitchFamily="34" charset="-122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2315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Salt spray test equipment</a:t>
                      </a:r>
                      <a:endParaRPr lang="en-US" altLang="zh-CN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1291393"/>
      </p:ext>
    </p:extLst>
  </p:cSld>
  <p:clrMapOvr>
    <a:masterClrMapping/>
  </p:clrMapOvr>
  <p:transition spd="slow">
    <p:pull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图示 14"/>
          <p:cNvGraphicFramePr/>
          <p:nvPr/>
        </p:nvGraphicFramePr>
        <p:xfrm>
          <a:off x="-324544" y="1633364"/>
          <a:ext cx="5112568" cy="2592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Minhang</a:t>
            </a: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Optical Calibration Lab</a:t>
            </a:r>
          </a:p>
        </p:txBody>
      </p:sp>
      <p:sp>
        <p:nvSpPr>
          <p:cNvPr id="3" name="矩形 2"/>
          <p:cNvSpPr/>
          <p:nvPr/>
        </p:nvSpPr>
        <p:spPr>
          <a:xfrm>
            <a:off x="107950" y="1128713"/>
            <a:ext cx="4440238" cy="7921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/>
          <a:p>
            <a:pPr algn="just">
              <a:lnSpc>
                <a:spcPct val="150000"/>
              </a:lnSpc>
              <a:defRPr/>
            </a:pP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Co-established by </a:t>
            </a:r>
            <a:r>
              <a:rPr lang="en-US" altLang="zh-CN" sz="1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Denkei R&amp;D </a:t>
            </a: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and </a:t>
            </a:r>
            <a:r>
              <a:rPr lang="en-US" altLang="zh-CN" sz="1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TOPCON</a:t>
            </a:r>
          </a:p>
          <a:p>
            <a:pPr algn="just">
              <a:lnSpc>
                <a:spcPct val="150000"/>
              </a:lnSpc>
              <a:defRPr/>
            </a:pPr>
            <a:r>
              <a:rPr lang="en-US" altLang="zh-CN" sz="1200" b="1" dirty="0">
                <a:latin typeface="微软雅黑" pitchFamily="34" charset="-122"/>
                <a:ea typeface="微软雅黑" pitchFamily="34" charset="-122"/>
              </a:rPr>
              <a:t>It is the unique luminance meter and illuminance meter calibration center in Mainland China. </a:t>
            </a:r>
          </a:p>
        </p:txBody>
      </p:sp>
      <p:pic>
        <p:nvPicPr>
          <p:cNvPr id="26627" name="图片 3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4554" y="1128713"/>
            <a:ext cx="1799654" cy="1337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8" name="图片 4"/>
          <p:cNvPicPr>
            <a:picLocks noChangeAspect="1"/>
          </p:cNvPicPr>
          <p:nvPr/>
        </p:nvPicPr>
        <p:blipFill>
          <a:blip r:embed="rId9" cstate="print"/>
          <a:srcRect t="272"/>
          <a:stretch>
            <a:fillRect/>
          </a:stretch>
        </p:blipFill>
        <p:spPr bwMode="auto">
          <a:xfrm>
            <a:off x="4644554" y="2425452"/>
            <a:ext cx="1799654" cy="1251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9" name="图片 5"/>
          <p:cNvPicPr>
            <a:picLocks noChangeAspect="1"/>
          </p:cNvPicPr>
          <p:nvPr/>
        </p:nvPicPr>
        <p:blipFill>
          <a:blip r:embed="rId10" cstate="print"/>
          <a:srcRect t="-2" r="313" b="626"/>
          <a:stretch>
            <a:fillRect/>
          </a:stretch>
        </p:blipFill>
        <p:spPr bwMode="auto">
          <a:xfrm>
            <a:off x="6443663" y="1128713"/>
            <a:ext cx="2700337" cy="405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6647" name="Group 23"/>
          <p:cNvGraphicFramePr>
            <a:graphicFrameLocks noGrp="1"/>
          </p:cNvGraphicFramePr>
          <p:nvPr/>
        </p:nvGraphicFramePr>
        <p:xfrm>
          <a:off x="107950" y="3875088"/>
          <a:ext cx="6315075" cy="1281113"/>
        </p:xfrm>
        <a:graphic>
          <a:graphicData uri="http://schemas.openxmlformats.org/drawingml/2006/table">
            <a:tbl>
              <a:tblPr/>
              <a:tblGrid>
                <a:gridCol w="20716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23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1210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38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alibration range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Impact" pitchFamily="34" charset="0"/>
                          <a:ea typeface="微软雅黑" pitchFamily="34" charset="-122"/>
                          <a:cs typeface="Arial" charset="0"/>
                        </a:rPr>
                        <a:t>0.005 cd/m2 </a:t>
                      </a: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Impact" pitchFamily="34" charset="0"/>
                          <a:ea typeface="微软雅黑" pitchFamily="34" charset="-122"/>
                          <a:cs typeface="Arial" charset="0"/>
                        </a:rPr>
                        <a:t>～ 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Impact" pitchFamily="34" charset="0"/>
                          <a:ea typeface="微软雅黑" pitchFamily="34" charset="-122"/>
                          <a:cs typeface="Arial" charset="0"/>
                        </a:rPr>
                        <a:t>40,000 cd/m2</a:t>
                      </a:r>
                      <a:endParaRPr kumimoji="0" lang="zh-CN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Impact" pitchFamily="34" charset="0"/>
                        <a:ea typeface="微软雅黑" pitchFamily="34" charset="-122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2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alibration basi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 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Japa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Impact" pitchFamily="34" charset="0"/>
                          <a:ea typeface="微软雅黑" pitchFamily="34" charset="-122"/>
                          <a:cs typeface="Arial" charset="0"/>
                        </a:rPr>
                        <a:t>TOPCON Manufacturer Standar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28" name="直接连接符 27"/>
          <p:cNvCxnSpPr/>
          <p:nvPr/>
        </p:nvCxnSpPr>
        <p:spPr>
          <a:xfrm flipH="1">
            <a:off x="107950" y="5160963"/>
            <a:ext cx="90360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46" name="Text Box 24"/>
          <p:cNvSpPr txBox="1">
            <a:spLocks noChangeArrowheads="1"/>
          </p:cNvSpPr>
          <p:nvPr/>
        </p:nvSpPr>
        <p:spPr bwMode="auto">
          <a:xfrm>
            <a:off x="105668" y="3590975"/>
            <a:ext cx="41783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alibration range and basis</a:t>
            </a:r>
          </a:p>
        </p:txBody>
      </p:sp>
    </p:spTree>
  </p:cSld>
  <p:clrMapOvr>
    <a:masterClrMapping/>
  </p:clrMapOvr>
  <p:transition spd="slow">
    <p:pull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zh-CN" sz="2400" b="1" dirty="0" smtClean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Mass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P</a:t>
            </a:r>
            <a:r>
              <a:rPr lang="en-US" altLang="zh-CN" sz="2400" b="1" dirty="0" smtClean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roperties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– RESONIC </a:t>
            </a:r>
            <a:r>
              <a:rPr lang="en-US" altLang="zh-CN" sz="2400" b="1" dirty="0" smtClean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Cooperation</a:t>
            </a:r>
            <a:endParaRPr lang="zh-CN" altLang="en-US" sz="2400" b="1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+mn-ea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96723" y="851209"/>
            <a:ext cx="4338413" cy="7280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o determine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he mass properties (center of gravity, COG, moments of inertia, MOI, and products of inertia, POI) of test objects.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/>
          <p:cNvPicPr/>
          <p:nvPr/>
        </p:nvPicPr>
        <p:blipFill>
          <a:blip r:embed="rId3"/>
          <a:stretch>
            <a:fillRect/>
          </a:stretch>
        </p:blipFill>
        <p:spPr>
          <a:xfrm>
            <a:off x="4595751" y="929149"/>
            <a:ext cx="4324576" cy="2253438"/>
          </a:xfrm>
          <a:prstGeom prst="rect">
            <a:avLst/>
          </a:prstGeom>
        </p:spPr>
      </p:pic>
      <p:graphicFrame>
        <p:nvGraphicFramePr>
          <p:cNvPr id="31" name="表格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500789"/>
              </p:ext>
            </p:extLst>
          </p:nvPr>
        </p:nvGraphicFramePr>
        <p:xfrm>
          <a:off x="114834" y="1652898"/>
          <a:ext cx="4338413" cy="19538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3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330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49978"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1713"/>
                        </a:spcAft>
                        <a:buClr>
                          <a:srgbClr val="FF0000"/>
                        </a:buClr>
                        <a:buSzPct val="100000"/>
                        <a:defRPr/>
                      </a:pPr>
                      <a:r>
                        <a:rPr lang="en-US" altLang="zh-CN" sz="1200" b="1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Measurement Procedure</a:t>
                      </a:r>
                      <a:endParaRPr lang="en-US" altLang="zh-CN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dirty="0">
                        <a:latin typeface="+mj-ea"/>
                        <a:ea typeface="+mj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256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i="0" u="none" strike="noStrike" kern="1200" baseline="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repare machine </a:t>
                      </a:r>
                      <a:endParaRPr lang="en-US" altLang="zh-CN" sz="1200" b="0" i="0" u="none" strike="noStrike" kern="1200" baseline="0" dirty="0" smtClean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256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i="0" u="none" strike="noStrike" kern="1200" baseline="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repare mass property measurement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256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0" i="0" u="none" strike="noStrike" kern="1200" baseline="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Perform mass property measurement 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69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</a:t>
                      </a:r>
                      <a:endParaRPr lang="zh-CN" altLang="en-US" sz="1200" b="1" kern="1200" dirty="0">
                        <a:solidFill>
                          <a:schemeClr val="dk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kern="1200" dirty="0" smtClean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load measurement results (test object + empty measurement), load coordinate transformation, save overall result, alternatively load batch file.</a:t>
                      </a:r>
                      <a:endParaRPr lang="zh-CN" altLang="en-US" sz="12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" name="下箭头 2"/>
          <p:cNvSpPr/>
          <p:nvPr/>
        </p:nvSpPr>
        <p:spPr>
          <a:xfrm>
            <a:off x="2051143" y="3615915"/>
            <a:ext cx="370096" cy="549646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下箭头 8"/>
          <p:cNvSpPr/>
          <p:nvPr/>
        </p:nvSpPr>
        <p:spPr>
          <a:xfrm>
            <a:off x="2056460" y="4495369"/>
            <a:ext cx="370096" cy="439871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 3"/>
          <p:cNvSpPr/>
          <p:nvPr/>
        </p:nvSpPr>
        <p:spPr>
          <a:xfrm>
            <a:off x="114834" y="4187961"/>
            <a:ext cx="4338413" cy="2850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>
                <a:latin typeface="+mn-ea"/>
              </a:rPr>
              <a:t>Calculation</a:t>
            </a:r>
            <a:endParaRPr lang="zh-CN" altLang="en-US" sz="1200" b="1" dirty="0">
              <a:latin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591" y="4957640"/>
            <a:ext cx="2814452" cy="514637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2529447" y="3697687"/>
            <a:ext cx="2032347" cy="3742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b="1" dirty="0" smtClean="0">
                <a:solidFill>
                  <a:schemeClr val="tx1"/>
                </a:solidFill>
              </a:rPr>
              <a:t>Signal</a:t>
            </a:r>
          </a:p>
          <a:p>
            <a:r>
              <a:rPr lang="en-US" altLang="zh-CN" sz="1100" b="1" dirty="0" smtClean="0">
                <a:solidFill>
                  <a:schemeClr val="tx1"/>
                </a:solidFill>
              </a:rPr>
              <a:t>Center </a:t>
            </a:r>
            <a:r>
              <a:rPr lang="en-US" altLang="zh-CN" sz="1100" b="1" dirty="0">
                <a:solidFill>
                  <a:schemeClr val="tx1"/>
                </a:solidFill>
              </a:rPr>
              <a:t>of Gravity position (COG)</a:t>
            </a:r>
            <a:endParaRPr lang="zh-CN" altLang="en-US" sz="1100" b="1" dirty="0">
              <a:solidFill>
                <a:schemeClr val="tx1"/>
              </a:solidFill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5722" y="3235781"/>
            <a:ext cx="2034605" cy="2236496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048" y="3226573"/>
            <a:ext cx="1737420" cy="1077092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5048" y="4401364"/>
            <a:ext cx="1709670" cy="1070913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6559492" y="985292"/>
            <a:ext cx="931860" cy="9669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OS</a:t>
            </a: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OI</a:t>
            </a:r>
          </a:p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OI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7514164"/>
      </p:ext>
    </p:extLst>
  </p:cSld>
  <p:clrMapOvr>
    <a:masterClrMapping/>
  </p:clrMapOvr>
  <p:transition spd="slow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274763" y="120650"/>
            <a:ext cx="7869237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 China and 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Technology</a:t>
            </a:r>
            <a:r>
              <a:rPr lang="en-US" altLang="zh-CN" sz="2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R&amp;D</a:t>
            </a:r>
          </a:p>
        </p:txBody>
      </p:sp>
      <p:sp>
        <p:nvSpPr>
          <p:cNvPr id="3" name="矩形 2"/>
          <p:cNvSpPr/>
          <p:nvPr/>
        </p:nvSpPr>
        <p:spPr>
          <a:xfrm>
            <a:off x="1274763" y="1128713"/>
            <a:ext cx="7475537" cy="541337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Founded in 1950, Denkei is the largest comprehensive supplier of electronic measuring instrument and environmental test equipment in Japan.</a:t>
            </a:r>
          </a:p>
        </p:txBody>
      </p:sp>
      <p:sp>
        <p:nvSpPr>
          <p:cNvPr id="24" name="矩形 23"/>
          <p:cNvSpPr/>
          <p:nvPr/>
        </p:nvSpPr>
        <p:spPr>
          <a:xfrm>
            <a:off x="1274763" y="2016125"/>
            <a:ext cx="1457325" cy="107950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b="1" dirty="0">
                <a:solidFill>
                  <a:srgbClr val="595959"/>
                </a:solidFill>
                <a:latin typeface="微软雅黑" pitchFamily="34" charset="-122"/>
                <a:ea typeface="微软雅黑" pitchFamily="34" charset="-122"/>
              </a:rPr>
              <a:t>Denkei China</a:t>
            </a:r>
            <a:endParaRPr lang="zh-CN" altLang="en-US" b="1" dirty="0">
              <a:solidFill>
                <a:srgbClr val="595959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2732088" y="2016125"/>
            <a:ext cx="6018212" cy="53975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DENKEI TRADING (SHANGHAI)CO.,LTD</a:t>
            </a:r>
            <a:endParaRPr lang="zh-CN" altLang="en-US" sz="1400" dirty="0">
              <a:solidFill>
                <a:srgbClr val="0D0D0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矩形 46"/>
          <p:cNvSpPr/>
          <p:nvPr/>
        </p:nvSpPr>
        <p:spPr>
          <a:xfrm>
            <a:off x="2732088" y="2555875"/>
            <a:ext cx="6018212" cy="53975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DENKEI TECHNOLOGY R&amp;D(SHANGHAI) CO.,LTD </a:t>
            </a:r>
            <a:endParaRPr lang="zh-CN" altLang="en-US" sz="1400" dirty="0">
              <a:solidFill>
                <a:srgbClr val="0D0D0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1260426" y="3793568"/>
            <a:ext cx="2231454" cy="1513494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Equipment Sales/Repair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Calibration (cooperation)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Logistics</a:t>
            </a:r>
          </a:p>
          <a:p>
            <a:pPr>
              <a:lnSpc>
                <a:spcPct val="120000"/>
              </a:lnSpc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Customs clearance</a:t>
            </a:r>
          </a:p>
        </p:txBody>
      </p:sp>
      <p:sp>
        <p:nvSpPr>
          <p:cNvPr id="53" name="矩形 52"/>
          <p:cNvSpPr/>
          <p:nvPr/>
        </p:nvSpPr>
        <p:spPr>
          <a:xfrm>
            <a:off x="3571805" y="3793568"/>
            <a:ext cx="5174848" cy="1512204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In 2007-2009:Testing service ; Optical calibration </a:t>
            </a:r>
            <a:endParaRPr lang="zh-CN" altLang="en-US" sz="1200" dirty="0">
              <a:solidFill>
                <a:srgbClr val="0D0D0D"/>
              </a:solidFill>
              <a:latin typeface="微软雅黑" pitchFamily="34" charset="-122"/>
              <a:ea typeface="微软雅黑" pitchFamily="34" charset="-122"/>
            </a:endParaRPr>
          </a:p>
          <a:p>
            <a:pPr>
              <a:defRPr/>
            </a:pPr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In 2015: Calibration service(CNAS)</a:t>
            </a:r>
          </a:p>
          <a:p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In 2016: VOC Testing service</a:t>
            </a:r>
          </a:p>
          <a:p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In 2017: Shanghai Pudong Testing Lab established; Three new board listing ready</a:t>
            </a:r>
          </a:p>
          <a:p>
            <a:r>
              <a:rPr lang="en-US" altLang="zh-CN" sz="12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In 2018:  Importing New energy Testing service; Calibration service (CMA)</a:t>
            </a:r>
          </a:p>
          <a:p>
            <a:endParaRPr lang="en-US" altLang="zh-CN" sz="1200" dirty="0">
              <a:solidFill>
                <a:srgbClr val="0D0D0D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568159" y="3217496"/>
            <a:ext cx="5182141" cy="57607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400" dirty="0" err="1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Technology R&amp;D Started in 2007</a:t>
            </a:r>
          </a:p>
        </p:txBody>
      </p:sp>
      <p:sp>
        <p:nvSpPr>
          <p:cNvPr id="20" name="矩形 19"/>
          <p:cNvSpPr/>
          <p:nvPr/>
        </p:nvSpPr>
        <p:spPr>
          <a:xfrm>
            <a:off x="1262559" y="3217540"/>
            <a:ext cx="2225675" cy="576028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400" dirty="0" err="1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Trading</a:t>
            </a:r>
          </a:p>
          <a:p>
            <a:pPr algn="ctr"/>
            <a:r>
              <a:rPr lang="en-US" altLang="zh-CN" sz="1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Started in 1996</a:t>
            </a:r>
          </a:p>
        </p:txBody>
      </p:sp>
      <p:sp>
        <p:nvSpPr>
          <p:cNvPr id="8205" name="Text Box 18"/>
          <p:cNvSpPr txBox="1">
            <a:spLocks noChangeArrowheads="1"/>
          </p:cNvSpPr>
          <p:nvPr/>
        </p:nvSpPr>
        <p:spPr bwMode="auto">
          <a:xfrm>
            <a:off x="395288" y="4297363"/>
            <a:ext cx="184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110584" y="1129308"/>
            <a:ext cx="933024" cy="417646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N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i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h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o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n </a:t>
            </a:r>
          </a:p>
          <a:p>
            <a:pPr algn="ctr"/>
            <a:endParaRPr lang="en-US" altLang="zh-CN" b="1" dirty="0">
              <a:ln>
                <a:solidFill>
                  <a:schemeClr val="bg1"/>
                </a:solidFill>
              </a:ln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D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e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n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k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e</a:t>
            </a:r>
          </a:p>
          <a:p>
            <a:pPr algn="ctr"/>
            <a:r>
              <a:rPr lang="en-US" altLang="zh-CN" b="1" dirty="0">
                <a:ln>
                  <a:solidFill>
                    <a:schemeClr val="bg1"/>
                  </a:solidFill>
                </a:ln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i</a:t>
            </a:r>
          </a:p>
        </p:txBody>
      </p:sp>
    </p:spTree>
  </p:cSld>
  <p:clrMapOvr>
    <a:masterClrMapping/>
  </p:clrMapOvr>
  <p:transition spd="slow">
    <p:pull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JFE-TEC</a:t>
            </a:r>
            <a:r>
              <a:rPr lang="zh-CN" altLang="en-US" sz="2400" b="1" dirty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 </a:t>
            </a:r>
            <a:r>
              <a:rPr lang="en-US" altLang="zh-CN" sz="2400" b="1" dirty="0" smtClean="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+mn-ea"/>
              </a:rPr>
              <a:t>Cooperation</a:t>
            </a:r>
            <a:endParaRPr lang="zh-CN" altLang="en-US" sz="2400" b="1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+mn-ea"/>
            </a:endParaRPr>
          </a:p>
        </p:txBody>
      </p:sp>
      <p:sp>
        <p:nvSpPr>
          <p:cNvPr id="64" name="正方形/長方形 2"/>
          <p:cNvSpPr/>
          <p:nvPr/>
        </p:nvSpPr>
        <p:spPr>
          <a:xfrm>
            <a:off x="252000" y="863977"/>
            <a:ext cx="8621712" cy="30259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kumimoji="1" lang="ja-JP" altLang="en-US" sz="1200" dirty="0">
              <a:solidFill>
                <a:schemeClr val="tx1"/>
              </a:solidFill>
              <a:latin typeface="+mn-ea"/>
            </a:endParaRPr>
          </a:p>
        </p:txBody>
      </p:sp>
      <p:cxnSp>
        <p:nvCxnSpPr>
          <p:cNvPr id="66" name="直線コネクタ 129"/>
          <p:cNvCxnSpPr/>
          <p:nvPr/>
        </p:nvCxnSpPr>
        <p:spPr>
          <a:xfrm flipV="1">
            <a:off x="5375081" y="4302532"/>
            <a:ext cx="2936" cy="119575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直線コネクタ 130"/>
          <p:cNvCxnSpPr/>
          <p:nvPr/>
        </p:nvCxnSpPr>
        <p:spPr>
          <a:xfrm flipH="1" flipV="1">
            <a:off x="1943693" y="4313233"/>
            <a:ext cx="15177" cy="118505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コネクタ 132"/>
          <p:cNvCxnSpPr/>
          <p:nvPr/>
        </p:nvCxnSpPr>
        <p:spPr>
          <a:xfrm flipV="1">
            <a:off x="279054" y="4277608"/>
            <a:ext cx="8566029" cy="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テキスト ボックス 44"/>
          <p:cNvSpPr txBox="1"/>
          <p:nvPr/>
        </p:nvSpPr>
        <p:spPr>
          <a:xfrm>
            <a:off x="228250" y="4289483"/>
            <a:ext cx="625068" cy="3019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1200" dirty="0">
                <a:latin typeface="+mn-ea"/>
              </a:rPr>
              <a:t>2018</a:t>
            </a:r>
            <a:endParaRPr kumimoji="1" lang="ja-JP" altLang="en-US" sz="1200" dirty="0">
              <a:latin typeface="+mn-ea"/>
            </a:endParaRPr>
          </a:p>
        </p:txBody>
      </p:sp>
      <p:sp>
        <p:nvSpPr>
          <p:cNvPr id="70" name="テキスト ボックス 46"/>
          <p:cNvSpPr txBox="1"/>
          <p:nvPr/>
        </p:nvSpPr>
        <p:spPr>
          <a:xfrm>
            <a:off x="1967419" y="4274509"/>
            <a:ext cx="1547543" cy="2814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1200" dirty="0">
                <a:latin typeface="+mn-ea"/>
              </a:rPr>
              <a:t>2019</a:t>
            </a:r>
            <a:endParaRPr kumimoji="1" lang="ja-JP" altLang="en-US" sz="1200" dirty="0">
              <a:latin typeface="+mn-ea"/>
            </a:endParaRPr>
          </a:p>
        </p:txBody>
      </p:sp>
      <p:sp>
        <p:nvSpPr>
          <p:cNvPr id="71" name="テキスト ボックス 57"/>
          <p:cNvSpPr txBox="1"/>
          <p:nvPr/>
        </p:nvSpPr>
        <p:spPr>
          <a:xfrm>
            <a:off x="5375081" y="4287879"/>
            <a:ext cx="1373381" cy="28145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en-US" altLang="ja-JP" sz="1200" dirty="0">
                <a:latin typeface="+mn-ea"/>
              </a:rPr>
              <a:t>2020</a:t>
            </a:r>
            <a:endParaRPr kumimoji="1" lang="ja-JP" altLang="en-US" sz="1200" dirty="0">
              <a:latin typeface="+mn-ea"/>
            </a:endParaRPr>
          </a:p>
        </p:txBody>
      </p:sp>
      <p:sp>
        <p:nvSpPr>
          <p:cNvPr id="72" name="ホームベース 143"/>
          <p:cNvSpPr/>
          <p:nvPr/>
        </p:nvSpPr>
        <p:spPr>
          <a:xfrm>
            <a:off x="305536" y="4629117"/>
            <a:ext cx="1614406" cy="847105"/>
          </a:xfrm>
          <a:prstGeom prst="homePlate">
            <a:avLst/>
          </a:pr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rket Research</a:t>
            </a:r>
            <a:endParaRPr kumimoji="1" lang="en-US" altLang="ja-JP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3" name="直線コネクタ 144"/>
          <p:cNvCxnSpPr/>
          <p:nvPr/>
        </p:nvCxnSpPr>
        <p:spPr>
          <a:xfrm>
            <a:off x="279054" y="4552866"/>
            <a:ext cx="8570909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ホームベース 149"/>
          <p:cNvSpPr/>
          <p:nvPr/>
        </p:nvSpPr>
        <p:spPr>
          <a:xfrm>
            <a:off x="3597027" y="5221417"/>
            <a:ext cx="1778054" cy="254806"/>
          </a:xfrm>
          <a:prstGeom prst="homePlate">
            <a:avLst/>
          </a:prstGeom>
          <a:solidFill>
            <a:srgbClr val="FF0000">
              <a:alpha val="70000"/>
            </a:srgbClr>
          </a:solidFill>
          <a:ln w="95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V Consultation</a:t>
            </a:r>
            <a:endParaRPr kumimoji="1" lang="ja-JP" altLang="en-US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ホームベース 163"/>
          <p:cNvSpPr/>
          <p:nvPr/>
        </p:nvSpPr>
        <p:spPr>
          <a:xfrm>
            <a:off x="2057101" y="4627557"/>
            <a:ext cx="3317980" cy="534582"/>
          </a:xfrm>
          <a:prstGeom prst="homePlate">
            <a:avLst/>
          </a:prstGeom>
          <a:solidFill>
            <a:srgbClr val="00FFFF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en-US" altLang="zh-CN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aboratory Preparation</a:t>
            </a:r>
            <a:endParaRPr kumimoji="1" lang="ja-JP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6" name="図 11" descr="mark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345" y="2771670"/>
            <a:ext cx="843607" cy="1092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Picture 2" descr="IMG_178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5"/>
          <a:stretch>
            <a:fillRect/>
          </a:stretch>
        </p:blipFill>
        <p:spPr bwMode="auto">
          <a:xfrm>
            <a:off x="5933031" y="1234367"/>
            <a:ext cx="1523167" cy="49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315" y="1232068"/>
            <a:ext cx="1423681" cy="48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179" y="1232068"/>
            <a:ext cx="1268835" cy="47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" name="テキスト ボックス 93"/>
          <p:cNvSpPr txBox="1"/>
          <p:nvPr/>
        </p:nvSpPr>
        <p:spPr>
          <a:xfrm>
            <a:off x="4182656" y="907444"/>
            <a:ext cx="23335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terial analysis</a:t>
            </a:r>
            <a:endParaRPr lang="en-US" altLang="ja-JP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83" name="Picture 14" descr="「車体解体調査 jfe」の画像検索結果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286" y="2235433"/>
            <a:ext cx="1410710" cy="61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4" descr="「燃料電池 JFE」の画像検索結果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4861" y="3216096"/>
            <a:ext cx="1284153" cy="59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 descr="http://www.jfe-steel.co.jp/products/car/products/electorical/n-core/img/fig0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347" y="3194101"/>
            <a:ext cx="1379626" cy="59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1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315" y="3196350"/>
            <a:ext cx="1423681" cy="617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8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996347" y="2212138"/>
            <a:ext cx="1379626" cy="61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6" descr="http://techon.nikkeibp.co.jp/atcl/mag/15/082300063/00001/036zu02.jpg?__scale=w:500,h:311&amp;_sh=056092046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179" y="2208373"/>
            <a:ext cx="1268835" cy="5940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93" name="Picture 4" descr="Denkei Technical Partner æ¥æ¬é»è¨æ ªå¼ä¼ç¤¾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82" y="1372766"/>
            <a:ext cx="1561982" cy="54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テキスト ボックス 40"/>
          <p:cNvSpPr txBox="1"/>
          <p:nvPr/>
        </p:nvSpPr>
        <p:spPr>
          <a:xfrm>
            <a:off x="231826" y="898335"/>
            <a:ext cx="34227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olving technical </a:t>
            </a:r>
            <a:r>
              <a:rPr kumimoji="1"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roblems in China</a:t>
            </a:r>
            <a:endParaRPr kumimoji="1" lang="en-US" altLang="ja-JP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ホームベース 139"/>
          <p:cNvSpPr/>
          <p:nvPr/>
        </p:nvSpPr>
        <p:spPr>
          <a:xfrm>
            <a:off x="5559841" y="4627555"/>
            <a:ext cx="3252502" cy="848667"/>
          </a:xfrm>
          <a:prstGeom prst="homePlate">
            <a:avLst/>
          </a:prstGeom>
          <a:solidFill>
            <a:srgbClr val="FF0000">
              <a:alpha val="70000"/>
            </a:srgbClr>
          </a:solidFill>
          <a:ln w="95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tart of Project Operation</a:t>
            </a:r>
            <a:endParaRPr lang="en-US" altLang="ja-JP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テキスト ボックス 39"/>
          <p:cNvSpPr txBox="1"/>
          <p:nvPr/>
        </p:nvSpPr>
        <p:spPr>
          <a:xfrm>
            <a:off x="228250" y="3939054"/>
            <a:ext cx="85607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 kumimoji="1" sz="14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Cooperation Plan (Conceptual Stage)</a:t>
            </a:r>
            <a:endParaRPr lang="en-US" altLang="ja-JP" dirty="0"/>
          </a:p>
        </p:txBody>
      </p:sp>
      <p:sp>
        <p:nvSpPr>
          <p:cNvPr id="102" name="テキスト ボックス 93"/>
          <p:cNvSpPr txBox="1"/>
          <p:nvPr/>
        </p:nvSpPr>
        <p:spPr>
          <a:xfrm>
            <a:off x="4219560" y="1843465"/>
            <a:ext cx="45694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ructural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investigation of automotive body</a:t>
            </a:r>
            <a:endParaRPr lang="en-US" altLang="ja-JP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3" name="テキスト ボックス 93"/>
          <p:cNvSpPr txBox="1"/>
          <p:nvPr/>
        </p:nvSpPr>
        <p:spPr>
          <a:xfrm>
            <a:off x="4219559" y="2900770"/>
            <a:ext cx="46450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u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erformance 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lectric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chines</a:t>
            </a:r>
            <a:endParaRPr lang="en-US" altLang="ja-JP" sz="140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4" name="右箭头 103"/>
          <p:cNvSpPr/>
          <p:nvPr/>
        </p:nvSpPr>
        <p:spPr>
          <a:xfrm>
            <a:off x="2639460" y="1967814"/>
            <a:ext cx="1435893" cy="1119412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1059819" y="2079371"/>
            <a:ext cx="614602" cy="665244"/>
            <a:chOff x="-489224" y="2018579"/>
            <a:chExt cx="604020" cy="734568"/>
          </a:xfrm>
        </p:grpSpPr>
        <p:sp>
          <p:nvSpPr>
            <p:cNvPr id="4" name="矩形 3"/>
            <p:cNvSpPr/>
            <p:nvPr/>
          </p:nvSpPr>
          <p:spPr>
            <a:xfrm>
              <a:off x="-489224" y="2243673"/>
              <a:ext cx="604020" cy="290980"/>
            </a:xfrm>
            <a:prstGeom prst="rect">
              <a:avLst/>
            </a:prstGeom>
            <a:solidFill>
              <a:srgbClr val="00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200">
                <a:latin typeface="+mn-ea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>
              <a:off x="-305355" y="2018579"/>
              <a:ext cx="220793" cy="734568"/>
            </a:xfrm>
            <a:prstGeom prst="rect">
              <a:avLst/>
            </a:prstGeom>
            <a:solidFill>
              <a:srgbClr val="00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sz="1200">
                <a:latin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6960662"/>
      </p:ext>
    </p:extLst>
  </p:cSld>
  <p:clrMapOvr>
    <a:masterClrMapping/>
  </p:clrMapOvr>
  <p:transition spd="slow">
    <p:pull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93204"/>
            <a:ext cx="7884368" cy="576064"/>
          </a:xfrm>
          <a:prstGeom prst="rect">
            <a:avLst/>
          </a:prstGeom>
          <a:noFill/>
        </p:spPr>
        <p:txBody>
          <a:bodyPr anchor="ctr"/>
          <a:lstStyle>
            <a:defPPr>
              <a:defRPr lang="zh-CN"/>
            </a:defPPr>
            <a:lvl1pPr algn="ctr">
              <a:defRPr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en-US" altLang="zh-CN" dirty="0"/>
              <a:t>Failure analysis - Shanghai Jiao Tong University</a:t>
            </a:r>
          </a:p>
        </p:txBody>
      </p:sp>
      <p:sp>
        <p:nvSpPr>
          <p:cNvPr id="12" name="矩形 3"/>
          <p:cNvSpPr>
            <a:spLocks noChangeArrowheads="1"/>
          </p:cNvSpPr>
          <p:nvPr/>
        </p:nvSpPr>
        <p:spPr bwMode="auto">
          <a:xfrm>
            <a:off x="1" y="835025"/>
            <a:ext cx="2484071" cy="328038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nalysis Item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 EDS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- Hardness Test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- Elemental Analysis 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- Metallographic Test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- Welding Strength test 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- Thickness Measurement </a:t>
            </a:r>
          </a:p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…… </a:t>
            </a:r>
          </a:p>
        </p:txBody>
      </p:sp>
      <p:pic>
        <p:nvPicPr>
          <p:cNvPr id="13" name="Picture 2" descr="D:\Reference\电计科技\photo\20141113_10170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68307" y="1182231"/>
            <a:ext cx="2076996" cy="1841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 descr="D:\Reference\电计科技\photo\20141113_10183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32723" y="1180040"/>
            <a:ext cx="2076996" cy="1843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 descr="D:\低温互连\Paper\ECS Solid State Letters\Fig. 4R.t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3839" y="4242086"/>
            <a:ext cx="2165913" cy="1228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4141" y="3741903"/>
            <a:ext cx="2055578" cy="1728787"/>
          </a:xfrm>
          <a:prstGeom prst="rect">
            <a:avLst/>
          </a:prstGeom>
        </p:spPr>
      </p:pic>
      <p:sp>
        <p:nvSpPr>
          <p:cNvPr id="23" name="矩形 3"/>
          <p:cNvSpPr>
            <a:spLocks noChangeArrowheads="1"/>
          </p:cNvSpPr>
          <p:nvPr/>
        </p:nvSpPr>
        <p:spPr bwMode="auto">
          <a:xfrm>
            <a:off x="2571492" y="819149"/>
            <a:ext cx="3435608" cy="3416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Equipment: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2227" y="1180040"/>
            <a:ext cx="2095676" cy="1843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矩形 3"/>
          <p:cNvSpPr>
            <a:spLocks noChangeArrowheads="1"/>
          </p:cNvSpPr>
          <p:nvPr/>
        </p:nvSpPr>
        <p:spPr bwMode="auto">
          <a:xfrm>
            <a:off x="2571492" y="3313625"/>
            <a:ext cx="3435608" cy="3416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1713"/>
              </a:spcAft>
              <a:buClr>
                <a:srgbClr val="FF0000"/>
              </a:buClr>
              <a:buSzPct val="100000"/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Test Example: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8557" y="3741903"/>
            <a:ext cx="2049346" cy="1728787"/>
          </a:xfrm>
          <a:prstGeom prst="rect">
            <a:avLst/>
          </a:prstGeom>
        </p:spPr>
      </p:pic>
      <p:grpSp>
        <p:nvGrpSpPr>
          <p:cNvPr id="30" name="组合 29"/>
          <p:cNvGrpSpPr/>
          <p:nvPr/>
        </p:nvGrpSpPr>
        <p:grpSpPr>
          <a:xfrm>
            <a:off x="2668307" y="3741903"/>
            <a:ext cx="2076996" cy="1728787"/>
            <a:chOff x="2668307" y="3741903"/>
            <a:chExt cx="2076996" cy="1728787"/>
          </a:xfrm>
        </p:grpSpPr>
        <p:pic>
          <p:nvPicPr>
            <p:cNvPr id="20" name="Picture 4" descr="r-108322_nbt1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>
            <a:xfrm>
              <a:off x="2668307" y="3741903"/>
              <a:ext cx="2076996" cy="1728787"/>
            </a:xfrm>
            <a:prstGeom prst="rect">
              <a:avLst/>
            </a:prstGeom>
          </p:spPr>
        </p:pic>
        <p:sp>
          <p:nvSpPr>
            <p:cNvPr id="29" name="椭圆 28"/>
            <p:cNvSpPr/>
            <p:nvPr/>
          </p:nvSpPr>
          <p:spPr>
            <a:xfrm>
              <a:off x="3421054" y="4449330"/>
              <a:ext cx="820746" cy="529070"/>
            </a:xfrm>
            <a:prstGeom prst="ellipse">
              <a:avLst/>
            </a:prstGeom>
            <a:noFill/>
            <a:ln w="1905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5171325"/>
      </p:ext>
    </p:extLst>
  </p:cSld>
  <p:clrMapOvr>
    <a:masterClrMapping/>
  </p:clrMapOvr>
  <p:transition spd="slow">
    <p:pull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Technology</a:t>
            </a:r>
            <a:r>
              <a:rPr lang="en-US" altLang="zh-CN" sz="2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R&amp;D </a:t>
            </a: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Framework</a:t>
            </a:r>
          </a:p>
        </p:txBody>
      </p:sp>
      <p:grpSp>
        <p:nvGrpSpPr>
          <p:cNvPr id="42" name="组合 41"/>
          <p:cNvGrpSpPr/>
          <p:nvPr/>
        </p:nvGrpSpPr>
        <p:grpSpPr>
          <a:xfrm>
            <a:off x="4756372" y="3856949"/>
            <a:ext cx="4553983" cy="1545374"/>
            <a:chOff x="912143" y="4037211"/>
            <a:chExt cx="4308448" cy="1328601"/>
          </a:xfrm>
        </p:grpSpPr>
        <p:sp>
          <p:nvSpPr>
            <p:cNvPr id="53" name="TextBox 52"/>
            <p:cNvSpPr txBox="1"/>
            <p:nvPr/>
          </p:nvSpPr>
          <p:spPr>
            <a:xfrm flipH="1">
              <a:off x="912143" y="4716099"/>
              <a:ext cx="4308448" cy="264604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  <a:alpha val="0"/>
                  </a:schemeClr>
                </a:gs>
              </a:gsLst>
              <a:lin ang="10800000" scaled="0"/>
            </a:gradFill>
            <a:effectLst>
              <a:softEdge rad="317500"/>
            </a:effectLst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  <a:tabLst>
                  <a:tab pos="574675" algn="l"/>
                </a:tabLst>
              </a:pPr>
              <a:r>
                <a:rPr lang="en-US" altLang="zh-CN" sz="1400" dirty="0">
                  <a:solidFill>
                    <a:srgbClr val="404040"/>
                  </a:solidFill>
                  <a:latin typeface="Impact" pitchFamily="34" charset="0"/>
                  <a:ea typeface="微软雅黑" pitchFamily="34" charset="-122"/>
                </a:rPr>
                <a:t>By Feb, 2019</a:t>
              </a:r>
              <a:endParaRPr lang="zh-CN" altLang="en-US" sz="1400" dirty="0">
                <a:solidFill>
                  <a:srgbClr val="404040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pic>
          <p:nvPicPr>
            <p:cNvPr id="59" name="图片 58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5541" y="4037211"/>
              <a:ext cx="1467294" cy="1328601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912143" y="4951532"/>
              <a:ext cx="2304256" cy="2646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404040"/>
                  </a:solidFill>
                  <a:latin typeface="Impact" pitchFamily="34" charset="0"/>
                </a:rPr>
                <a:t>Personnel</a:t>
              </a:r>
              <a:r>
                <a:rPr lang="zh-CN" altLang="en-US" sz="1400" dirty="0">
                  <a:solidFill>
                    <a:srgbClr val="404040"/>
                  </a:solidFill>
                  <a:latin typeface="Impact" pitchFamily="34" charset="0"/>
                </a:rPr>
                <a:t>：</a:t>
              </a:r>
              <a:r>
                <a:rPr lang="en-US" altLang="zh-CN" sz="1400" dirty="0">
                  <a:solidFill>
                    <a:srgbClr val="404040"/>
                  </a:solidFill>
                  <a:latin typeface="Impact" pitchFamily="34" charset="0"/>
                </a:rPr>
                <a:t>54</a:t>
              </a:r>
            </a:p>
          </p:txBody>
        </p:sp>
      </p:grpSp>
      <p:sp>
        <p:nvSpPr>
          <p:cNvPr id="6" name="任意多边形 5"/>
          <p:cNvSpPr/>
          <p:nvPr/>
        </p:nvSpPr>
        <p:spPr>
          <a:xfrm>
            <a:off x="249563" y="2642522"/>
            <a:ext cx="827352" cy="83123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ustomer Contact</a:t>
            </a:r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roject </a:t>
            </a:r>
            <a:r>
              <a:rPr lang="en-US" altLang="en-US" sz="110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Engineer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任意多边形 6"/>
          <p:cNvSpPr/>
          <p:nvPr/>
        </p:nvSpPr>
        <p:spPr>
          <a:xfrm>
            <a:off x="152881" y="2735790"/>
            <a:ext cx="98639" cy="9858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40011"/>
                </a:lnTo>
                <a:lnTo>
                  <a:pt x="104001" y="1040011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任意多边形 7"/>
          <p:cNvSpPr/>
          <p:nvPr/>
        </p:nvSpPr>
        <p:spPr>
          <a:xfrm>
            <a:off x="249035" y="3561168"/>
            <a:ext cx="827880" cy="49290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est Engineer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任意多边形 11"/>
          <p:cNvSpPr/>
          <p:nvPr/>
        </p:nvSpPr>
        <p:spPr>
          <a:xfrm>
            <a:off x="154145" y="2725534"/>
            <a:ext cx="143804" cy="190096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690018"/>
                </a:lnTo>
                <a:lnTo>
                  <a:pt x="104001" y="1690018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任意多边形 12"/>
          <p:cNvSpPr/>
          <p:nvPr/>
        </p:nvSpPr>
        <p:spPr>
          <a:xfrm>
            <a:off x="249562" y="4127540"/>
            <a:ext cx="838490" cy="49290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echnical -Support Engineer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2261902" y="1899344"/>
            <a:ext cx="1043794" cy="1253837"/>
            <a:chOff x="2825882" y="1566718"/>
            <a:chExt cx="1197900" cy="1264159"/>
          </a:xfrm>
        </p:grpSpPr>
        <p:sp>
          <p:nvSpPr>
            <p:cNvPr id="15" name="任意多边形 14"/>
            <p:cNvSpPr/>
            <p:nvPr/>
          </p:nvSpPr>
          <p:spPr>
            <a:xfrm>
              <a:off x="2884691" y="2251860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 w="19050"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rgbClr r="0" g="0" b="0"/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任意多边形 15"/>
            <p:cNvSpPr/>
            <p:nvPr/>
          </p:nvSpPr>
          <p:spPr>
            <a:xfrm>
              <a:off x="2983382" y="2329080"/>
              <a:ext cx="957324" cy="501797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lvl="0"/>
              <a:r>
                <a:rPr lang="en-US" altLang="en-US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Test Engineer</a:t>
              </a:r>
              <a:endPara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任意多边形 13"/>
            <p:cNvSpPr/>
            <p:nvPr/>
          </p:nvSpPr>
          <p:spPr>
            <a:xfrm>
              <a:off x="2825882" y="1566718"/>
              <a:ext cx="1197900" cy="650006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/>
              <a:r>
                <a:rPr lang="en-US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Electrical Test 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2225171" y="3237016"/>
            <a:ext cx="1067308" cy="1268380"/>
            <a:chOff x="2484667" y="3286444"/>
            <a:chExt cx="1166941" cy="1268380"/>
          </a:xfrm>
        </p:grpSpPr>
        <p:sp>
          <p:nvSpPr>
            <p:cNvPr id="18" name="任意多边形 17"/>
            <p:cNvSpPr/>
            <p:nvPr/>
          </p:nvSpPr>
          <p:spPr>
            <a:xfrm>
              <a:off x="2607988" y="3942450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任意多边形 18"/>
            <p:cNvSpPr/>
            <p:nvPr/>
          </p:nvSpPr>
          <p:spPr>
            <a:xfrm>
              <a:off x="2691993" y="4055165"/>
              <a:ext cx="958040" cy="499659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185" tIns="29200" rIns="36185" bIns="29200" numCol="1" spcCol="1270" anchor="ctr" anchorCtr="0">
              <a:noAutofit/>
            </a:bodyPr>
            <a:lstStyle/>
            <a:p>
              <a:pPr lvl="0"/>
              <a:r>
                <a:rPr lang="en-US" altLang="en-US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Test </a:t>
              </a:r>
              <a:r>
                <a:rPr lang="en-US" altLang="en-US" sz="1100" dirty="0" smtClean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Engineer</a:t>
              </a:r>
              <a:endParaRPr lang="en-US" altLang="zh-CN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任意多边形 16"/>
            <p:cNvSpPr/>
            <p:nvPr/>
          </p:nvSpPr>
          <p:spPr>
            <a:xfrm>
              <a:off x="2484667" y="3286444"/>
              <a:ext cx="1166941" cy="648304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</a:pPr>
              <a:r>
                <a:rPr lang="en-US" altLang="zh-CN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VOC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Test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41" name="任意多边形 40"/>
          <p:cNvSpPr/>
          <p:nvPr/>
        </p:nvSpPr>
        <p:spPr>
          <a:xfrm>
            <a:off x="7986185" y="4574605"/>
            <a:ext cx="1085991" cy="650164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SO / System Management Representative</a:t>
            </a:r>
            <a:endParaRPr lang="en-US" altLang="zh-CN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3" name="任意多边形 32"/>
          <p:cNvSpPr/>
          <p:nvPr/>
        </p:nvSpPr>
        <p:spPr>
          <a:xfrm>
            <a:off x="7986185" y="1873921"/>
            <a:ext cx="1074317" cy="650006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algn="ctr"/>
            <a:r>
              <a:rPr lang="en-US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echnical Support</a:t>
            </a:r>
            <a:endParaRPr lang="zh-CN" altLang="en-US" sz="14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任意多边形 44"/>
          <p:cNvSpPr/>
          <p:nvPr/>
        </p:nvSpPr>
        <p:spPr>
          <a:xfrm>
            <a:off x="44258" y="1122748"/>
            <a:ext cx="4419518" cy="650006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gradFill>
            <a:gsLst>
              <a:gs pos="0">
                <a:schemeClr val="tx2">
                  <a:lumMod val="50000"/>
                </a:schemeClr>
              </a:gs>
              <a:gs pos="80000">
                <a:schemeClr val="accent1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 algn="ctr"/>
            <a:r>
              <a:rPr lang="en-US" altLang="zh-CN" b="1" dirty="0">
                <a:latin typeface="微软雅黑" pitchFamily="34" charset="-122"/>
                <a:ea typeface="微软雅黑" pitchFamily="34" charset="-122"/>
              </a:rPr>
              <a:t>Testing Center</a:t>
            </a:r>
            <a:endParaRPr lang="zh-CN" altLang="zh-CN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任意多边形 48"/>
          <p:cNvSpPr/>
          <p:nvPr/>
        </p:nvSpPr>
        <p:spPr>
          <a:xfrm>
            <a:off x="4581475" y="1121766"/>
            <a:ext cx="3302893" cy="650006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gradFill>
            <a:gsLst>
              <a:gs pos="0">
                <a:schemeClr val="tx2">
                  <a:lumMod val="50000"/>
                </a:schemeClr>
              </a:gs>
              <a:gs pos="80000">
                <a:schemeClr val="accent1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 algn="ctr"/>
            <a:r>
              <a:rPr lang="en-US" altLang="zh-CN" b="1" dirty="0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Calibration Center</a:t>
            </a:r>
            <a:endParaRPr lang="zh-CN" altLang="zh-CN" b="1" dirty="0"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66" name="组合 65"/>
          <p:cNvGrpSpPr/>
          <p:nvPr/>
        </p:nvGrpSpPr>
        <p:grpSpPr>
          <a:xfrm>
            <a:off x="4581475" y="1879356"/>
            <a:ext cx="1067308" cy="1268380"/>
            <a:chOff x="2484667" y="1923349"/>
            <a:chExt cx="1166941" cy="1268380"/>
          </a:xfrm>
        </p:grpSpPr>
        <p:sp>
          <p:nvSpPr>
            <p:cNvPr id="67" name="任意多边形 66"/>
            <p:cNvSpPr/>
            <p:nvPr/>
          </p:nvSpPr>
          <p:spPr>
            <a:xfrm>
              <a:off x="2607988" y="2579355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8" name="任意多边形 67"/>
            <p:cNvSpPr/>
            <p:nvPr/>
          </p:nvSpPr>
          <p:spPr>
            <a:xfrm>
              <a:off x="2691995" y="2692070"/>
              <a:ext cx="959613" cy="499659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185" tIns="29200" rIns="36185" bIns="29200" numCol="1" spcCol="1270" anchor="ctr" anchorCtr="0">
              <a:noAutofit/>
            </a:bodyPr>
            <a:lstStyle/>
            <a:p>
              <a:pPr lvl="0"/>
              <a:r>
                <a:rPr lang="en-US" altLang="zh-CN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Calibration Engineer  </a:t>
              </a:r>
              <a:endPara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任意多边形 68"/>
            <p:cNvSpPr/>
            <p:nvPr/>
          </p:nvSpPr>
          <p:spPr>
            <a:xfrm>
              <a:off x="2484667" y="1923349"/>
              <a:ext cx="1166941" cy="648304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/>
              <a:r>
                <a:rPr lang="en-US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Optical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5676169" y="1895737"/>
            <a:ext cx="1067308" cy="1268380"/>
            <a:chOff x="2484667" y="1923349"/>
            <a:chExt cx="1166941" cy="1268380"/>
          </a:xfrm>
        </p:grpSpPr>
        <p:sp>
          <p:nvSpPr>
            <p:cNvPr id="71" name="任意多边形 70"/>
            <p:cNvSpPr/>
            <p:nvPr/>
          </p:nvSpPr>
          <p:spPr>
            <a:xfrm>
              <a:off x="2607988" y="2579355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2" name="任意多边形 71"/>
            <p:cNvSpPr/>
            <p:nvPr/>
          </p:nvSpPr>
          <p:spPr>
            <a:xfrm>
              <a:off x="2691995" y="2692070"/>
              <a:ext cx="959613" cy="499659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185" tIns="29200" rIns="36185" bIns="29200" numCol="1" spcCol="1270" anchor="ctr" anchorCtr="0">
              <a:noAutofit/>
            </a:bodyPr>
            <a:lstStyle/>
            <a:p>
              <a:pPr lvl="0"/>
              <a:r>
                <a:rPr lang="en-US" altLang="zh-CN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Calibration Engineer  </a:t>
              </a:r>
              <a:endPara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3" name="任意多边形 72"/>
            <p:cNvSpPr/>
            <p:nvPr/>
          </p:nvSpPr>
          <p:spPr>
            <a:xfrm>
              <a:off x="2484667" y="1923349"/>
              <a:ext cx="1166941" cy="648304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/>
              <a:r>
                <a:rPr lang="en-US" altLang="en-US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Electrical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6817060" y="1888517"/>
            <a:ext cx="1067308" cy="1268380"/>
            <a:chOff x="2484667" y="1923349"/>
            <a:chExt cx="1166941" cy="1268380"/>
          </a:xfrm>
        </p:grpSpPr>
        <p:sp>
          <p:nvSpPr>
            <p:cNvPr id="75" name="任意多边形 74"/>
            <p:cNvSpPr/>
            <p:nvPr/>
          </p:nvSpPr>
          <p:spPr>
            <a:xfrm>
              <a:off x="2607988" y="2579355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6" name="任意多边形 75"/>
            <p:cNvSpPr/>
            <p:nvPr/>
          </p:nvSpPr>
          <p:spPr>
            <a:xfrm>
              <a:off x="2691995" y="2671034"/>
              <a:ext cx="959613" cy="520695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185" tIns="29200" rIns="36185" bIns="29200" numCol="1" spcCol="1270" anchor="ctr" anchorCtr="0">
              <a:noAutofit/>
            </a:bodyPr>
            <a:lstStyle/>
            <a:p>
              <a:pPr lvl="0"/>
              <a:r>
                <a:rPr lang="en-US" altLang="zh-CN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Calibration Engineer  </a:t>
              </a:r>
              <a:endPara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7" name="任意多边形 76"/>
            <p:cNvSpPr/>
            <p:nvPr/>
          </p:nvSpPr>
          <p:spPr>
            <a:xfrm>
              <a:off x="2484667" y="1923349"/>
              <a:ext cx="1166941" cy="648304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Reliability</a:t>
              </a:r>
            </a:p>
          </p:txBody>
        </p:sp>
      </p:grpSp>
      <p:sp>
        <p:nvSpPr>
          <p:cNvPr id="83" name="任意多边形 82"/>
          <p:cNvSpPr/>
          <p:nvPr/>
        </p:nvSpPr>
        <p:spPr>
          <a:xfrm>
            <a:off x="7998204" y="1121766"/>
            <a:ext cx="1074317" cy="650006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gradFill>
            <a:gsLst>
              <a:gs pos="0">
                <a:schemeClr val="tx2">
                  <a:lumMod val="50000"/>
                </a:schemeClr>
              </a:gs>
              <a:gs pos="80000">
                <a:schemeClr val="accent1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r>
              <a:rPr lang="en-US" altLang="zh-CN" b="1" dirty="0"/>
              <a:t>Manage</a:t>
            </a:r>
          </a:p>
          <a:p>
            <a:r>
              <a:rPr lang="en-US" altLang="zh-CN" b="1" dirty="0"/>
              <a:t>- </a:t>
            </a:r>
            <a:r>
              <a:rPr lang="en-US" altLang="zh-CN" b="1" dirty="0" err="1"/>
              <a:t>ment</a:t>
            </a:r>
            <a:endParaRPr lang="en-US" altLang="zh-CN" b="1" dirty="0"/>
          </a:p>
        </p:txBody>
      </p:sp>
      <p:sp>
        <p:nvSpPr>
          <p:cNvPr id="54" name="任意多边形 53"/>
          <p:cNvSpPr/>
          <p:nvPr/>
        </p:nvSpPr>
        <p:spPr>
          <a:xfrm>
            <a:off x="154076" y="2032453"/>
            <a:ext cx="180678" cy="86409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40011"/>
                </a:lnTo>
                <a:lnTo>
                  <a:pt x="104001" y="1040011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任意多边形 3"/>
          <p:cNvSpPr/>
          <p:nvPr/>
        </p:nvSpPr>
        <p:spPr>
          <a:xfrm>
            <a:off x="33121" y="1896411"/>
            <a:ext cx="1043794" cy="641217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Reliability Test</a:t>
            </a:r>
          </a:p>
        </p:txBody>
      </p:sp>
      <p:sp>
        <p:nvSpPr>
          <p:cNvPr id="35" name="任意多边形 34"/>
          <p:cNvSpPr/>
          <p:nvPr/>
        </p:nvSpPr>
        <p:spPr>
          <a:xfrm>
            <a:off x="7986185" y="2653928"/>
            <a:ext cx="1074318" cy="499659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Marketing project import</a:t>
            </a:r>
            <a:endParaRPr lang="zh-CN" altLang="en-US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7" name="任意多边形 36"/>
          <p:cNvSpPr/>
          <p:nvPr/>
        </p:nvSpPr>
        <p:spPr>
          <a:xfrm>
            <a:off x="7986185" y="3289548"/>
            <a:ext cx="1096302" cy="499659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Management of equipment and instruments</a:t>
            </a:r>
            <a:endParaRPr lang="zh-CN" altLang="en-US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任意多边形 38"/>
          <p:cNvSpPr/>
          <p:nvPr/>
        </p:nvSpPr>
        <p:spPr>
          <a:xfrm>
            <a:off x="7986185" y="3931174"/>
            <a:ext cx="1086336" cy="499659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Quality Representative</a:t>
            </a:r>
            <a:endParaRPr lang="zh-CN" altLang="en-US" sz="10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8100392" y="2515138"/>
            <a:ext cx="0" cy="12750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>
            <a:off x="8100392" y="3162044"/>
            <a:ext cx="0" cy="12750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>
            <a:off x="8100392" y="3793604"/>
            <a:ext cx="0" cy="12750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/>
        </p:nvCxnSpPr>
        <p:spPr>
          <a:xfrm>
            <a:off x="8100392" y="4441676"/>
            <a:ext cx="0" cy="12750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任意多边形 51"/>
          <p:cNvSpPr/>
          <p:nvPr/>
        </p:nvSpPr>
        <p:spPr>
          <a:xfrm>
            <a:off x="3514111" y="2447758"/>
            <a:ext cx="98639" cy="98580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40011"/>
                </a:lnTo>
                <a:lnTo>
                  <a:pt x="104001" y="1040011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5" name="任意多边形 54"/>
          <p:cNvSpPr/>
          <p:nvPr/>
        </p:nvSpPr>
        <p:spPr>
          <a:xfrm>
            <a:off x="3635896" y="3297891"/>
            <a:ext cx="827880" cy="49290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Quality Represent-</a:t>
            </a:r>
            <a:r>
              <a:rPr lang="en-US" altLang="en-US" sz="1100" dirty="0" err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ative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78" name="组合 77"/>
          <p:cNvGrpSpPr/>
          <p:nvPr/>
        </p:nvGrpSpPr>
        <p:grpSpPr>
          <a:xfrm>
            <a:off x="3398883" y="1873436"/>
            <a:ext cx="1067308" cy="1274300"/>
            <a:chOff x="2484667" y="1923349"/>
            <a:chExt cx="1166941" cy="1274300"/>
          </a:xfrm>
        </p:grpSpPr>
        <p:sp>
          <p:nvSpPr>
            <p:cNvPr id="79" name="任意多边形 78"/>
            <p:cNvSpPr/>
            <p:nvPr/>
          </p:nvSpPr>
          <p:spPr>
            <a:xfrm>
              <a:off x="2607988" y="2579355"/>
              <a:ext cx="113175" cy="374744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390004"/>
                  </a:lnTo>
                  <a:lnTo>
                    <a:pt x="103976" y="390004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  <a:scene3d>
              <a:camera prst="orthographicFront"/>
              <a:lightRig rig="flat" dir="t"/>
            </a:scene3d>
            <a:sp3d prstMaterial="matte"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0" name="任意多边形 79"/>
            <p:cNvSpPr/>
            <p:nvPr/>
          </p:nvSpPr>
          <p:spPr>
            <a:xfrm>
              <a:off x="2691993" y="2669760"/>
              <a:ext cx="959612" cy="527889"/>
            </a:xfrm>
            <a:custGeom>
              <a:avLst/>
              <a:gdLst>
                <a:gd name="connsiteX0" fmla="*/ 0 w 832009"/>
                <a:gd name="connsiteY0" fmla="*/ 52001 h 520005"/>
                <a:gd name="connsiteX1" fmla="*/ 52001 w 832009"/>
                <a:gd name="connsiteY1" fmla="*/ 0 h 520005"/>
                <a:gd name="connsiteX2" fmla="*/ 780009 w 832009"/>
                <a:gd name="connsiteY2" fmla="*/ 0 h 520005"/>
                <a:gd name="connsiteX3" fmla="*/ 832010 w 832009"/>
                <a:gd name="connsiteY3" fmla="*/ 52001 h 520005"/>
                <a:gd name="connsiteX4" fmla="*/ 832009 w 832009"/>
                <a:gd name="connsiteY4" fmla="*/ 468005 h 520005"/>
                <a:gd name="connsiteX5" fmla="*/ 780008 w 832009"/>
                <a:gd name="connsiteY5" fmla="*/ 520006 h 520005"/>
                <a:gd name="connsiteX6" fmla="*/ 52001 w 832009"/>
                <a:gd name="connsiteY6" fmla="*/ 520005 h 520005"/>
                <a:gd name="connsiteX7" fmla="*/ 0 w 832009"/>
                <a:gd name="connsiteY7" fmla="*/ 468004 h 520005"/>
                <a:gd name="connsiteX8" fmla="*/ 0 w 832009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2009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780009" y="0"/>
                  </a:lnTo>
                  <a:cubicBezTo>
                    <a:pt x="808728" y="0"/>
                    <a:pt x="832010" y="23282"/>
                    <a:pt x="832010" y="52001"/>
                  </a:cubicBezTo>
                  <a:cubicBezTo>
                    <a:pt x="832010" y="190669"/>
                    <a:pt x="832009" y="329337"/>
                    <a:pt x="832009" y="468005"/>
                  </a:cubicBezTo>
                  <a:cubicBezTo>
                    <a:pt x="832009" y="496724"/>
                    <a:pt x="808727" y="520006"/>
                    <a:pt x="780008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90000"/>
              </a:schemeClr>
            </a:solidFill>
            <a:ln>
              <a:noFill/>
            </a:ln>
            <a:scene3d>
              <a:camera prst="orthographicFront"/>
              <a:lightRig rig="flat" dir="t"/>
            </a:scene3d>
            <a:sp3d z="-190500" extrusionH="12700" prstMaterial="plastic">
              <a:bevelT w="50800" h="50800"/>
            </a:sp3d>
          </p:spPr>
          <p:style>
            <a:lnRef idx="1">
              <a:scrgbClr r="0" g="0" b="0"/>
            </a:lnRef>
            <a:fillRef idx="1">
              <a:scrgbClr r="0" g="0" b="0"/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185" tIns="29200" rIns="36185" bIns="29200" numCol="1" spcCol="1270" anchor="ctr" anchorCtr="0">
              <a:noAutofit/>
            </a:bodyPr>
            <a:lstStyle/>
            <a:p>
              <a:pPr lvl="0"/>
              <a:r>
                <a:rPr lang="en-US" altLang="zh-CN" sz="11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Test Support</a:t>
              </a:r>
            </a:p>
          </p:txBody>
        </p:sp>
        <p:sp>
          <p:nvSpPr>
            <p:cNvPr id="81" name="任意多边形 80"/>
            <p:cNvSpPr/>
            <p:nvPr/>
          </p:nvSpPr>
          <p:spPr>
            <a:xfrm>
              <a:off x="2484667" y="1923349"/>
              <a:ext cx="1166941" cy="648304"/>
            </a:xfrm>
            <a:custGeom>
              <a:avLst/>
              <a:gdLst>
                <a:gd name="connsiteX0" fmla="*/ 0 w 1040011"/>
                <a:gd name="connsiteY0" fmla="*/ 52001 h 520005"/>
                <a:gd name="connsiteX1" fmla="*/ 52001 w 1040011"/>
                <a:gd name="connsiteY1" fmla="*/ 0 h 520005"/>
                <a:gd name="connsiteX2" fmla="*/ 988011 w 1040011"/>
                <a:gd name="connsiteY2" fmla="*/ 0 h 520005"/>
                <a:gd name="connsiteX3" fmla="*/ 1040012 w 1040011"/>
                <a:gd name="connsiteY3" fmla="*/ 52001 h 520005"/>
                <a:gd name="connsiteX4" fmla="*/ 1040011 w 1040011"/>
                <a:gd name="connsiteY4" fmla="*/ 468005 h 520005"/>
                <a:gd name="connsiteX5" fmla="*/ 988010 w 1040011"/>
                <a:gd name="connsiteY5" fmla="*/ 520006 h 520005"/>
                <a:gd name="connsiteX6" fmla="*/ 52001 w 1040011"/>
                <a:gd name="connsiteY6" fmla="*/ 520005 h 520005"/>
                <a:gd name="connsiteX7" fmla="*/ 0 w 1040011"/>
                <a:gd name="connsiteY7" fmla="*/ 468004 h 520005"/>
                <a:gd name="connsiteX8" fmla="*/ 0 w 1040011"/>
                <a:gd name="connsiteY8" fmla="*/ 52001 h 52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0011" h="520005">
                  <a:moveTo>
                    <a:pt x="0" y="52001"/>
                  </a:moveTo>
                  <a:cubicBezTo>
                    <a:pt x="0" y="23282"/>
                    <a:pt x="23282" y="0"/>
                    <a:pt x="52001" y="0"/>
                  </a:cubicBezTo>
                  <a:lnTo>
                    <a:pt x="988011" y="0"/>
                  </a:lnTo>
                  <a:cubicBezTo>
                    <a:pt x="1016730" y="0"/>
                    <a:pt x="1040012" y="23282"/>
                    <a:pt x="1040012" y="52001"/>
                  </a:cubicBezTo>
                  <a:cubicBezTo>
                    <a:pt x="1040012" y="190669"/>
                    <a:pt x="1040011" y="329337"/>
                    <a:pt x="1040011" y="468005"/>
                  </a:cubicBezTo>
                  <a:cubicBezTo>
                    <a:pt x="1040011" y="496724"/>
                    <a:pt x="1016729" y="520006"/>
                    <a:pt x="988010" y="520006"/>
                  </a:cubicBezTo>
                  <a:lnTo>
                    <a:pt x="52001" y="520005"/>
                  </a:lnTo>
                  <a:cubicBezTo>
                    <a:pt x="23282" y="520005"/>
                    <a:pt x="0" y="496723"/>
                    <a:pt x="0" y="468004"/>
                  </a:cubicBezTo>
                  <a:lnTo>
                    <a:pt x="0" y="52001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8090" tIns="30470" rIns="38090" bIns="3047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</a:pPr>
              <a:r>
                <a:rPr lang="en-US" altLang="zh-CN" sz="1400" dirty="0" err="1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Pudong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 Testing Lab</a:t>
              </a:r>
              <a:endParaRPr lang="zh-CN" altLang="en-US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60" name="任意多边形 5">
            <a:extLst>
              <a:ext uri="{FF2B5EF4-FFF2-40B4-BE49-F238E27FC236}">
                <a16:creationId xmlns:a16="http://schemas.microsoft.com/office/drawing/2014/main" xmlns="" id="{51C1E5A4-48CD-43D4-82DD-9D556966B9D4}"/>
              </a:ext>
            </a:extLst>
          </p:cNvPr>
          <p:cNvSpPr/>
          <p:nvPr/>
        </p:nvSpPr>
        <p:spPr>
          <a:xfrm>
            <a:off x="1291843" y="2649124"/>
            <a:ext cx="827352" cy="83123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ustomer Contact</a:t>
            </a:r>
            <a:r>
              <a:rPr lang="zh-CN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  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roject Engineer</a:t>
            </a:r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endParaRPr lang="zh-CN" altLang="en-US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任意多边形 7">
            <a:extLst>
              <a:ext uri="{FF2B5EF4-FFF2-40B4-BE49-F238E27FC236}">
                <a16:creationId xmlns:a16="http://schemas.microsoft.com/office/drawing/2014/main" xmlns="" id="{CFF747C0-5FC6-4573-9E84-DF57B580602A}"/>
              </a:ext>
            </a:extLst>
          </p:cNvPr>
          <p:cNvSpPr/>
          <p:nvPr/>
        </p:nvSpPr>
        <p:spPr>
          <a:xfrm>
            <a:off x="1291315" y="3567770"/>
            <a:ext cx="827880" cy="49290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New Energy Director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2" name="任意多边形 12">
            <a:extLst>
              <a:ext uri="{FF2B5EF4-FFF2-40B4-BE49-F238E27FC236}">
                <a16:creationId xmlns:a16="http://schemas.microsoft.com/office/drawing/2014/main" xmlns="" id="{5CDF2789-1FE9-4FE9-828B-E66BAFE964C3}"/>
              </a:ext>
            </a:extLst>
          </p:cNvPr>
          <p:cNvSpPr/>
          <p:nvPr/>
        </p:nvSpPr>
        <p:spPr>
          <a:xfrm>
            <a:off x="1316316" y="4135959"/>
            <a:ext cx="838490" cy="492903"/>
          </a:xfrm>
          <a:custGeom>
            <a:avLst/>
            <a:gdLst>
              <a:gd name="connsiteX0" fmla="*/ 0 w 832009"/>
              <a:gd name="connsiteY0" fmla="*/ 52001 h 520005"/>
              <a:gd name="connsiteX1" fmla="*/ 52001 w 832009"/>
              <a:gd name="connsiteY1" fmla="*/ 0 h 520005"/>
              <a:gd name="connsiteX2" fmla="*/ 780009 w 832009"/>
              <a:gd name="connsiteY2" fmla="*/ 0 h 520005"/>
              <a:gd name="connsiteX3" fmla="*/ 832010 w 832009"/>
              <a:gd name="connsiteY3" fmla="*/ 52001 h 520005"/>
              <a:gd name="connsiteX4" fmla="*/ 832009 w 832009"/>
              <a:gd name="connsiteY4" fmla="*/ 468005 h 520005"/>
              <a:gd name="connsiteX5" fmla="*/ 780008 w 832009"/>
              <a:gd name="connsiteY5" fmla="*/ 520006 h 520005"/>
              <a:gd name="connsiteX6" fmla="*/ 52001 w 832009"/>
              <a:gd name="connsiteY6" fmla="*/ 520005 h 520005"/>
              <a:gd name="connsiteX7" fmla="*/ 0 w 832009"/>
              <a:gd name="connsiteY7" fmla="*/ 468004 h 520005"/>
              <a:gd name="connsiteX8" fmla="*/ 0 w 832009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2009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780009" y="0"/>
                </a:lnTo>
                <a:cubicBezTo>
                  <a:pt x="808728" y="0"/>
                  <a:pt x="832010" y="23282"/>
                  <a:pt x="832010" y="52001"/>
                </a:cubicBezTo>
                <a:cubicBezTo>
                  <a:pt x="832010" y="190669"/>
                  <a:pt x="832009" y="329337"/>
                  <a:pt x="832009" y="468005"/>
                </a:cubicBezTo>
                <a:cubicBezTo>
                  <a:pt x="832009" y="496724"/>
                  <a:pt x="808727" y="520006"/>
                  <a:pt x="780008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90000"/>
            </a:schemeClr>
          </a:solidFill>
          <a:ln>
            <a:noFill/>
          </a:ln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1">
            <a:scrgbClr r="0" g="0" b="0"/>
          </a:lnRef>
          <a:fillRef idx="1">
            <a:scrgbClr r="0" g="0" b="0"/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lvl="0"/>
            <a:r>
              <a:rPr lang="en-US" altLang="en-US" sz="11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echnical -Support Engineer</a:t>
            </a:r>
            <a:endParaRPr lang="en-US" altLang="zh-CN" sz="11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任意多边形 11">
            <a:extLst>
              <a:ext uri="{FF2B5EF4-FFF2-40B4-BE49-F238E27FC236}">
                <a16:creationId xmlns:a16="http://schemas.microsoft.com/office/drawing/2014/main" xmlns="" id="{934C4413-3892-4E5E-98D8-32B7F668407B}"/>
              </a:ext>
            </a:extLst>
          </p:cNvPr>
          <p:cNvSpPr/>
          <p:nvPr/>
        </p:nvSpPr>
        <p:spPr>
          <a:xfrm>
            <a:off x="1173129" y="2778882"/>
            <a:ext cx="226705" cy="1226855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690018"/>
                </a:lnTo>
                <a:lnTo>
                  <a:pt x="104001" y="1690018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4" name="任意多边形 53">
            <a:extLst>
              <a:ext uri="{FF2B5EF4-FFF2-40B4-BE49-F238E27FC236}">
                <a16:creationId xmlns:a16="http://schemas.microsoft.com/office/drawing/2014/main" xmlns="" id="{54A0062E-B8E8-4584-AC37-9479DF024DCA}"/>
              </a:ext>
            </a:extLst>
          </p:cNvPr>
          <p:cNvSpPr/>
          <p:nvPr/>
        </p:nvSpPr>
        <p:spPr>
          <a:xfrm>
            <a:off x="1178732" y="2065412"/>
            <a:ext cx="133227" cy="49290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40011"/>
                </a:lnTo>
                <a:lnTo>
                  <a:pt x="104001" y="1040011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5" name="任意多边形 53">
            <a:extLst>
              <a:ext uri="{FF2B5EF4-FFF2-40B4-BE49-F238E27FC236}">
                <a16:creationId xmlns:a16="http://schemas.microsoft.com/office/drawing/2014/main" xmlns="" id="{A6248D02-9A7D-4138-B977-114750BB1353}"/>
              </a:ext>
            </a:extLst>
          </p:cNvPr>
          <p:cNvSpPr/>
          <p:nvPr/>
        </p:nvSpPr>
        <p:spPr>
          <a:xfrm>
            <a:off x="1187624" y="2761213"/>
            <a:ext cx="180678" cy="864096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040011"/>
                </a:lnTo>
                <a:lnTo>
                  <a:pt x="104001" y="1040011"/>
                </a:lnTo>
              </a:path>
            </a:pathLst>
          </a:custGeom>
          <a:noFill/>
          <a:ln w="19050">
            <a:solidFill>
              <a:schemeClr val="tx1"/>
            </a:solidFill>
          </a:ln>
          <a:scene3d>
            <a:camera prst="orthographicFront"/>
            <a:lightRig rig="flat" dir="t"/>
          </a:scene3d>
          <a:sp3d prstMaterial="matte"/>
        </p:spPr>
        <p:style>
          <a:lnRef idx="2">
            <a:scrgbClr r="0" g="0" b="0"/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6" name="任意多边形 3">
            <a:extLst>
              <a:ext uri="{FF2B5EF4-FFF2-40B4-BE49-F238E27FC236}">
                <a16:creationId xmlns:a16="http://schemas.microsoft.com/office/drawing/2014/main" xmlns="" id="{E0ABFF51-BB90-4776-ADF3-F67D05B32DAA}"/>
              </a:ext>
            </a:extLst>
          </p:cNvPr>
          <p:cNvSpPr/>
          <p:nvPr/>
        </p:nvSpPr>
        <p:spPr>
          <a:xfrm>
            <a:off x="1151189" y="1902824"/>
            <a:ext cx="1043794" cy="641217"/>
          </a:xfrm>
          <a:custGeom>
            <a:avLst/>
            <a:gdLst>
              <a:gd name="connsiteX0" fmla="*/ 0 w 1040011"/>
              <a:gd name="connsiteY0" fmla="*/ 52001 h 520005"/>
              <a:gd name="connsiteX1" fmla="*/ 52001 w 1040011"/>
              <a:gd name="connsiteY1" fmla="*/ 0 h 520005"/>
              <a:gd name="connsiteX2" fmla="*/ 988011 w 1040011"/>
              <a:gd name="connsiteY2" fmla="*/ 0 h 520005"/>
              <a:gd name="connsiteX3" fmla="*/ 1040012 w 1040011"/>
              <a:gd name="connsiteY3" fmla="*/ 52001 h 520005"/>
              <a:gd name="connsiteX4" fmla="*/ 1040011 w 1040011"/>
              <a:gd name="connsiteY4" fmla="*/ 468005 h 520005"/>
              <a:gd name="connsiteX5" fmla="*/ 988010 w 1040011"/>
              <a:gd name="connsiteY5" fmla="*/ 520006 h 520005"/>
              <a:gd name="connsiteX6" fmla="*/ 52001 w 1040011"/>
              <a:gd name="connsiteY6" fmla="*/ 520005 h 520005"/>
              <a:gd name="connsiteX7" fmla="*/ 0 w 1040011"/>
              <a:gd name="connsiteY7" fmla="*/ 468004 h 520005"/>
              <a:gd name="connsiteX8" fmla="*/ 0 w 1040011"/>
              <a:gd name="connsiteY8" fmla="*/ 52001 h 52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0011" h="520005">
                <a:moveTo>
                  <a:pt x="0" y="52001"/>
                </a:moveTo>
                <a:cubicBezTo>
                  <a:pt x="0" y="23282"/>
                  <a:pt x="23282" y="0"/>
                  <a:pt x="52001" y="0"/>
                </a:cubicBezTo>
                <a:lnTo>
                  <a:pt x="988011" y="0"/>
                </a:lnTo>
                <a:cubicBezTo>
                  <a:pt x="1016730" y="0"/>
                  <a:pt x="1040012" y="23282"/>
                  <a:pt x="1040012" y="52001"/>
                </a:cubicBezTo>
                <a:cubicBezTo>
                  <a:pt x="1040012" y="190669"/>
                  <a:pt x="1040011" y="329337"/>
                  <a:pt x="1040011" y="468005"/>
                </a:cubicBezTo>
                <a:cubicBezTo>
                  <a:pt x="1040011" y="496724"/>
                  <a:pt x="1016729" y="520006"/>
                  <a:pt x="988010" y="520006"/>
                </a:cubicBezTo>
                <a:lnTo>
                  <a:pt x="52001" y="520005"/>
                </a:lnTo>
                <a:cubicBezTo>
                  <a:pt x="23282" y="520005"/>
                  <a:pt x="0" y="496723"/>
                  <a:pt x="0" y="468004"/>
                </a:cubicBezTo>
                <a:lnTo>
                  <a:pt x="0" y="52001"/>
                </a:ln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090" tIns="30470" rIns="38090" bIns="30470" numCol="1" spcCol="1270" anchor="ctr" anchorCtr="0">
            <a:noAutofit/>
          </a:bodyPr>
          <a:lstStyle/>
          <a:p>
            <a:pPr algn="ctr"/>
            <a:r>
              <a:rPr lang="en-US" altLang="zh-CN" sz="14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New Energy Test</a:t>
            </a:r>
          </a:p>
        </p:txBody>
      </p:sp>
    </p:spTree>
    <p:extLst>
      <p:ext uri="{BB962C8B-B14F-4D97-AF65-F5344CB8AC3E}">
        <p14:creationId xmlns:p14="http://schemas.microsoft.com/office/powerpoint/2010/main" val="1008623709"/>
      </p:ext>
    </p:extLst>
  </p:cSld>
  <p:clrMapOvr>
    <a:masterClrMapping/>
  </p:clrMapOvr>
  <p:transition spd="slow"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Intelligent Laboratory Management-1</a:t>
            </a:r>
          </a:p>
        </p:txBody>
      </p:sp>
      <p:sp>
        <p:nvSpPr>
          <p:cNvPr id="12" name="矩形 11"/>
          <p:cNvSpPr/>
          <p:nvPr/>
        </p:nvSpPr>
        <p:spPr>
          <a:xfrm>
            <a:off x="107504" y="841276"/>
            <a:ext cx="3312368" cy="792088"/>
          </a:xfrm>
          <a:prstGeom prst="rect">
            <a:avLst/>
          </a:prstGeom>
          <a:ln/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LIMS System Management</a:t>
            </a:r>
          </a:p>
        </p:txBody>
      </p:sp>
      <p:pic>
        <p:nvPicPr>
          <p:cNvPr id="30725" name="图片 13" descr="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80150" y="1797050"/>
            <a:ext cx="2843213" cy="194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图示 16"/>
          <p:cNvGraphicFramePr/>
          <p:nvPr/>
        </p:nvGraphicFramePr>
        <p:xfrm>
          <a:off x="31141" y="1705372"/>
          <a:ext cx="6336704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9" cstate="email">
            <a:extLst/>
          </a:blip>
          <a:srcRect l="9230"/>
          <a:stretch/>
        </p:blipFill>
        <p:spPr>
          <a:xfrm flipH="1">
            <a:off x="5940152" y="3453663"/>
            <a:ext cx="2592288" cy="2284157"/>
          </a:xfrm>
          <a:prstGeom prst="rect">
            <a:avLst/>
          </a:prstGeom>
          <a:effectLst>
            <a:softEdge rad="635000"/>
          </a:effectLst>
        </p:spPr>
      </p:pic>
      <p:graphicFrame>
        <p:nvGraphicFramePr>
          <p:cNvPr id="21" name="图示 20"/>
          <p:cNvGraphicFramePr/>
          <p:nvPr>
            <p:extLst>
              <p:ext uri="{D42A27DB-BD31-4B8C-83A1-F6EECF244321}">
                <p14:modId xmlns:p14="http://schemas.microsoft.com/office/powerpoint/2010/main" val="3516776217"/>
              </p:ext>
            </p:extLst>
          </p:nvPr>
        </p:nvGraphicFramePr>
        <p:xfrm>
          <a:off x="3419872" y="696913"/>
          <a:ext cx="3312368" cy="1080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</p:cSld>
  <p:clrMapOvr>
    <a:masterClrMapping/>
  </p:clrMapOvr>
  <p:transition spd="slow">
    <p:pull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Intelligent Laboratory Management-2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0" y="1724822"/>
            <a:ext cx="6712691" cy="361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矩形 9"/>
          <p:cNvSpPr/>
          <p:nvPr/>
        </p:nvSpPr>
        <p:spPr>
          <a:xfrm>
            <a:off x="112661" y="912216"/>
            <a:ext cx="3235204" cy="720080"/>
          </a:xfrm>
          <a:prstGeom prst="rect">
            <a:avLst/>
          </a:prstGeom>
          <a:ln/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OT System Management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272661" y="3430843"/>
            <a:ext cx="2592288" cy="2284157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6" name="云形标注 5"/>
          <p:cNvSpPr/>
          <p:nvPr/>
        </p:nvSpPr>
        <p:spPr>
          <a:xfrm>
            <a:off x="6938186" y="941343"/>
            <a:ext cx="2205814" cy="1154159"/>
          </a:xfrm>
          <a:prstGeom prst="cloudCallout">
            <a:avLst>
              <a:gd name="adj1" fmla="val -69984"/>
              <a:gd name="adj2" fmla="val 36967"/>
            </a:avLst>
          </a:prstGeom>
          <a:ln/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TW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ction in2019</a:t>
            </a:r>
          </a:p>
        </p:txBody>
      </p:sp>
    </p:spTree>
    <p:extLst>
      <p:ext uri="{BB962C8B-B14F-4D97-AF65-F5344CB8AC3E}">
        <p14:creationId xmlns:p14="http://schemas.microsoft.com/office/powerpoint/2010/main" val="3291027247"/>
      </p:ext>
    </p:extLst>
  </p:cSld>
  <p:clrMapOvr>
    <a:masterClrMapping/>
  </p:clrMapOvr>
  <p:transition spd="slow">
    <p:pull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>
            <a:extLst>
              <a:ext uri="{FF2B5EF4-FFF2-40B4-BE49-F238E27FC236}">
                <a16:creationId xmlns:a16="http://schemas.microsoft.com/office/drawing/2014/main" xmlns="" id="{92F7654B-19A9-44BB-B7E8-20EAE41F5951}"/>
              </a:ext>
            </a:extLst>
          </p:cNvPr>
          <p:cNvGrpSpPr/>
          <p:nvPr/>
        </p:nvGrpSpPr>
        <p:grpSpPr>
          <a:xfrm>
            <a:off x="5973710" y="4136911"/>
            <a:ext cx="731385" cy="521774"/>
            <a:chOff x="2249229" y="2557668"/>
            <a:chExt cx="3763931" cy="2613102"/>
          </a:xfrm>
        </p:grpSpPr>
        <p:sp>
          <p:nvSpPr>
            <p:cNvPr id="289" name="í$1ïḋè">
              <a:extLst>
                <a:ext uri="{FF2B5EF4-FFF2-40B4-BE49-F238E27FC236}">
                  <a16:creationId xmlns:a16="http://schemas.microsoft.com/office/drawing/2014/main" xmlns="" id="{AC3A2755-6090-4A56-8EED-1A2DC881CDA1}"/>
                </a:ext>
              </a:extLst>
            </p:cNvPr>
            <p:cNvSpPr/>
            <p:nvPr/>
          </p:nvSpPr>
          <p:spPr bwMode="auto">
            <a:xfrm>
              <a:off x="3524636" y="4637734"/>
              <a:ext cx="1212096" cy="533036"/>
            </a:xfrm>
            <a:custGeom>
              <a:avLst/>
              <a:gdLst>
                <a:gd name="T0" fmla="*/ 289 w 1187"/>
                <a:gd name="T1" fmla="*/ 0 h 522"/>
                <a:gd name="T2" fmla="*/ 898 w 1187"/>
                <a:gd name="T3" fmla="*/ 0 h 522"/>
                <a:gd name="T4" fmla="*/ 1187 w 1187"/>
                <a:gd name="T5" fmla="*/ 522 h 522"/>
                <a:gd name="T6" fmla="*/ 0 w 1187"/>
                <a:gd name="T7" fmla="*/ 522 h 522"/>
                <a:gd name="T8" fmla="*/ 289 w 1187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7" h="522">
                  <a:moveTo>
                    <a:pt x="289" y="0"/>
                  </a:moveTo>
                  <a:lnTo>
                    <a:pt x="898" y="0"/>
                  </a:lnTo>
                  <a:lnTo>
                    <a:pt x="1187" y="522"/>
                  </a:lnTo>
                  <a:lnTo>
                    <a:pt x="0" y="522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0" name="ïşliḓe">
              <a:extLst>
                <a:ext uri="{FF2B5EF4-FFF2-40B4-BE49-F238E27FC236}">
                  <a16:creationId xmlns:a16="http://schemas.microsoft.com/office/drawing/2014/main" xmlns="" id="{0DFAC0C1-8CBB-49A9-B73F-13B103594F95}"/>
                </a:ext>
              </a:extLst>
            </p:cNvPr>
            <p:cNvSpPr/>
            <p:nvPr/>
          </p:nvSpPr>
          <p:spPr bwMode="auto">
            <a:xfrm>
              <a:off x="2506557" y="2557668"/>
              <a:ext cx="3249275" cy="2214857"/>
            </a:xfrm>
            <a:custGeom>
              <a:avLst/>
              <a:gdLst>
                <a:gd name="T0" fmla="*/ 28 w 606"/>
                <a:gd name="T1" fmla="*/ 0 h 412"/>
                <a:gd name="T2" fmla="*/ 578 w 606"/>
                <a:gd name="T3" fmla="*/ 0 h 412"/>
                <a:gd name="T4" fmla="*/ 606 w 606"/>
                <a:gd name="T5" fmla="*/ 28 h 412"/>
                <a:gd name="T6" fmla="*/ 606 w 606"/>
                <a:gd name="T7" fmla="*/ 384 h 412"/>
                <a:gd name="T8" fmla="*/ 578 w 606"/>
                <a:gd name="T9" fmla="*/ 412 h 412"/>
                <a:gd name="T10" fmla="*/ 28 w 606"/>
                <a:gd name="T11" fmla="*/ 412 h 412"/>
                <a:gd name="T12" fmla="*/ 0 w 606"/>
                <a:gd name="T13" fmla="*/ 384 h 412"/>
                <a:gd name="T14" fmla="*/ 0 w 606"/>
                <a:gd name="T15" fmla="*/ 28 h 412"/>
                <a:gd name="T16" fmla="*/ 28 w 606"/>
                <a:gd name="T1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412">
                  <a:moveTo>
                    <a:pt x="28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94" y="0"/>
                    <a:pt x="606" y="13"/>
                    <a:pt x="606" y="28"/>
                  </a:cubicBezTo>
                  <a:cubicBezTo>
                    <a:pt x="606" y="384"/>
                    <a:pt x="606" y="384"/>
                    <a:pt x="606" y="384"/>
                  </a:cubicBezTo>
                  <a:cubicBezTo>
                    <a:pt x="606" y="400"/>
                    <a:pt x="594" y="412"/>
                    <a:pt x="578" y="412"/>
                  </a:cubicBezTo>
                  <a:cubicBezTo>
                    <a:pt x="28" y="412"/>
                    <a:pt x="28" y="412"/>
                    <a:pt x="28" y="412"/>
                  </a:cubicBezTo>
                  <a:cubicBezTo>
                    <a:pt x="12" y="412"/>
                    <a:pt x="0" y="400"/>
                    <a:pt x="0" y="38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1" name="íṩ1íḍè">
              <a:extLst>
                <a:ext uri="{FF2B5EF4-FFF2-40B4-BE49-F238E27FC236}">
                  <a16:creationId xmlns:a16="http://schemas.microsoft.com/office/drawing/2014/main" xmlns="" id="{390F81DC-43CB-4368-AE08-70A87805F929}"/>
                </a:ext>
              </a:extLst>
            </p:cNvPr>
            <p:cNvSpPr/>
            <p:nvPr/>
          </p:nvSpPr>
          <p:spPr bwMode="auto">
            <a:xfrm>
              <a:off x="5477060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2" name="íṡ1idè">
              <a:extLst>
                <a:ext uri="{FF2B5EF4-FFF2-40B4-BE49-F238E27FC236}">
                  <a16:creationId xmlns:a16="http://schemas.microsoft.com/office/drawing/2014/main" xmlns="" id="{F282DA61-6AEF-4F41-95BC-43DB7ACDDA4E}"/>
                </a:ext>
              </a:extLst>
            </p:cNvPr>
            <p:cNvSpPr/>
            <p:nvPr/>
          </p:nvSpPr>
          <p:spPr bwMode="auto">
            <a:xfrm>
              <a:off x="5401495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3" name="îslîḋé">
              <a:extLst>
                <a:ext uri="{FF2B5EF4-FFF2-40B4-BE49-F238E27FC236}">
                  <a16:creationId xmlns:a16="http://schemas.microsoft.com/office/drawing/2014/main" xmlns="" id="{8E1ECCA1-38B4-47F9-BC8F-8867167CD869}"/>
                </a:ext>
              </a:extLst>
            </p:cNvPr>
            <p:cNvSpPr/>
            <p:nvPr/>
          </p:nvSpPr>
          <p:spPr bwMode="auto">
            <a:xfrm>
              <a:off x="2249229" y="5009430"/>
              <a:ext cx="3763931" cy="161340"/>
            </a:xfrm>
            <a:custGeom>
              <a:avLst/>
              <a:gdLst>
                <a:gd name="T0" fmla="*/ 15 w 702"/>
                <a:gd name="T1" fmla="*/ 0 h 30"/>
                <a:gd name="T2" fmla="*/ 687 w 702"/>
                <a:gd name="T3" fmla="*/ 0 h 30"/>
                <a:gd name="T4" fmla="*/ 702 w 702"/>
                <a:gd name="T5" fmla="*/ 15 h 30"/>
                <a:gd name="T6" fmla="*/ 702 w 702"/>
                <a:gd name="T7" fmla="*/ 15 h 30"/>
                <a:gd name="T8" fmla="*/ 687 w 702"/>
                <a:gd name="T9" fmla="*/ 30 h 30"/>
                <a:gd name="T10" fmla="*/ 15 w 702"/>
                <a:gd name="T11" fmla="*/ 30 h 30"/>
                <a:gd name="T12" fmla="*/ 0 w 702"/>
                <a:gd name="T13" fmla="*/ 15 h 30"/>
                <a:gd name="T14" fmla="*/ 0 w 702"/>
                <a:gd name="T15" fmla="*/ 15 h 30"/>
                <a:gd name="T16" fmla="*/ 15 w 70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2" h="30">
                  <a:moveTo>
                    <a:pt x="15" y="0"/>
                  </a:moveTo>
                  <a:cubicBezTo>
                    <a:pt x="687" y="0"/>
                    <a:pt x="687" y="0"/>
                    <a:pt x="687" y="0"/>
                  </a:cubicBezTo>
                  <a:cubicBezTo>
                    <a:pt x="695" y="0"/>
                    <a:pt x="702" y="7"/>
                    <a:pt x="702" y="15"/>
                  </a:cubicBezTo>
                  <a:cubicBezTo>
                    <a:pt x="702" y="15"/>
                    <a:pt x="702" y="15"/>
                    <a:pt x="702" y="15"/>
                  </a:cubicBezTo>
                  <a:cubicBezTo>
                    <a:pt x="702" y="24"/>
                    <a:pt x="695" y="30"/>
                    <a:pt x="68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4" name="íşļîḍé">
              <a:extLst>
                <a:ext uri="{FF2B5EF4-FFF2-40B4-BE49-F238E27FC236}">
                  <a16:creationId xmlns:a16="http://schemas.microsoft.com/office/drawing/2014/main" xmlns="" id="{579E01CB-EA11-4168-83C0-C6F807DBEA2D}"/>
                </a:ext>
              </a:extLst>
            </p:cNvPr>
            <p:cNvSpPr/>
            <p:nvPr/>
          </p:nvSpPr>
          <p:spPr bwMode="auto">
            <a:xfrm>
              <a:off x="2249229" y="5090100"/>
              <a:ext cx="3763931" cy="80670"/>
            </a:xfrm>
            <a:custGeom>
              <a:avLst/>
              <a:gdLst>
                <a:gd name="T0" fmla="*/ 702 w 702"/>
                <a:gd name="T1" fmla="*/ 0 h 15"/>
                <a:gd name="T2" fmla="*/ 687 w 702"/>
                <a:gd name="T3" fmla="*/ 15 h 15"/>
                <a:gd name="T4" fmla="*/ 15 w 702"/>
                <a:gd name="T5" fmla="*/ 15 h 15"/>
                <a:gd name="T6" fmla="*/ 0 w 702"/>
                <a:gd name="T7" fmla="*/ 0 h 15"/>
                <a:gd name="T8" fmla="*/ 702 w 70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2" h="15">
                  <a:moveTo>
                    <a:pt x="702" y="0"/>
                  </a:moveTo>
                  <a:cubicBezTo>
                    <a:pt x="702" y="9"/>
                    <a:pt x="695" y="15"/>
                    <a:pt x="687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7" y="15"/>
                    <a:pt x="0" y="9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5" name="ï$ḻîḓe">
              <a:extLst>
                <a:ext uri="{FF2B5EF4-FFF2-40B4-BE49-F238E27FC236}">
                  <a16:creationId xmlns:a16="http://schemas.microsoft.com/office/drawing/2014/main" xmlns="" id="{86157146-A4E0-4823-B787-EC6014AD1864}"/>
                </a:ext>
              </a:extLst>
            </p:cNvPr>
            <p:cNvSpPr/>
            <p:nvPr/>
          </p:nvSpPr>
          <p:spPr bwMode="auto">
            <a:xfrm>
              <a:off x="2602544" y="2648549"/>
              <a:ext cx="3056279" cy="18554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6" name="îşľiḑè">
              <a:extLst>
                <a:ext uri="{FF2B5EF4-FFF2-40B4-BE49-F238E27FC236}">
                  <a16:creationId xmlns:a16="http://schemas.microsoft.com/office/drawing/2014/main" xmlns="" id="{E326683D-46B7-419E-8269-E28C22F020DC}"/>
                </a:ext>
              </a:extLst>
            </p:cNvPr>
            <p:cNvSpPr/>
            <p:nvPr/>
          </p:nvSpPr>
          <p:spPr bwMode="auto">
            <a:xfrm>
              <a:off x="2806773" y="2648549"/>
              <a:ext cx="2648843" cy="15623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7" name="îšḷîḑê">
              <a:extLst>
                <a:ext uri="{FF2B5EF4-FFF2-40B4-BE49-F238E27FC236}">
                  <a16:creationId xmlns:a16="http://schemas.microsoft.com/office/drawing/2014/main" xmlns="" id="{7BD6AE44-2D7E-489F-84A5-E8E2EC1DC191}"/>
                </a:ext>
              </a:extLst>
            </p:cNvPr>
            <p:cNvSpPr/>
            <p:nvPr/>
          </p:nvSpPr>
          <p:spPr bwMode="auto">
            <a:xfrm>
              <a:off x="3514424" y="2906899"/>
              <a:ext cx="1233540" cy="242010"/>
            </a:xfrm>
            <a:prstGeom prst="rect">
              <a:avLst/>
            </a:prstGeom>
            <a:solidFill>
              <a:srgbClr val="ED7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8" name="íṣḷïḍé">
              <a:extLst>
                <a:ext uri="{FF2B5EF4-FFF2-40B4-BE49-F238E27FC236}">
                  <a16:creationId xmlns:a16="http://schemas.microsoft.com/office/drawing/2014/main" xmlns="" id="{52F20572-72CD-43D8-B8C8-0E31C642B27A}"/>
                </a:ext>
              </a:extLst>
            </p:cNvPr>
            <p:cNvSpPr/>
            <p:nvPr/>
          </p:nvSpPr>
          <p:spPr bwMode="auto">
            <a:xfrm>
              <a:off x="2806773" y="3438913"/>
              <a:ext cx="2648843" cy="671912"/>
            </a:xfrm>
            <a:prstGeom prst="rect">
              <a:avLst/>
            </a:prstGeom>
            <a:solidFill>
              <a:srgbClr val="589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9" name="ïŝḻiḓè">
              <a:extLst>
                <a:ext uri="{FF2B5EF4-FFF2-40B4-BE49-F238E27FC236}">
                  <a16:creationId xmlns:a16="http://schemas.microsoft.com/office/drawing/2014/main" xmlns="" id="{28627672-4E07-459A-954E-2627042CDD51}"/>
                </a:ext>
              </a:extLst>
            </p:cNvPr>
            <p:cNvSpPr/>
            <p:nvPr/>
          </p:nvSpPr>
          <p:spPr bwMode="auto">
            <a:xfrm>
              <a:off x="3316323" y="3245918"/>
              <a:ext cx="1629743" cy="10211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0" name="iŝḻîḑè">
              <a:extLst>
                <a:ext uri="{FF2B5EF4-FFF2-40B4-BE49-F238E27FC236}">
                  <a16:creationId xmlns:a16="http://schemas.microsoft.com/office/drawing/2014/main" xmlns="" id="{28E35C42-62D0-40F1-9F7D-46AFA2624862}"/>
                </a:ext>
              </a:extLst>
            </p:cNvPr>
            <p:cNvSpPr/>
            <p:nvPr/>
          </p:nvSpPr>
          <p:spPr bwMode="auto">
            <a:xfrm>
              <a:off x="2967092" y="4245616"/>
              <a:ext cx="664764" cy="258349"/>
            </a:xfrm>
            <a:prstGeom prst="rect">
              <a:avLst/>
            </a:prstGeom>
            <a:solidFill>
              <a:srgbClr val="FFD4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1" name="íṣļiḍe">
              <a:extLst>
                <a:ext uri="{FF2B5EF4-FFF2-40B4-BE49-F238E27FC236}">
                  <a16:creationId xmlns:a16="http://schemas.microsoft.com/office/drawing/2014/main" xmlns="" id="{7DA05BF8-4376-4789-AA39-12C705429A5A}"/>
                </a:ext>
              </a:extLst>
            </p:cNvPr>
            <p:cNvSpPr/>
            <p:nvPr/>
          </p:nvSpPr>
          <p:spPr bwMode="auto">
            <a:xfrm>
              <a:off x="3798302" y="4245616"/>
              <a:ext cx="664764" cy="258349"/>
            </a:xfrm>
            <a:prstGeom prst="rect">
              <a:avLst/>
            </a:prstGeom>
            <a:solidFill>
              <a:srgbClr val="F0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02" name="iṩļïdè">
              <a:extLst>
                <a:ext uri="{FF2B5EF4-FFF2-40B4-BE49-F238E27FC236}">
                  <a16:creationId xmlns:a16="http://schemas.microsoft.com/office/drawing/2014/main" xmlns="" id="{850F1977-ABFA-4146-B250-A678846DBD8E}"/>
                </a:ext>
              </a:extLst>
            </p:cNvPr>
            <p:cNvSpPr/>
            <p:nvPr/>
          </p:nvSpPr>
          <p:spPr bwMode="auto">
            <a:xfrm>
              <a:off x="4629512" y="4245616"/>
              <a:ext cx="664764" cy="258349"/>
            </a:xfrm>
            <a:prstGeom prst="rect">
              <a:avLst/>
            </a:prstGeom>
            <a:solidFill>
              <a:srgbClr val="6A8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xmlns="" id="{42BB66E9-A529-4973-BC0B-8723FDDC9375}"/>
              </a:ext>
            </a:extLst>
          </p:cNvPr>
          <p:cNvCxnSpPr/>
          <p:nvPr/>
        </p:nvCxnSpPr>
        <p:spPr bwMode="auto">
          <a:xfrm>
            <a:off x="7214954" y="1453170"/>
            <a:ext cx="0" cy="3801349"/>
          </a:xfrm>
          <a:prstGeom prst="line">
            <a:avLst/>
          </a:prstGeom>
          <a:ln w="5715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C14B1FFE-3DB3-4D74-B09F-254397F9798E}"/>
              </a:ext>
            </a:extLst>
          </p:cNvPr>
          <p:cNvSpPr txBox="1"/>
          <p:nvPr/>
        </p:nvSpPr>
        <p:spPr>
          <a:xfrm>
            <a:off x="4716016" y="3154152"/>
            <a:ext cx="1162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oud server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xmlns="" id="{4B1D1B57-9C43-4E3A-9EE6-BDC2F31978BA}"/>
              </a:ext>
            </a:extLst>
          </p:cNvPr>
          <p:cNvSpPr txBox="1"/>
          <p:nvPr/>
        </p:nvSpPr>
        <p:spPr>
          <a:xfrm>
            <a:off x="1808844" y="2601291"/>
            <a:ext cx="9629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DA Server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xmlns="" id="{77249080-656F-4526-B962-438EC03A44FB}"/>
              </a:ext>
            </a:extLst>
          </p:cNvPr>
          <p:cNvSpPr txBox="1"/>
          <p:nvPr/>
        </p:nvSpPr>
        <p:spPr>
          <a:xfrm>
            <a:off x="3384576" y="1449097"/>
            <a:ext cx="22156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Laboratory Intranet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xmlns="" id="{42C75855-2292-4AF6-857F-A0C3AA607046}"/>
              </a:ext>
            </a:extLst>
          </p:cNvPr>
          <p:cNvGrpSpPr/>
          <p:nvPr/>
        </p:nvGrpSpPr>
        <p:grpSpPr>
          <a:xfrm>
            <a:off x="8042860" y="2194744"/>
            <a:ext cx="731385" cy="521774"/>
            <a:chOff x="2249229" y="2557668"/>
            <a:chExt cx="3763931" cy="2613102"/>
          </a:xfrm>
        </p:grpSpPr>
        <p:sp>
          <p:nvSpPr>
            <p:cNvPr id="275" name="í$1ïḋè">
              <a:extLst>
                <a:ext uri="{FF2B5EF4-FFF2-40B4-BE49-F238E27FC236}">
                  <a16:creationId xmlns:a16="http://schemas.microsoft.com/office/drawing/2014/main" xmlns="" id="{CD0E8153-8541-45E0-A8FF-FC6C029394D9}"/>
                </a:ext>
              </a:extLst>
            </p:cNvPr>
            <p:cNvSpPr/>
            <p:nvPr/>
          </p:nvSpPr>
          <p:spPr bwMode="auto">
            <a:xfrm>
              <a:off x="3524636" y="4637734"/>
              <a:ext cx="1212096" cy="533036"/>
            </a:xfrm>
            <a:custGeom>
              <a:avLst/>
              <a:gdLst>
                <a:gd name="T0" fmla="*/ 289 w 1187"/>
                <a:gd name="T1" fmla="*/ 0 h 522"/>
                <a:gd name="T2" fmla="*/ 898 w 1187"/>
                <a:gd name="T3" fmla="*/ 0 h 522"/>
                <a:gd name="T4" fmla="*/ 1187 w 1187"/>
                <a:gd name="T5" fmla="*/ 522 h 522"/>
                <a:gd name="T6" fmla="*/ 0 w 1187"/>
                <a:gd name="T7" fmla="*/ 522 h 522"/>
                <a:gd name="T8" fmla="*/ 289 w 1187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7" h="522">
                  <a:moveTo>
                    <a:pt x="289" y="0"/>
                  </a:moveTo>
                  <a:lnTo>
                    <a:pt x="898" y="0"/>
                  </a:lnTo>
                  <a:lnTo>
                    <a:pt x="1187" y="522"/>
                  </a:lnTo>
                  <a:lnTo>
                    <a:pt x="0" y="522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6" name="ïşliḓe">
              <a:extLst>
                <a:ext uri="{FF2B5EF4-FFF2-40B4-BE49-F238E27FC236}">
                  <a16:creationId xmlns:a16="http://schemas.microsoft.com/office/drawing/2014/main" xmlns="" id="{BF3E5008-09A2-4142-93E8-870B9601E1DD}"/>
                </a:ext>
              </a:extLst>
            </p:cNvPr>
            <p:cNvSpPr/>
            <p:nvPr/>
          </p:nvSpPr>
          <p:spPr bwMode="auto">
            <a:xfrm>
              <a:off x="2506557" y="2557668"/>
              <a:ext cx="3249275" cy="2214857"/>
            </a:xfrm>
            <a:custGeom>
              <a:avLst/>
              <a:gdLst>
                <a:gd name="T0" fmla="*/ 28 w 606"/>
                <a:gd name="T1" fmla="*/ 0 h 412"/>
                <a:gd name="T2" fmla="*/ 578 w 606"/>
                <a:gd name="T3" fmla="*/ 0 h 412"/>
                <a:gd name="T4" fmla="*/ 606 w 606"/>
                <a:gd name="T5" fmla="*/ 28 h 412"/>
                <a:gd name="T6" fmla="*/ 606 w 606"/>
                <a:gd name="T7" fmla="*/ 384 h 412"/>
                <a:gd name="T8" fmla="*/ 578 w 606"/>
                <a:gd name="T9" fmla="*/ 412 h 412"/>
                <a:gd name="T10" fmla="*/ 28 w 606"/>
                <a:gd name="T11" fmla="*/ 412 h 412"/>
                <a:gd name="T12" fmla="*/ 0 w 606"/>
                <a:gd name="T13" fmla="*/ 384 h 412"/>
                <a:gd name="T14" fmla="*/ 0 w 606"/>
                <a:gd name="T15" fmla="*/ 28 h 412"/>
                <a:gd name="T16" fmla="*/ 28 w 606"/>
                <a:gd name="T1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412">
                  <a:moveTo>
                    <a:pt x="28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94" y="0"/>
                    <a:pt x="606" y="13"/>
                    <a:pt x="606" y="28"/>
                  </a:cubicBezTo>
                  <a:cubicBezTo>
                    <a:pt x="606" y="384"/>
                    <a:pt x="606" y="384"/>
                    <a:pt x="606" y="384"/>
                  </a:cubicBezTo>
                  <a:cubicBezTo>
                    <a:pt x="606" y="400"/>
                    <a:pt x="594" y="412"/>
                    <a:pt x="578" y="412"/>
                  </a:cubicBezTo>
                  <a:cubicBezTo>
                    <a:pt x="28" y="412"/>
                    <a:pt x="28" y="412"/>
                    <a:pt x="28" y="412"/>
                  </a:cubicBezTo>
                  <a:cubicBezTo>
                    <a:pt x="12" y="412"/>
                    <a:pt x="0" y="400"/>
                    <a:pt x="0" y="38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7" name="íṩ1íḍè">
              <a:extLst>
                <a:ext uri="{FF2B5EF4-FFF2-40B4-BE49-F238E27FC236}">
                  <a16:creationId xmlns:a16="http://schemas.microsoft.com/office/drawing/2014/main" xmlns="" id="{47F153B2-0CAA-4A32-B1BF-3E37FCC07615}"/>
                </a:ext>
              </a:extLst>
            </p:cNvPr>
            <p:cNvSpPr/>
            <p:nvPr/>
          </p:nvSpPr>
          <p:spPr bwMode="auto">
            <a:xfrm>
              <a:off x="5477060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8" name="íṡ1idè">
              <a:extLst>
                <a:ext uri="{FF2B5EF4-FFF2-40B4-BE49-F238E27FC236}">
                  <a16:creationId xmlns:a16="http://schemas.microsoft.com/office/drawing/2014/main" xmlns="" id="{4FEA5E37-ACB5-4944-AA00-EB68F73FB6CC}"/>
                </a:ext>
              </a:extLst>
            </p:cNvPr>
            <p:cNvSpPr/>
            <p:nvPr/>
          </p:nvSpPr>
          <p:spPr bwMode="auto">
            <a:xfrm>
              <a:off x="5401495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9" name="îslîḋé">
              <a:extLst>
                <a:ext uri="{FF2B5EF4-FFF2-40B4-BE49-F238E27FC236}">
                  <a16:creationId xmlns:a16="http://schemas.microsoft.com/office/drawing/2014/main" xmlns="" id="{3C47116B-6622-413D-AE1B-5EA7F6F51EB8}"/>
                </a:ext>
              </a:extLst>
            </p:cNvPr>
            <p:cNvSpPr/>
            <p:nvPr/>
          </p:nvSpPr>
          <p:spPr bwMode="auto">
            <a:xfrm>
              <a:off x="2249229" y="5009430"/>
              <a:ext cx="3763931" cy="161340"/>
            </a:xfrm>
            <a:custGeom>
              <a:avLst/>
              <a:gdLst>
                <a:gd name="T0" fmla="*/ 15 w 702"/>
                <a:gd name="T1" fmla="*/ 0 h 30"/>
                <a:gd name="T2" fmla="*/ 687 w 702"/>
                <a:gd name="T3" fmla="*/ 0 h 30"/>
                <a:gd name="T4" fmla="*/ 702 w 702"/>
                <a:gd name="T5" fmla="*/ 15 h 30"/>
                <a:gd name="T6" fmla="*/ 702 w 702"/>
                <a:gd name="T7" fmla="*/ 15 h 30"/>
                <a:gd name="T8" fmla="*/ 687 w 702"/>
                <a:gd name="T9" fmla="*/ 30 h 30"/>
                <a:gd name="T10" fmla="*/ 15 w 702"/>
                <a:gd name="T11" fmla="*/ 30 h 30"/>
                <a:gd name="T12" fmla="*/ 0 w 702"/>
                <a:gd name="T13" fmla="*/ 15 h 30"/>
                <a:gd name="T14" fmla="*/ 0 w 702"/>
                <a:gd name="T15" fmla="*/ 15 h 30"/>
                <a:gd name="T16" fmla="*/ 15 w 70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2" h="30">
                  <a:moveTo>
                    <a:pt x="15" y="0"/>
                  </a:moveTo>
                  <a:cubicBezTo>
                    <a:pt x="687" y="0"/>
                    <a:pt x="687" y="0"/>
                    <a:pt x="687" y="0"/>
                  </a:cubicBezTo>
                  <a:cubicBezTo>
                    <a:pt x="695" y="0"/>
                    <a:pt x="702" y="7"/>
                    <a:pt x="702" y="15"/>
                  </a:cubicBezTo>
                  <a:cubicBezTo>
                    <a:pt x="702" y="15"/>
                    <a:pt x="702" y="15"/>
                    <a:pt x="702" y="15"/>
                  </a:cubicBezTo>
                  <a:cubicBezTo>
                    <a:pt x="702" y="24"/>
                    <a:pt x="695" y="30"/>
                    <a:pt x="68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0" name="íşļîḍé">
              <a:extLst>
                <a:ext uri="{FF2B5EF4-FFF2-40B4-BE49-F238E27FC236}">
                  <a16:creationId xmlns:a16="http://schemas.microsoft.com/office/drawing/2014/main" xmlns="" id="{389834CA-8BAB-49D7-A9EB-B294455F57BD}"/>
                </a:ext>
              </a:extLst>
            </p:cNvPr>
            <p:cNvSpPr/>
            <p:nvPr/>
          </p:nvSpPr>
          <p:spPr bwMode="auto">
            <a:xfrm>
              <a:off x="2249229" y="5090100"/>
              <a:ext cx="3763931" cy="80670"/>
            </a:xfrm>
            <a:custGeom>
              <a:avLst/>
              <a:gdLst>
                <a:gd name="T0" fmla="*/ 702 w 702"/>
                <a:gd name="T1" fmla="*/ 0 h 15"/>
                <a:gd name="T2" fmla="*/ 687 w 702"/>
                <a:gd name="T3" fmla="*/ 15 h 15"/>
                <a:gd name="T4" fmla="*/ 15 w 702"/>
                <a:gd name="T5" fmla="*/ 15 h 15"/>
                <a:gd name="T6" fmla="*/ 0 w 702"/>
                <a:gd name="T7" fmla="*/ 0 h 15"/>
                <a:gd name="T8" fmla="*/ 702 w 70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2" h="15">
                  <a:moveTo>
                    <a:pt x="702" y="0"/>
                  </a:moveTo>
                  <a:cubicBezTo>
                    <a:pt x="702" y="9"/>
                    <a:pt x="695" y="15"/>
                    <a:pt x="687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7" y="15"/>
                    <a:pt x="0" y="9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1" name="ï$ḻîḓe">
              <a:extLst>
                <a:ext uri="{FF2B5EF4-FFF2-40B4-BE49-F238E27FC236}">
                  <a16:creationId xmlns:a16="http://schemas.microsoft.com/office/drawing/2014/main" xmlns="" id="{14D65440-9ED4-41A1-97BE-6BF92405538C}"/>
                </a:ext>
              </a:extLst>
            </p:cNvPr>
            <p:cNvSpPr/>
            <p:nvPr/>
          </p:nvSpPr>
          <p:spPr bwMode="auto">
            <a:xfrm>
              <a:off x="2602544" y="2648549"/>
              <a:ext cx="3056279" cy="18554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2" name="îşľiḑè">
              <a:extLst>
                <a:ext uri="{FF2B5EF4-FFF2-40B4-BE49-F238E27FC236}">
                  <a16:creationId xmlns:a16="http://schemas.microsoft.com/office/drawing/2014/main" xmlns="" id="{44FA0AF5-7728-4DB5-924A-C3E9FB63C58C}"/>
                </a:ext>
              </a:extLst>
            </p:cNvPr>
            <p:cNvSpPr/>
            <p:nvPr/>
          </p:nvSpPr>
          <p:spPr bwMode="auto">
            <a:xfrm>
              <a:off x="2806773" y="2648549"/>
              <a:ext cx="2648843" cy="15623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3" name="îšḷîḑê">
              <a:extLst>
                <a:ext uri="{FF2B5EF4-FFF2-40B4-BE49-F238E27FC236}">
                  <a16:creationId xmlns:a16="http://schemas.microsoft.com/office/drawing/2014/main" xmlns="" id="{1AF9F5DF-67C6-4DE9-878E-4FE5041DF510}"/>
                </a:ext>
              </a:extLst>
            </p:cNvPr>
            <p:cNvSpPr/>
            <p:nvPr/>
          </p:nvSpPr>
          <p:spPr bwMode="auto">
            <a:xfrm>
              <a:off x="3514424" y="2906899"/>
              <a:ext cx="1233540" cy="242010"/>
            </a:xfrm>
            <a:prstGeom prst="rect">
              <a:avLst/>
            </a:prstGeom>
            <a:solidFill>
              <a:srgbClr val="ED7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4" name="íṣḷïḍé">
              <a:extLst>
                <a:ext uri="{FF2B5EF4-FFF2-40B4-BE49-F238E27FC236}">
                  <a16:creationId xmlns:a16="http://schemas.microsoft.com/office/drawing/2014/main" xmlns="" id="{170BBC08-29BC-4C5B-B198-63616DEEDFDC}"/>
                </a:ext>
              </a:extLst>
            </p:cNvPr>
            <p:cNvSpPr/>
            <p:nvPr/>
          </p:nvSpPr>
          <p:spPr bwMode="auto">
            <a:xfrm>
              <a:off x="2806773" y="3438913"/>
              <a:ext cx="2648843" cy="671912"/>
            </a:xfrm>
            <a:prstGeom prst="rect">
              <a:avLst/>
            </a:prstGeom>
            <a:solidFill>
              <a:srgbClr val="589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5" name="ïŝḻiḓè">
              <a:extLst>
                <a:ext uri="{FF2B5EF4-FFF2-40B4-BE49-F238E27FC236}">
                  <a16:creationId xmlns:a16="http://schemas.microsoft.com/office/drawing/2014/main" xmlns="" id="{B457C3EF-FC23-4E20-B32C-6C7DD847EA50}"/>
                </a:ext>
              </a:extLst>
            </p:cNvPr>
            <p:cNvSpPr/>
            <p:nvPr/>
          </p:nvSpPr>
          <p:spPr bwMode="auto">
            <a:xfrm>
              <a:off x="3316323" y="3245918"/>
              <a:ext cx="1629743" cy="10211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6" name="iŝḻîḑè">
              <a:extLst>
                <a:ext uri="{FF2B5EF4-FFF2-40B4-BE49-F238E27FC236}">
                  <a16:creationId xmlns:a16="http://schemas.microsoft.com/office/drawing/2014/main" xmlns="" id="{AE7E141E-922F-4635-9882-FD4E3F9B74AE}"/>
                </a:ext>
              </a:extLst>
            </p:cNvPr>
            <p:cNvSpPr/>
            <p:nvPr/>
          </p:nvSpPr>
          <p:spPr bwMode="auto">
            <a:xfrm>
              <a:off x="2967092" y="4245616"/>
              <a:ext cx="664764" cy="258349"/>
            </a:xfrm>
            <a:prstGeom prst="rect">
              <a:avLst/>
            </a:prstGeom>
            <a:solidFill>
              <a:srgbClr val="FFD4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7" name="íṣļiḍe">
              <a:extLst>
                <a:ext uri="{FF2B5EF4-FFF2-40B4-BE49-F238E27FC236}">
                  <a16:creationId xmlns:a16="http://schemas.microsoft.com/office/drawing/2014/main" xmlns="" id="{02B15E65-5E27-4199-8777-F5521F28490D}"/>
                </a:ext>
              </a:extLst>
            </p:cNvPr>
            <p:cNvSpPr/>
            <p:nvPr/>
          </p:nvSpPr>
          <p:spPr bwMode="auto">
            <a:xfrm>
              <a:off x="3798302" y="4245616"/>
              <a:ext cx="664764" cy="258349"/>
            </a:xfrm>
            <a:prstGeom prst="rect">
              <a:avLst/>
            </a:prstGeom>
            <a:solidFill>
              <a:srgbClr val="F0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8" name="iṩļïdè">
              <a:extLst>
                <a:ext uri="{FF2B5EF4-FFF2-40B4-BE49-F238E27FC236}">
                  <a16:creationId xmlns:a16="http://schemas.microsoft.com/office/drawing/2014/main" xmlns="" id="{12E302E6-E3A3-4F57-BD61-DA74071FDF1B}"/>
                </a:ext>
              </a:extLst>
            </p:cNvPr>
            <p:cNvSpPr/>
            <p:nvPr/>
          </p:nvSpPr>
          <p:spPr bwMode="auto">
            <a:xfrm>
              <a:off x="4629512" y="4245616"/>
              <a:ext cx="664764" cy="258349"/>
            </a:xfrm>
            <a:prstGeom prst="rect">
              <a:avLst/>
            </a:prstGeom>
            <a:solidFill>
              <a:srgbClr val="6A8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6" name="组合 1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xmlns="" id="{03E659F8-1BD0-487C-B5A7-6EBB30CABD9E}"/>
              </a:ext>
            </a:extLst>
          </p:cNvPr>
          <p:cNvGrpSpPr/>
          <p:nvPr/>
        </p:nvGrpSpPr>
        <p:grpSpPr>
          <a:xfrm flipH="1">
            <a:off x="4002943" y="2166777"/>
            <a:ext cx="1529342" cy="1076070"/>
            <a:chOff x="2769132" y="1476536"/>
            <a:chExt cx="6653736" cy="4555963"/>
          </a:xfrm>
        </p:grpSpPr>
        <p:sp>
          <p:nvSpPr>
            <p:cNvPr id="217" name="îṥ1ïḓé">
              <a:extLst>
                <a:ext uri="{FF2B5EF4-FFF2-40B4-BE49-F238E27FC236}">
                  <a16:creationId xmlns:a16="http://schemas.microsoft.com/office/drawing/2014/main" xmlns="" id="{4A4DFE43-662F-413C-A37B-CAA1EBF29CB4}"/>
                </a:ext>
              </a:extLst>
            </p:cNvPr>
            <p:cNvSpPr/>
            <p:nvPr/>
          </p:nvSpPr>
          <p:spPr bwMode="auto">
            <a:xfrm>
              <a:off x="9385903" y="3435692"/>
              <a:ext cx="36965" cy="101657"/>
            </a:xfrm>
            <a:custGeom>
              <a:avLst/>
              <a:gdLst>
                <a:gd name="T0" fmla="*/ 2 w 15"/>
                <a:gd name="T1" fmla="*/ 46 h 46"/>
                <a:gd name="T2" fmla="*/ 15 w 15"/>
                <a:gd name="T3" fmla="*/ 46 h 46"/>
                <a:gd name="T4" fmla="*/ 14 w 15"/>
                <a:gd name="T5" fmla="*/ 0 h 46"/>
                <a:gd name="T6" fmla="*/ 0 w 15"/>
                <a:gd name="T7" fmla="*/ 1 h 46"/>
                <a:gd name="T8" fmla="*/ 2 w 15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6">
                  <a:moveTo>
                    <a:pt x="2" y="46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5" y="31"/>
                    <a:pt x="14" y="15"/>
                    <a:pt x="1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6"/>
                    <a:pt x="2" y="31"/>
                    <a:pt x="2" y="46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8" name="íṥļîḍé">
              <a:extLst>
                <a:ext uri="{FF2B5EF4-FFF2-40B4-BE49-F238E27FC236}">
                  <a16:creationId xmlns:a16="http://schemas.microsoft.com/office/drawing/2014/main" xmlns="" id="{3EDE192C-1D61-41EB-BF11-3BB7BAFE2F8E}"/>
                </a:ext>
              </a:extLst>
            </p:cNvPr>
            <p:cNvSpPr/>
            <p:nvPr/>
          </p:nvSpPr>
          <p:spPr bwMode="auto">
            <a:xfrm>
              <a:off x="9385903" y="3629762"/>
              <a:ext cx="36965" cy="92413"/>
            </a:xfrm>
            <a:custGeom>
              <a:avLst/>
              <a:gdLst>
                <a:gd name="T0" fmla="*/ 0 w 15"/>
                <a:gd name="T1" fmla="*/ 45 h 46"/>
                <a:gd name="T2" fmla="*/ 13 w 15"/>
                <a:gd name="T3" fmla="*/ 46 h 46"/>
                <a:gd name="T4" fmla="*/ 15 w 15"/>
                <a:gd name="T5" fmla="*/ 1 h 46"/>
                <a:gd name="T6" fmla="*/ 2 w 15"/>
                <a:gd name="T7" fmla="*/ 0 h 46"/>
                <a:gd name="T8" fmla="*/ 0 w 15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6">
                  <a:moveTo>
                    <a:pt x="0" y="45"/>
                  </a:moveTo>
                  <a:cubicBezTo>
                    <a:pt x="13" y="46"/>
                    <a:pt x="13" y="46"/>
                    <a:pt x="13" y="46"/>
                  </a:cubicBezTo>
                  <a:cubicBezTo>
                    <a:pt x="14" y="31"/>
                    <a:pt x="15" y="16"/>
                    <a:pt x="15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1" y="30"/>
                    <a:pt x="0" y="45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9" name="îsľíde">
              <a:extLst>
                <a:ext uri="{FF2B5EF4-FFF2-40B4-BE49-F238E27FC236}">
                  <a16:creationId xmlns:a16="http://schemas.microsoft.com/office/drawing/2014/main" xmlns="" id="{E4F85B01-B955-490F-BDE4-408DF5ECAB78}"/>
                </a:ext>
              </a:extLst>
            </p:cNvPr>
            <p:cNvSpPr/>
            <p:nvPr/>
          </p:nvSpPr>
          <p:spPr bwMode="auto">
            <a:xfrm>
              <a:off x="9367420" y="3250865"/>
              <a:ext cx="46209" cy="101657"/>
            </a:xfrm>
            <a:custGeom>
              <a:avLst/>
              <a:gdLst>
                <a:gd name="T0" fmla="*/ 6 w 19"/>
                <a:gd name="T1" fmla="*/ 46 h 46"/>
                <a:gd name="T2" fmla="*/ 19 w 19"/>
                <a:gd name="T3" fmla="*/ 45 h 46"/>
                <a:gd name="T4" fmla="*/ 14 w 19"/>
                <a:gd name="T5" fmla="*/ 0 h 46"/>
                <a:gd name="T6" fmla="*/ 0 w 19"/>
                <a:gd name="T7" fmla="*/ 2 h 46"/>
                <a:gd name="T8" fmla="*/ 6 w 19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46">
                  <a:moveTo>
                    <a:pt x="6" y="46"/>
                  </a:moveTo>
                  <a:cubicBezTo>
                    <a:pt x="19" y="45"/>
                    <a:pt x="19" y="45"/>
                    <a:pt x="19" y="45"/>
                  </a:cubicBezTo>
                  <a:cubicBezTo>
                    <a:pt x="17" y="30"/>
                    <a:pt x="16" y="15"/>
                    <a:pt x="1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16"/>
                    <a:pt x="4" y="31"/>
                    <a:pt x="6" y="46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0" name="ï$ļíde">
              <a:extLst>
                <a:ext uri="{FF2B5EF4-FFF2-40B4-BE49-F238E27FC236}">
                  <a16:creationId xmlns:a16="http://schemas.microsoft.com/office/drawing/2014/main" xmlns="" id="{71D36C72-E76B-420C-9E8E-2A4E49CF7222}"/>
                </a:ext>
              </a:extLst>
            </p:cNvPr>
            <p:cNvSpPr/>
            <p:nvPr/>
          </p:nvSpPr>
          <p:spPr bwMode="auto">
            <a:xfrm>
              <a:off x="8831424" y="5006713"/>
              <a:ext cx="83175" cy="92413"/>
            </a:xfrm>
            <a:custGeom>
              <a:avLst/>
              <a:gdLst>
                <a:gd name="T0" fmla="*/ 0 w 39"/>
                <a:gd name="T1" fmla="*/ 34 h 43"/>
                <a:gd name="T2" fmla="*/ 10 w 39"/>
                <a:gd name="T3" fmla="*/ 43 h 43"/>
                <a:gd name="T4" fmla="*/ 39 w 39"/>
                <a:gd name="T5" fmla="*/ 9 h 43"/>
                <a:gd name="T6" fmla="*/ 28 w 39"/>
                <a:gd name="T7" fmla="*/ 0 h 43"/>
                <a:gd name="T8" fmla="*/ 0 w 39"/>
                <a:gd name="T9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3">
                  <a:moveTo>
                    <a:pt x="0" y="34"/>
                  </a:moveTo>
                  <a:cubicBezTo>
                    <a:pt x="10" y="43"/>
                    <a:pt x="10" y="43"/>
                    <a:pt x="10" y="43"/>
                  </a:cubicBezTo>
                  <a:cubicBezTo>
                    <a:pt x="20" y="32"/>
                    <a:pt x="29" y="20"/>
                    <a:pt x="39" y="9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12"/>
                    <a:pt x="9" y="23"/>
                    <a:pt x="0" y="34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1" name="ïs1ïḑe">
              <a:extLst>
                <a:ext uri="{FF2B5EF4-FFF2-40B4-BE49-F238E27FC236}">
                  <a16:creationId xmlns:a16="http://schemas.microsoft.com/office/drawing/2014/main" xmlns="" id="{44CEC283-2BF6-4534-87EE-7488C4FB9CED}"/>
                </a:ext>
              </a:extLst>
            </p:cNvPr>
            <p:cNvSpPr/>
            <p:nvPr/>
          </p:nvSpPr>
          <p:spPr bwMode="auto">
            <a:xfrm>
              <a:off x="8702047" y="5145336"/>
              <a:ext cx="83175" cy="92413"/>
            </a:xfrm>
            <a:custGeom>
              <a:avLst/>
              <a:gdLst>
                <a:gd name="T0" fmla="*/ 0 w 41"/>
                <a:gd name="T1" fmla="*/ 32 h 42"/>
                <a:gd name="T2" fmla="*/ 10 w 41"/>
                <a:gd name="T3" fmla="*/ 42 h 42"/>
                <a:gd name="T4" fmla="*/ 41 w 41"/>
                <a:gd name="T5" fmla="*/ 10 h 42"/>
                <a:gd name="T6" fmla="*/ 32 w 41"/>
                <a:gd name="T7" fmla="*/ 0 h 42"/>
                <a:gd name="T8" fmla="*/ 0 w 41"/>
                <a:gd name="T9" fmla="*/ 3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2">
                  <a:moveTo>
                    <a:pt x="0" y="32"/>
                  </a:moveTo>
                  <a:cubicBezTo>
                    <a:pt x="10" y="42"/>
                    <a:pt x="10" y="42"/>
                    <a:pt x="10" y="42"/>
                  </a:cubicBezTo>
                  <a:cubicBezTo>
                    <a:pt x="20" y="31"/>
                    <a:pt x="31" y="20"/>
                    <a:pt x="41" y="1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1" y="11"/>
                    <a:pt x="11" y="22"/>
                    <a:pt x="0" y="32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2" name="išļíḋé">
              <a:extLst>
                <a:ext uri="{FF2B5EF4-FFF2-40B4-BE49-F238E27FC236}">
                  <a16:creationId xmlns:a16="http://schemas.microsoft.com/office/drawing/2014/main" xmlns="" id="{3856415F-6E1E-40F7-992F-C0C898F77524}"/>
                </a:ext>
              </a:extLst>
            </p:cNvPr>
            <p:cNvSpPr/>
            <p:nvPr/>
          </p:nvSpPr>
          <p:spPr bwMode="auto">
            <a:xfrm>
              <a:off x="8951565" y="4858852"/>
              <a:ext cx="73931" cy="92413"/>
            </a:xfrm>
            <a:custGeom>
              <a:avLst/>
              <a:gdLst>
                <a:gd name="T0" fmla="*/ 0 w 36"/>
                <a:gd name="T1" fmla="*/ 36 h 44"/>
                <a:gd name="T2" fmla="*/ 10 w 36"/>
                <a:gd name="T3" fmla="*/ 44 h 44"/>
                <a:gd name="T4" fmla="*/ 36 w 36"/>
                <a:gd name="T5" fmla="*/ 7 h 44"/>
                <a:gd name="T6" fmla="*/ 25 w 36"/>
                <a:gd name="T7" fmla="*/ 0 h 44"/>
                <a:gd name="T8" fmla="*/ 0 w 36"/>
                <a:gd name="T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44">
                  <a:moveTo>
                    <a:pt x="0" y="36"/>
                  </a:moveTo>
                  <a:cubicBezTo>
                    <a:pt x="10" y="44"/>
                    <a:pt x="10" y="44"/>
                    <a:pt x="10" y="44"/>
                  </a:cubicBezTo>
                  <a:cubicBezTo>
                    <a:pt x="19" y="32"/>
                    <a:pt x="28" y="19"/>
                    <a:pt x="36" y="7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12"/>
                    <a:pt x="8" y="24"/>
                    <a:pt x="0" y="36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3" name="íŝľïḑé">
              <a:extLst>
                <a:ext uri="{FF2B5EF4-FFF2-40B4-BE49-F238E27FC236}">
                  <a16:creationId xmlns:a16="http://schemas.microsoft.com/office/drawing/2014/main" xmlns="" id="{7ED061FD-8F6C-4E12-9CFC-FB0B30AB0148}"/>
                </a:ext>
              </a:extLst>
            </p:cNvPr>
            <p:cNvSpPr/>
            <p:nvPr/>
          </p:nvSpPr>
          <p:spPr bwMode="auto">
            <a:xfrm>
              <a:off x="9145630" y="2539289"/>
              <a:ext cx="73931" cy="92413"/>
            </a:xfrm>
            <a:custGeom>
              <a:avLst/>
              <a:gdLst>
                <a:gd name="T0" fmla="*/ 12 w 32"/>
                <a:gd name="T1" fmla="*/ 0 h 46"/>
                <a:gd name="T2" fmla="*/ 0 w 32"/>
                <a:gd name="T3" fmla="*/ 6 h 46"/>
                <a:gd name="T4" fmla="*/ 19 w 32"/>
                <a:gd name="T5" fmla="*/ 46 h 46"/>
                <a:gd name="T6" fmla="*/ 32 w 32"/>
                <a:gd name="T7" fmla="*/ 40 h 46"/>
                <a:gd name="T8" fmla="*/ 12 w 32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6">
                  <a:moveTo>
                    <a:pt x="12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7" y="19"/>
                    <a:pt x="13" y="32"/>
                    <a:pt x="19" y="46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25" y="27"/>
                    <a:pt x="19" y="13"/>
                    <a:pt x="12" y="0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4" name="îsḷïďê">
              <a:extLst>
                <a:ext uri="{FF2B5EF4-FFF2-40B4-BE49-F238E27FC236}">
                  <a16:creationId xmlns:a16="http://schemas.microsoft.com/office/drawing/2014/main" xmlns="" id="{25E03621-5CC3-424B-8BB6-CB6A880DA04B}"/>
                </a:ext>
              </a:extLst>
            </p:cNvPr>
            <p:cNvSpPr/>
            <p:nvPr/>
          </p:nvSpPr>
          <p:spPr bwMode="auto">
            <a:xfrm>
              <a:off x="9284251" y="4184241"/>
              <a:ext cx="55448" cy="101657"/>
            </a:xfrm>
            <a:custGeom>
              <a:avLst/>
              <a:gdLst>
                <a:gd name="T0" fmla="*/ 0 w 26"/>
                <a:gd name="T1" fmla="*/ 43 h 47"/>
                <a:gd name="T2" fmla="*/ 13 w 26"/>
                <a:gd name="T3" fmla="*/ 47 h 47"/>
                <a:gd name="T4" fmla="*/ 26 w 26"/>
                <a:gd name="T5" fmla="*/ 4 h 47"/>
                <a:gd name="T6" fmla="*/ 13 w 26"/>
                <a:gd name="T7" fmla="*/ 0 h 47"/>
                <a:gd name="T8" fmla="*/ 0 w 26"/>
                <a:gd name="T9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7">
                  <a:moveTo>
                    <a:pt x="0" y="43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8" y="33"/>
                    <a:pt x="22" y="18"/>
                    <a:pt x="26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14"/>
                    <a:pt x="5" y="29"/>
                    <a:pt x="0" y="43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5" name="íṧḷíḋe">
              <a:extLst>
                <a:ext uri="{FF2B5EF4-FFF2-40B4-BE49-F238E27FC236}">
                  <a16:creationId xmlns:a16="http://schemas.microsoft.com/office/drawing/2014/main" xmlns="" id="{0F2D5306-3080-4882-92BB-F0D4089F85BC}"/>
                </a:ext>
              </a:extLst>
            </p:cNvPr>
            <p:cNvSpPr/>
            <p:nvPr/>
          </p:nvSpPr>
          <p:spPr bwMode="auto">
            <a:xfrm>
              <a:off x="9219559" y="4359822"/>
              <a:ext cx="64692" cy="101657"/>
            </a:xfrm>
            <a:custGeom>
              <a:avLst/>
              <a:gdLst>
                <a:gd name="T0" fmla="*/ 0 w 28"/>
                <a:gd name="T1" fmla="*/ 41 h 47"/>
                <a:gd name="T2" fmla="*/ 12 w 28"/>
                <a:gd name="T3" fmla="*/ 47 h 47"/>
                <a:gd name="T4" fmla="*/ 28 w 28"/>
                <a:gd name="T5" fmla="*/ 5 h 47"/>
                <a:gd name="T6" fmla="*/ 16 w 28"/>
                <a:gd name="T7" fmla="*/ 0 h 47"/>
                <a:gd name="T8" fmla="*/ 0 w 28"/>
                <a:gd name="T9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7">
                  <a:moveTo>
                    <a:pt x="0" y="41"/>
                  </a:moveTo>
                  <a:cubicBezTo>
                    <a:pt x="12" y="47"/>
                    <a:pt x="12" y="47"/>
                    <a:pt x="12" y="47"/>
                  </a:cubicBezTo>
                  <a:cubicBezTo>
                    <a:pt x="18" y="33"/>
                    <a:pt x="23" y="19"/>
                    <a:pt x="28" y="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14"/>
                    <a:pt x="5" y="28"/>
                    <a:pt x="0" y="41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6" name="íSľiďé">
              <a:extLst>
                <a:ext uri="{FF2B5EF4-FFF2-40B4-BE49-F238E27FC236}">
                  <a16:creationId xmlns:a16="http://schemas.microsoft.com/office/drawing/2014/main" xmlns="" id="{908BD483-51A2-4501-BC33-327DB2DBAB4C}"/>
                </a:ext>
              </a:extLst>
            </p:cNvPr>
            <p:cNvSpPr/>
            <p:nvPr/>
          </p:nvSpPr>
          <p:spPr bwMode="auto">
            <a:xfrm>
              <a:off x="9339699" y="3999414"/>
              <a:ext cx="46209" cy="101657"/>
            </a:xfrm>
            <a:custGeom>
              <a:avLst/>
              <a:gdLst>
                <a:gd name="T0" fmla="*/ 0 w 22"/>
                <a:gd name="T1" fmla="*/ 44 h 47"/>
                <a:gd name="T2" fmla="*/ 13 w 22"/>
                <a:gd name="T3" fmla="*/ 47 h 47"/>
                <a:gd name="T4" fmla="*/ 22 w 22"/>
                <a:gd name="T5" fmla="*/ 3 h 47"/>
                <a:gd name="T6" fmla="*/ 9 w 22"/>
                <a:gd name="T7" fmla="*/ 0 h 47"/>
                <a:gd name="T8" fmla="*/ 0 w 22"/>
                <a:gd name="T9" fmla="*/ 4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7">
                  <a:moveTo>
                    <a:pt x="0" y="44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6" y="32"/>
                    <a:pt x="19" y="18"/>
                    <a:pt x="22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15"/>
                    <a:pt x="3" y="30"/>
                    <a:pt x="0" y="44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7" name="îṥḻíḍé">
              <a:extLst>
                <a:ext uri="{FF2B5EF4-FFF2-40B4-BE49-F238E27FC236}">
                  <a16:creationId xmlns:a16="http://schemas.microsoft.com/office/drawing/2014/main" xmlns="" id="{77C1D738-7819-4FBF-858D-3D0297C74E45}"/>
                </a:ext>
              </a:extLst>
            </p:cNvPr>
            <p:cNvSpPr/>
            <p:nvPr/>
          </p:nvSpPr>
          <p:spPr bwMode="auto">
            <a:xfrm>
              <a:off x="9367420" y="3814588"/>
              <a:ext cx="46209" cy="101657"/>
            </a:xfrm>
            <a:custGeom>
              <a:avLst/>
              <a:gdLst>
                <a:gd name="T0" fmla="*/ 20 w 20"/>
                <a:gd name="T1" fmla="*/ 2 h 49"/>
                <a:gd name="T2" fmla="*/ 7 w 20"/>
                <a:gd name="T3" fmla="*/ 0 h 49"/>
                <a:gd name="T4" fmla="*/ 7 w 20"/>
                <a:gd name="T5" fmla="*/ 2 h 49"/>
                <a:gd name="T6" fmla="*/ 0 w 20"/>
                <a:gd name="T7" fmla="*/ 47 h 49"/>
                <a:gd name="T8" fmla="*/ 14 w 20"/>
                <a:gd name="T9" fmla="*/ 49 h 49"/>
                <a:gd name="T10" fmla="*/ 20 w 20"/>
                <a:gd name="T11" fmla="*/ 4 h 49"/>
                <a:gd name="T12" fmla="*/ 20 w 20"/>
                <a:gd name="T13" fmla="*/ 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9">
                  <a:moveTo>
                    <a:pt x="20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5" y="17"/>
                    <a:pt x="2" y="32"/>
                    <a:pt x="0" y="47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6" y="34"/>
                    <a:pt x="18" y="19"/>
                    <a:pt x="20" y="4"/>
                  </a:cubicBezTo>
                  <a:lnTo>
                    <a:pt x="20" y="2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8" name="isḷïďè">
              <a:extLst>
                <a:ext uri="{FF2B5EF4-FFF2-40B4-BE49-F238E27FC236}">
                  <a16:creationId xmlns:a16="http://schemas.microsoft.com/office/drawing/2014/main" xmlns="" id="{90889E44-B7B3-4BDF-8013-DF00AC2FF6D8}"/>
                </a:ext>
              </a:extLst>
            </p:cNvPr>
            <p:cNvSpPr/>
            <p:nvPr/>
          </p:nvSpPr>
          <p:spPr bwMode="auto">
            <a:xfrm>
              <a:off x="9228803" y="2714871"/>
              <a:ext cx="55448" cy="92413"/>
            </a:xfrm>
            <a:custGeom>
              <a:avLst/>
              <a:gdLst>
                <a:gd name="T0" fmla="*/ 12 w 29"/>
                <a:gd name="T1" fmla="*/ 0 h 46"/>
                <a:gd name="T2" fmla="*/ 0 w 29"/>
                <a:gd name="T3" fmla="*/ 5 h 46"/>
                <a:gd name="T4" fmla="*/ 16 w 29"/>
                <a:gd name="T5" fmla="*/ 46 h 46"/>
                <a:gd name="T6" fmla="*/ 29 w 29"/>
                <a:gd name="T7" fmla="*/ 42 h 46"/>
                <a:gd name="T8" fmla="*/ 12 w 29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6">
                  <a:moveTo>
                    <a:pt x="12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6" y="18"/>
                    <a:pt x="11" y="32"/>
                    <a:pt x="16" y="46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3" y="28"/>
                    <a:pt x="18" y="13"/>
                    <a:pt x="12" y="0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9" name="ïSḷïḓê">
              <a:extLst>
                <a:ext uri="{FF2B5EF4-FFF2-40B4-BE49-F238E27FC236}">
                  <a16:creationId xmlns:a16="http://schemas.microsoft.com/office/drawing/2014/main" xmlns="" id="{48096F51-EA8C-4C02-800B-70AB9C430896}"/>
                </a:ext>
              </a:extLst>
            </p:cNvPr>
            <p:cNvSpPr/>
            <p:nvPr/>
          </p:nvSpPr>
          <p:spPr bwMode="auto">
            <a:xfrm>
              <a:off x="9053216" y="4701754"/>
              <a:ext cx="73931" cy="92413"/>
            </a:xfrm>
            <a:custGeom>
              <a:avLst/>
              <a:gdLst>
                <a:gd name="T0" fmla="*/ 0 w 34"/>
                <a:gd name="T1" fmla="*/ 38 h 45"/>
                <a:gd name="T2" fmla="*/ 11 w 34"/>
                <a:gd name="T3" fmla="*/ 45 h 45"/>
                <a:gd name="T4" fmla="*/ 34 w 34"/>
                <a:gd name="T5" fmla="*/ 6 h 45"/>
                <a:gd name="T6" fmla="*/ 22 w 34"/>
                <a:gd name="T7" fmla="*/ 0 h 45"/>
                <a:gd name="T8" fmla="*/ 0 w 34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5">
                  <a:moveTo>
                    <a:pt x="0" y="38"/>
                  </a:moveTo>
                  <a:cubicBezTo>
                    <a:pt x="11" y="45"/>
                    <a:pt x="11" y="45"/>
                    <a:pt x="11" y="45"/>
                  </a:cubicBezTo>
                  <a:cubicBezTo>
                    <a:pt x="19" y="32"/>
                    <a:pt x="27" y="19"/>
                    <a:pt x="34" y="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5" y="13"/>
                    <a:pt x="7" y="26"/>
                    <a:pt x="0" y="38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0" name="íSliḍê">
              <a:extLst>
                <a:ext uri="{FF2B5EF4-FFF2-40B4-BE49-F238E27FC236}">
                  <a16:creationId xmlns:a16="http://schemas.microsoft.com/office/drawing/2014/main" xmlns="" id="{05B8F57E-9B63-40EB-B492-282E29C1F84E}"/>
                </a:ext>
              </a:extLst>
            </p:cNvPr>
            <p:cNvSpPr/>
            <p:nvPr/>
          </p:nvSpPr>
          <p:spPr bwMode="auto">
            <a:xfrm>
              <a:off x="9293489" y="2890458"/>
              <a:ext cx="46209" cy="92413"/>
            </a:xfrm>
            <a:custGeom>
              <a:avLst/>
              <a:gdLst>
                <a:gd name="T0" fmla="*/ 13 w 25"/>
                <a:gd name="T1" fmla="*/ 0 h 47"/>
                <a:gd name="T2" fmla="*/ 0 w 25"/>
                <a:gd name="T3" fmla="*/ 4 h 47"/>
                <a:gd name="T4" fmla="*/ 13 w 25"/>
                <a:gd name="T5" fmla="*/ 47 h 47"/>
                <a:gd name="T6" fmla="*/ 25 w 25"/>
                <a:gd name="T7" fmla="*/ 43 h 47"/>
                <a:gd name="T8" fmla="*/ 13 w 25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7">
                  <a:moveTo>
                    <a:pt x="1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4" y="18"/>
                    <a:pt x="9" y="33"/>
                    <a:pt x="13" y="47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2" y="29"/>
                    <a:pt x="17" y="14"/>
                    <a:pt x="13" y="0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1" name="íṧḷíde">
              <a:extLst>
                <a:ext uri="{FF2B5EF4-FFF2-40B4-BE49-F238E27FC236}">
                  <a16:creationId xmlns:a16="http://schemas.microsoft.com/office/drawing/2014/main" xmlns="" id="{B7521D4F-3728-47B8-A4C8-66D76D97DB3D}"/>
                </a:ext>
              </a:extLst>
            </p:cNvPr>
            <p:cNvSpPr/>
            <p:nvPr/>
          </p:nvSpPr>
          <p:spPr bwMode="auto">
            <a:xfrm>
              <a:off x="9339699" y="3066040"/>
              <a:ext cx="46209" cy="101657"/>
            </a:xfrm>
            <a:custGeom>
              <a:avLst/>
              <a:gdLst>
                <a:gd name="T0" fmla="*/ 13 w 22"/>
                <a:gd name="T1" fmla="*/ 0 h 47"/>
                <a:gd name="T2" fmla="*/ 0 w 22"/>
                <a:gd name="T3" fmla="*/ 3 h 47"/>
                <a:gd name="T4" fmla="*/ 9 w 22"/>
                <a:gd name="T5" fmla="*/ 47 h 47"/>
                <a:gd name="T6" fmla="*/ 22 w 22"/>
                <a:gd name="T7" fmla="*/ 44 h 47"/>
                <a:gd name="T8" fmla="*/ 13 w 22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47">
                  <a:moveTo>
                    <a:pt x="13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18"/>
                    <a:pt x="7" y="32"/>
                    <a:pt x="9" y="47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0" y="30"/>
                    <a:pt x="17" y="15"/>
                    <a:pt x="13" y="0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2" name="íṡḷïḋê">
              <a:extLst>
                <a:ext uri="{FF2B5EF4-FFF2-40B4-BE49-F238E27FC236}">
                  <a16:creationId xmlns:a16="http://schemas.microsoft.com/office/drawing/2014/main" xmlns="" id="{62A22DC3-81FD-4DF9-8D76-729C9996C519}"/>
                </a:ext>
              </a:extLst>
            </p:cNvPr>
            <p:cNvSpPr/>
            <p:nvPr/>
          </p:nvSpPr>
          <p:spPr bwMode="auto">
            <a:xfrm>
              <a:off x="9145630" y="4535410"/>
              <a:ext cx="64692" cy="92413"/>
            </a:xfrm>
            <a:custGeom>
              <a:avLst/>
              <a:gdLst>
                <a:gd name="T0" fmla="*/ 0 w 32"/>
                <a:gd name="T1" fmla="*/ 40 h 47"/>
                <a:gd name="T2" fmla="*/ 12 w 32"/>
                <a:gd name="T3" fmla="*/ 47 h 47"/>
                <a:gd name="T4" fmla="*/ 32 w 32"/>
                <a:gd name="T5" fmla="*/ 6 h 47"/>
                <a:gd name="T6" fmla="*/ 20 w 32"/>
                <a:gd name="T7" fmla="*/ 0 h 47"/>
                <a:gd name="T8" fmla="*/ 0 w 32"/>
                <a:gd name="T9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7">
                  <a:moveTo>
                    <a:pt x="0" y="40"/>
                  </a:moveTo>
                  <a:cubicBezTo>
                    <a:pt x="12" y="47"/>
                    <a:pt x="12" y="47"/>
                    <a:pt x="12" y="47"/>
                  </a:cubicBezTo>
                  <a:cubicBezTo>
                    <a:pt x="19" y="33"/>
                    <a:pt x="26" y="20"/>
                    <a:pt x="32" y="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4" y="14"/>
                    <a:pt x="7" y="27"/>
                    <a:pt x="0" y="40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3" name="îṩḷíḓé">
              <a:extLst>
                <a:ext uri="{FF2B5EF4-FFF2-40B4-BE49-F238E27FC236}">
                  <a16:creationId xmlns:a16="http://schemas.microsoft.com/office/drawing/2014/main" xmlns="" id="{60E4957A-740D-49E2-8CEF-34578594D42D}"/>
                </a:ext>
              </a:extLst>
            </p:cNvPr>
            <p:cNvSpPr/>
            <p:nvPr/>
          </p:nvSpPr>
          <p:spPr bwMode="auto">
            <a:xfrm>
              <a:off x="4968561" y="3990170"/>
              <a:ext cx="397378" cy="646891"/>
            </a:xfrm>
            <a:prstGeom prst="rect">
              <a:avLst/>
            </a:pr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4" name="iŝḻíḑe">
              <a:extLst>
                <a:ext uri="{FF2B5EF4-FFF2-40B4-BE49-F238E27FC236}">
                  <a16:creationId xmlns:a16="http://schemas.microsoft.com/office/drawing/2014/main" xmlns="" id="{112891EF-AD39-4219-A517-71FBDB0A7CED}"/>
                </a:ext>
              </a:extLst>
            </p:cNvPr>
            <p:cNvSpPr/>
            <p:nvPr/>
          </p:nvSpPr>
          <p:spPr bwMode="auto">
            <a:xfrm>
              <a:off x="4913113" y="4637061"/>
              <a:ext cx="508274" cy="120140"/>
            </a:xfrm>
            <a:custGeom>
              <a:avLst/>
              <a:gdLst>
                <a:gd name="T0" fmla="*/ 214 w 240"/>
                <a:gd name="T1" fmla="*/ 56 h 56"/>
                <a:gd name="T2" fmla="*/ 25 w 240"/>
                <a:gd name="T3" fmla="*/ 56 h 56"/>
                <a:gd name="T4" fmla="*/ 0 w 240"/>
                <a:gd name="T5" fmla="*/ 31 h 56"/>
                <a:gd name="T6" fmla="*/ 0 w 240"/>
                <a:gd name="T7" fmla="*/ 25 h 56"/>
                <a:gd name="T8" fmla="*/ 25 w 240"/>
                <a:gd name="T9" fmla="*/ 0 h 56"/>
                <a:gd name="T10" fmla="*/ 214 w 240"/>
                <a:gd name="T11" fmla="*/ 0 h 56"/>
                <a:gd name="T12" fmla="*/ 240 w 240"/>
                <a:gd name="T13" fmla="*/ 25 h 56"/>
                <a:gd name="T14" fmla="*/ 240 w 240"/>
                <a:gd name="T15" fmla="*/ 31 h 56"/>
                <a:gd name="T16" fmla="*/ 214 w 240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0" h="56">
                  <a:moveTo>
                    <a:pt x="214" y="56"/>
                  </a:moveTo>
                  <a:cubicBezTo>
                    <a:pt x="25" y="56"/>
                    <a:pt x="25" y="56"/>
                    <a:pt x="25" y="56"/>
                  </a:cubicBezTo>
                  <a:cubicBezTo>
                    <a:pt x="11" y="56"/>
                    <a:pt x="0" y="45"/>
                    <a:pt x="0" y="3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28" y="0"/>
                    <a:pt x="240" y="12"/>
                    <a:pt x="240" y="25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45"/>
                    <a:pt x="228" y="56"/>
                    <a:pt x="214" y="56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5" name="íṡľíḓê">
              <a:extLst>
                <a:ext uri="{FF2B5EF4-FFF2-40B4-BE49-F238E27FC236}">
                  <a16:creationId xmlns:a16="http://schemas.microsoft.com/office/drawing/2014/main" xmlns="" id="{BF5EF293-76DC-4751-9D8A-15F6A2BB5617}"/>
                </a:ext>
              </a:extLst>
            </p:cNvPr>
            <p:cNvSpPr/>
            <p:nvPr/>
          </p:nvSpPr>
          <p:spPr bwMode="auto">
            <a:xfrm>
              <a:off x="3397541" y="4803405"/>
              <a:ext cx="3530177" cy="397376"/>
            </a:xfrm>
            <a:custGeom>
              <a:avLst/>
              <a:gdLst>
                <a:gd name="T0" fmla="*/ 1613 w 1685"/>
                <a:gd name="T1" fmla="*/ 190 h 190"/>
                <a:gd name="T2" fmla="*/ 73 w 1685"/>
                <a:gd name="T3" fmla="*/ 190 h 190"/>
                <a:gd name="T4" fmla="*/ 0 w 1685"/>
                <a:gd name="T5" fmla="*/ 117 h 190"/>
                <a:gd name="T6" fmla="*/ 0 w 1685"/>
                <a:gd name="T7" fmla="*/ 73 h 190"/>
                <a:gd name="T8" fmla="*/ 73 w 1685"/>
                <a:gd name="T9" fmla="*/ 0 h 190"/>
                <a:gd name="T10" fmla="*/ 1613 w 1685"/>
                <a:gd name="T11" fmla="*/ 0 h 190"/>
                <a:gd name="T12" fmla="*/ 1685 w 1685"/>
                <a:gd name="T13" fmla="*/ 73 h 190"/>
                <a:gd name="T14" fmla="*/ 1685 w 1685"/>
                <a:gd name="T15" fmla="*/ 117 h 190"/>
                <a:gd name="T16" fmla="*/ 1613 w 1685"/>
                <a:gd name="T17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85" h="190">
                  <a:moveTo>
                    <a:pt x="1613" y="190"/>
                  </a:moveTo>
                  <a:cubicBezTo>
                    <a:pt x="73" y="190"/>
                    <a:pt x="73" y="190"/>
                    <a:pt x="73" y="190"/>
                  </a:cubicBezTo>
                  <a:cubicBezTo>
                    <a:pt x="33" y="190"/>
                    <a:pt x="0" y="157"/>
                    <a:pt x="0" y="11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613" y="0"/>
                    <a:pt x="1613" y="0"/>
                    <a:pt x="1613" y="0"/>
                  </a:cubicBezTo>
                  <a:cubicBezTo>
                    <a:pt x="1653" y="0"/>
                    <a:pt x="1685" y="33"/>
                    <a:pt x="1685" y="73"/>
                  </a:cubicBezTo>
                  <a:cubicBezTo>
                    <a:pt x="1685" y="117"/>
                    <a:pt x="1685" y="117"/>
                    <a:pt x="1685" y="117"/>
                  </a:cubicBezTo>
                  <a:cubicBezTo>
                    <a:pt x="1685" y="157"/>
                    <a:pt x="1653" y="190"/>
                    <a:pt x="1613" y="190"/>
                  </a:cubicBezTo>
                  <a:close/>
                </a:path>
              </a:pathLst>
            </a:custGeom>
            <a:solidFill>
              <a:srgbClr val="5A6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6" name="íṩ1iďé">
              <a:extLst>
                <a:ext uri="{FF2B5EF4-FFF2-40B4-BE49-F238E27FC236}">
                  <a16:creationId xmlns:a16="http://schemas.microsoft.com/office/drawing/2014/main" xmlns="" id="{FA1A8B8A-9287-4843-8F59-5295D327B334}"/>
                </a:ext>
              </a:extLst>
            </p:cNvPr>
            <p:cNvSpPr/>
            <p:nvPr/>
          </p:nvSpPr>
          <p:spPr bwMode="auto">
            <a:xfrm>
              <a:off x="3397541" y="4794165"/>
              <a:ext cx="3530177" cy="194071"/>
            </a:xfrm>
            <a:custGeom>
              <a:avLst/>
              <a:gdLst>
                <a:gd name="T0" fmla="*/ 1688 w 1688"/>
                <a:gd name="T1" fmla="*/ 73 h 92"/>
                <a:gd name="T2" fmla="*/ 1688 w 1688"/>
                <a:gd name="T3" fmla="*/ 92 h 92"/>
                <a:gd name="T4" fmla="*/ 0 w 1688"/>
                <a:gd name="T5" fmla="*/ 92 h 92"/>
                <a:gd name="T6" fmla="*/ 0 w 1688"/>
                <a:gd name="T7" fmla="*/ 73 h 92"/>
                <a:gd name="T8" fmla="*/ 73 w 1688"/>
                <a:gd name="T9" fmla="*/ 0 h 92"/>
                <a:gd name="T10" fmla="*/ 1613 w 1688"/>
                <a:gd name="T11" fmla="*/ 0 h 92"/>
                <a:gd name="T12" fmla="*/ 1688 w 1688"/>
                <a:gd name="T13" fmla="*/ 7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8" h="92">
                  <a:moveTo>
                    <a:pt x="1688" y="73"/>
                  </a:moveTo>
                  <a:cubicBezTo>
                    <a:pt x="1688" y="92"/>
                    <a:pt x="1688" y="92"/>
                    <a:pt x="1688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1613" y="0"/>
                    <a:pt x="1613" y="0"/>
                    <a:pt x="1613" y="0"/>
                  </a:cubicBezTo>
                  <a:cubicBezTo>
                    <a:pt x="1653" y="0"/>
                    <a:pt x="1688" y="33"/>
                    <a:pt x="1688" y="73"/>
                  </a:cubicBezTo>
                  <a:close/>
                </a:path>
              </a:pathLst>
            </a:custGeom>
            <a:solidFill>
              <a:srgbClr val="4B5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7" name="ïṣ1îḍè">
              <a:extLst>
                <a:ext uri="{FF2B5EF4-FFF2-40B4-BE49-F238E27FC236}">
                  <a16:creationId xmlns:a16="http://schemas.microsoft.com/office/drawing/2014/main" xmlns="" id="{76D19B48-75FB-4272-9159-C69560426BDB}"/>
                </a:ext>
              </a:extLst>
            </p:cNvPr>
            <p:cNvSpPr/>
            <p:nvPr/>
          </p:nvSpPr>
          <p:spPr bwMode="auto">
            <a:xfrm>
              <a:off x="7177235" y="3260109"/>
              <a:ext cx="360413" cy="360413"/>
            </a:xfrm>
            <a:custGeom>
              <a:avLst/>
              <a:gdLst>
                <a:gd name="T0" fmla="*/ 167 w 170"/>
                <a:gd name="T1" fmla="*/ 69 h 173"/>
                <a:gd name="T2" fmla="*/ 154 w 170"/>
                <a:gd name="T3" fmla="*/ 69 h 173"/>
                <a:gd name="T4" fmla="*/ 145 w 170"/>
                <a:gd name="T5" fmla="*/ 48 h 173"/>
                <a:gd name="T6" fmla="*/ 145 w 170"/>
                <a:gd name="T7" fmla="*/ 48 h 173"/>
                <a:gd name="T8" fmla="*/ 155 w 170"/>
                <a:gd name="T9" fmla="*/ 38 h 173"/>
                <a:gd name="T10" fmla="*/ 155 w 170"/>
                <a:gd name="T11" fmla="*/ 31 h 173"/>
                <a:gd name="T12" fmla="*/ 139 w 170"/>
                <a:gd name="T13" fmla="*/ 15 h 173"/>
                <a:gd name="T14" fmla="*/ 131 w 170"/>
                <a:gd name="T15" fmla="*/ 15 h 173"/>
                <a:gd name="T16" fmla="*/ 123 w 170"/>
                <a:gd name="T17" fmla="*/ 24 h 173"/>
                <a:gd name="T18" fmla="*/ 104 w 170"/>
                <a:gd name="T19" fmla="*/ 16 h 173"/>
                <a:gd name="T20" fmla="*/ 104 w 170"/>
                <a:gd name="T21" fmla="*/ 2 h 173"/>
                <a:gd name="T22" fmla="*/ 96 w 170"/>
                <a:gd name="T23" fmla="*/ 1 h 173"/>
                <a:gd name="T24" fmla="*/ 74 w 170"/>
                <a:gd name="T25" fmla="*/ 1 h 173"/>
                <a:gd name="T26" fmla="*/ 64 w 170"/>
                <a:gd name="T27" fmla="*/ 2 h 173"/>
                <a:gd name="T28" fmla="*/ 64 w 170"/>
                <a:gd name="T29" fmla="*/ 15 h 173"/>
                <a:gd name="T30" fmla="*/ 46 w 170"/>
                <a:gd name="T31" fmla="*/ 24 h 173"/>
                <a:gd name="T32" fmla="*/ 47 w 170"/>
                <a:gd name="T33" fmla="*/ 24 h 173"/>
                <a:gd name="T34" fmla="*/ 38 w 170"/>
                <a:gd name="T35" fmla="*/ 15 h 173"/>
                <a:gd name="T36" fmla="*/ 31 w 170"/>
                <a:gd name="T37" fmla="*/ 15 h 173"/>
                <a:gd name="T38" fmla="*/ 15 w 170"/>
                <a:gd name="T39" fmla="*/ 31 h 173"/>
                <a:gd name="T40" fmla="*/ 15 w 170"/>
                <a:gd name="T41" fmla="*/ 38 h 173"/>
                <a:gd name="T42" fmla="*/ 25 w 170"/>
                <a:gd name="T43" fmla="*/ 48 h 173"/>
                <a:gd name="T44" fmla="*/ 16 w 170"/>
                <a:gd name="T45" fmla="*/ 69 h 173"/>
                <a:gd name="T46" fmla="*/ 3 w 170"/>
                <a:gd name="T47" fmla="*/ 69 h 173"/>
                <a:gd name="T48" fmla="*/ 0 w 170"/>
                <a:gd name="T49" fmla="*/ 73 h 173"/>
                <a:gd name="T50" fmla="*/ 0 w 170"/>
                <a:gd name="T51" fmla="*/ 96 h 173"/>
                <a:gd name="T52" fmla="*/ 3 w 170"/>
                <a:gd name="T53" fmla="*/ 105 h 173"/>
                <a:gd name="T54" fmla="*/ 16 w 170"/>
                <a:gd name="T55" fmla="*/ 105 h 173"/>
                <a:gd name="T56" fmla="*/ 25 w 170"/>
                <a:gd name="T57" fmla="*/ 123 h 173"/>
                <a:gd name="T58" fmla="*/ 25 w 170"/>
                <a:gd name="T59" fmla="*/ 122 h 173"/>
                <a:gd name="T60" fmla="*/ 16 w 170"/>
                <a:gd name="T61" fmla="*/ 131 h 173"/>
                <a:gd name="T62" fmla="*/ 16 w 170"/>
                <a:gd name="T63" fmla="*/ 138 h 173"/>
                <a:gd name="T64" fmla="*/ 32 w 170"/>
                <a:gd name="T65" fmla="*/ 154 h 173"/>
                <a:gd name="T66" fmla="*/ 39 w 170"/>
                <a:gd name="T67" fmla="*/ 154 h 173"/>
                <a:gd name="T68" fmla="*/ 46 w 170"/>
                <a:gd name="T69" fmla="*/ 145 h 173"/>
                <a:gd name="T70" fmla="*/ 64 w 170"/>
                <a:gd name="T71" fmla="*/ 153 h 173"/>
                <a:gd name="T72" fmla="*/ 64 w 170"/>
                <a:gd name="T73" fmla="*/ 166 h 173"/>
                <a:gd name="T74" fmla="*/ 74 w 170"/>
                <a:gd name="T75" fmla="*/ 173 h 173"/>
                <a:gd name="T76" fmla="*/ 96 w 170"/>
                <a:gd name="T77" fmla="*/ 173 h 173"/>
                <a:gd name="T78" fmla="*/ 104 w 170"/>
                <a:gd name="T79" fmla="*/ 166 h 173"/>
                <a:gd name="T80" fmla="*/ 104 w 170"/>
                <a:gd name="T81" fmla="*/ 153 h 173"/>
                <a:gd name="T82" fmla="*/ 123 w 170"/>
                <a:gd name="T83" fmla="*/ 145 h 173"/>
                <a:gd name="T84" fmla="*/ 123 w 170"/>
                <a:gd name="T85" fmla="*/ 145 h 173"/>
                <a:gd name="T86" fmla="*/ 132 w 170"/>
                <a:gd name="T87" fmla="*/ 154 h 173"/>
                <a:gd name="T88" fmla="*/ 139 w 170"/>
                <a:gd name="T89" fmla="*/ 154 h 173"/>
                <a:gd name="T90" fmla="*/ 155 w 170"/>
                <a:gd name="T91" fmla="*/ 138 h 173"/>
                <a:gd name="T92" fmla="*/ 155 w 170"/>
                <a:gd name="T93" fmla="*/ 130 h 173"/>
                <a:gd name="T94" fmla="*/ 146 w 170"/>
                <a:gd name="T95" fmla="*/ 123 h 173"/>
                <a:gd name="T96" fmla="*/ 154 w 170"/>
                <a:gd name="T97" fmla="*/ 105 h 173"/>
                <a:gd name="T98" fmla="*/ 167 w 170"/>
                <a:gd name="T99" fmla="*/ 105 h 173"/>
                <a:gd name="T100" fmla="*/ 168 w 170"/>
                <a:gd name="T101" fmla="*/ 96 h 173"/>
                <a:gd name="T102" fmla="*/ 168 w 170"/>
                <a:gd name="T103" fmla="*/ 73 h 173"/>
                <a:gd name="T104" fmla="*/ 167 w 170"/>
                <a:gd name="T105" fmla="*/ 69 h 173"/>
                <a:gd name="T106" fmla="*/ 85 w 170"/>
                <a:gd name="T107" fmla="*/ 135 h 173"/>
                <a:gd name="T108" fmla="*/ 36 w 170"/>
                <a:gd name="T109" fmla="*/ 85 h 173"/>
                <a:gd name="T110" fmla="*/ 85 w 170"/>
                <a:gd name="T111" fmla="*/ 36 h 173"/>
                <a:gd name="T112" fmla="*/ 135 w 170"/>
                <a:gd name="T113" fmla="*/ 85 h 173"/>
                <a:gd name="T114" fmla="*/ 85 w 170"/>
                <a:gd name="T115" fmla="*/ 135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0" h="173">
                  <a:moveTo>
                    <a:pt x="167" y="69"/>
                  </a:moveTo>
                  <a:cubicBezTo>
                    <a:pt x="154" y="69"/>
                    <a:pt x="154" y="69"/>
                    <a:pt x="154" y="69"/>
                  </a:cubicBezTo>
                  <a:cubicBezTo>
                    <a:pt x="152" y="65"/>
                    <a:pt x="149" y="54"/>
                    <a:pt x="145" y="48"/>
                  </a:cubicBezTo>
                  <a:cubicBezTo>
                    <a:pt x="145" y="48"/>
                    <a:pt x="145" y="48"/>
                    <a:pt x="145" y="48"/>
                  </a:cubicBezTo>
                  <a:cubicBezTo>
                    <a:pt x="155" y="38"/>
                    <a:pt x="155" y="38"/>
                    <a:pt x="155" y="38"/>
                  </a:cubicBezTo>
                  <a:cubicBezTo>
                    <a:pt x="157" y="36"/>
                    <a:pt x="157" y="33"/>
                    <a:pt x="155" y="31"/>
                  </a:cubicBezTo>
                  <a:cubicBezTo>
                    <a:pt x="139" y="15"/>
                    <a:pt x="139" y="15"/>
                    <a:pt x="139" y="15"/>
                  </a:cubicBezTo>
                  <a:cubicBezTo>
                    <a:pt x="137" y="13"/>
                    <a:pt x="133" y="13"/>
                    <a:pt x="131" y="1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17" y="20"/>
                    <a:pt x="108" y="17"/>
                    <a:pt x="104" y="16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4" y="0"/>
                    <a:pt x="99" y="1"/>
                    <a:pt x="96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1" y="1"/>
                    <a:pt x="64" y="0"/>
                    <a:pt x="64" y="2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0" y="17"/>
                    <a:pt x="52" y="20"/>
                    <a:pt x="46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6" y="13"/>
                    <a:pt x="33" y="13"/>
                    <a:pt x="31" y="15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3" y="33"/>
                    <a:pt x="13" y="36"/>
                    <a:pt x="15" y="3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1" y="54"/>
                    <a:pt x="18" y="65"/>
                    <a:pt x="16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0" y="69"/>
                    <a:pt x="0" y="70"/>
                    <a:pt x="0" y="7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99"/>
                    <a:pt x="0" y="105"/>
                    <a:pt x="3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9"/>
                    <a:pt x="21" y="117"/>
                    <a:pt x="25" y="123"/>
                  </a:cubicBezTo>
                  <a:cubicBezTo>
                    <a:pt x="25" y="122"/>
                    <a:pt x="25" y="122"/>
                    <a:pt x="25" y="122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3" y="133"/>
                    <a:pt x="13" y="136"/>
                    <a:pt x="16" y="138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4" y="156"/>
                    <a:pt x="37" y="156"/>
                    <a:pt x="39" y="154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52" y="149"/>
                    <a:pt x="60" y="151"/>
                    <a:pt x="64" y="153"/>
                  </a:cubicBezTo>
                  <a:cubicBezTo>
                    <a:pt x="64" y="166"/>
                    <a:pt x="64" y="166"/>
                    <a:pt x="64" y="166"/>
                  </a:cubicBezTo>
                  <a:cubicBezTo>
                    <a:pt x="64" y="169"/>
                    <a:pt x="71" y="173"/>
                    <a:pt x="74" y="173"/>
                  </a:cubicBezTo>
                  <a:cubicBezTo>
                    <a:pt x="96" y="173"/>
                    <a:pt x="96" y="173"/>
                    <a:pt x="96" y="173"/>
                  </a:cubicBezTo>
                  <a:cubicBezTo>
                    <a:pt x="99" y="173"/>
                    <a:pt x="104" y="169"/>
                    <a:pt x="104" y="166"/>
                  </a:cubicBezTo>
                  <a:cubicBezTo>
                    <a:pt x="104" y="153"/>
                    <a:pt x="104" y="153"/>
                    <a:pt x="104" y="153"/>
                  </a:cubicBezTo>
                  <a:cubicBezTo>
                    <a:pt x="108" y="151"/>
                    <a:pt x="117" y="148"/>
                    <a:pt x="123" y="145"/>
                  </a:cubicBezTo>
                  <a:cubicBezTo>
                    <a:pt x="123" y="145"/>
                    <a:pt x="123" y="145"/>
                    <a:pt x="123" y="145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4" y="156"/>
                    <a:pt x="137" y="156"/>
                    <a:pt x="139" y="154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6"/>
                    <a:pt x="157" y="132"/>
                    <a:pt x="155" y="130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9" y="117"/>
                    <a:pt x="152" y="109"/>
                    <a:pt x="154" y="105"/>
                  </a:cubicBezTo>
                  <a:cubicBezTo>
                    <a:pt x="167" y="105"/>
                    <a:pt x="167" y="105"/>
                    <a:pt x="167" y="105"/>
                  </a:cubicBezTo>
                  <a:cubicBezTo>
                    <a:pt x="170" y="105"/>
                    <a:pt x="168" y="98"/>
                    <a:pt x="168" y="96"/>
                  </a:cubicBezTo>
                  <a:cubicBezTo>
                    <a:pt x="168" y="73"/>
                    <a:pt x="168" y="73"/>
                    <a:pt x="168" y="73"/>
                  </a:cubicBezTo>
                  <a:cubicBezTo>
                    <a:pt x="168" y="70"/>
                    <a:pt x="170" y="69"/>
                    <a:pt x="167" y="69"/>
                  </a:cubicBezTo>
                  <a:close/>
                  <a:moveTo>
                    <a:pt x="85" y="135"/>
                  </a:moveTo>
                  <a:cubicBezTo>
                    <a:pt x="58" y="135"/>
                    <a:pt x="36" y="113"/>
                    <a:pt x="36" y="85"/>
                  </a:cubicBezTo>
                  <a:cubicBezTo>
                    <a:pt x="36" y="58"/>
                    <a:pt x="58" y="36"/>
                    <a:pt x="85" y="36"/>
                  </a:cubicBezTo>
                  <a:cubicBezTo>
                    <a:pt x="112" y="36"/>
                    <a:pt x="135" y="58"/>
                    <a:pt x="135" y="85"/>
                  </a:cubicBezTo>
                  <a:cubicBezTo>
                    <a:pt x="135" y="113"/>
                    <a:pt x="112" y="135"/>
                    <a:pt x="85" y="135"/>
                  </a:cubicBezTo>
                  <a:close/>
                </a:path>
              </a:pathLst>
            </a:custGeom>
            <a:solidFill>
              <a:srgbClr val="2E3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8" name="îSḷîḋè">
              <a:extLst>
                <a:ext uri="{FF2B5EF4-FFF2-40B4-BE49-F238E27FC236}">
                  <a16:creationId xmlns:a16="http://schemas.microsoft.com/office/drawing/2014/main" xmlns="" id="{10DDDAD3-8C5D-4BBB-ACAB-EBC4478013F8}"/>
                </a:ext>
              </a:extLst>
            </p:cNvPr>
            <p:cNvSpPr/>
            <p:nvPr/>
          </p:nvSpPr>
          <p:spPr bwMode="auto">
            <a:xfrm>
              <a:off x="2769132" y="1476536"/>
              <a:ext cx="4029207" cy="2513634"/>
            </a:xfrm>
            <a:custGeom>
              <a:avLst/>
              <a:gdLst>
                <a:gd name="T0" fmla="*/ 1926 w 1926"/>
                <a:gd name="T1" fmla="*/ 807 h 1203"/>
                <a:gd name="T2" fmla="*/ 1682 w 1926"/>
                <a:gd name="T3" fmla="*/ 1173 h 1203"/>
                <a:gd name="T4" fmla="*/ 1572 w 1926"/>
                <a:gd name="T5" fmla="*/ 1203 h 1203"/>
                <a:gd name="T6" fmla="*/ 386 w 1926"/>
                <a:gd name="T7" fmla="*/ 1203 h 1203"/>
                <a:gd name="T8" fmla="*/ 356 w 1926"/>
                <a:gd name="T9" fmla="*/ 1201 h 1203"/>
                <a:gd name="T10" fmla="*/ 0 w 1926"/>
                <a:gd name="T11" fmla="*/ 807 h 1203"/>
                <a:gd name="T12" fmla="*/ 341 w 1926"/>
                <a:gd name="T13" fmla="*/ 415 h 1203"/>
                <a:gd name="T14" fmla="*/ 671 w 1926"/>
                <a:gd name="T15" fmla="*/ 140 h 1203"/>
                <a:gd name="T16" fmla="*/ 823 w 1926"/>
                <a:gd name="T17" fmla="*/ 177 h 1203"/>
                <a:gd name="T18" fmla="*/ 1194 w 1926"/>
                <a:gd name="T19" fmla="*/ 0 h 1203"/>
                <a:gd name="T20" fmla="*/ 1657 w 1926"/>
                <a:gd name="T21" fmla="*/ 365 h 1203"/>
                <a:gd name="T22" fmla="*/ 1780 w 1926"/>
                <a:gd name="T23" fmla="*/ 500 h 1203"/>
                <a:gd name="T24" fmla="*/ 1926 w 1926"/>
                <a:gd name="T25" fmla="*/ 807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6" h="1203">
                  <a:moveTo>
                    <a:pt x="1926" y="807"/>
                  </a:moveTo>
                  <a:cubicBezTo>
                    <a:pt x="1926" y="972"/>
                    <a:pt x="1825" y="1113"/>
                    <a:pt x="1682" y="1173"/>
                  </a:cubicBezTo>
                  <a:cubicBezTo>
                    <a:pt x="1650" y="1192"/>
                    <a:pt x="1613" y="1203"/>
                    <a:pt x="1572" y="1203"/>
                  </a:cubicBezTo>
                  <a:cubicBezTo>
                    <a:pt x="386" y="1203"/>
                    <a:pt x="386" y="1203"/>
                    <a:pt x="386" y="1203"/>
                  </a:cubicBezTo>
                  <a:cubicBezTo>
                    <a:pt x="376" y="1203"/>
                    <a:pt x="366" y="1202"/>
                    <a:pt x="356" y="1201"/>
                  </a:cubicBezTo>
                  <a:cubicBezTo>
                    <a:pt x="157" y="1181"/>
                    <a:pt x="0" y="1012"/>
                    <a:pt x="0" y="807"/>
                  </a:cubicBezTo>
                  <a:cubicBezTo>
                    <a:pt x="0" y="607"/>
                    <a:pt x="148" y="442"/>
                    <a:pt x="341" y="415"/>
                  </a:cubicBezTo>
                  <a:cubicBezTo>
                    <a:pt x="369" y="258"/>
                    <a:pt x="506" y="140"/>
                    <a:pt x="671" y="140"/>
                  </a:cubicBezTo>
                  <a:cubicBezTo>
                    <a:pt x="726" y="140"/>
                    <a:pt x="778" y="153"/>
                    <a:pt x="823" y="177"/>
                  </a:cubicBezTo>
                  <a:cubicBezTo>
                    <a:pt x="911" y="69"/>
                    <a:pt x="1044" y="0"/>
                    <a:pt x="1194" y="0"/>
                  </a:cubicBezTo>
                  <a:cubicBezTo>
                    <a:pt x="1419" y="0"/>
                    <a:pt x="1607" y="155"/>
                    <a:pt x="1657" y="365"/>
                  </a:cubicBezTo>
                  <a:cubicBezTo>
                    <a:pt x="1725" y="373"/>
                    <a:pt x="1778" y="430"/>
                    <a:pt x="1780" y="500"/>
                  </a:cubicBezTo>
                  <a:cubicBezTo>
                    <a:pt x="1869" y="573"/>
                    <a:pt x="1926" y="683"/>
                    <a:pt x="1926" y="807"/>
                  </a:cubicBezTo>
                  <a:close/>
                </a:path>
              </a:pathLst>
            </a:custGeom>
            <a:solidFill>
              <a:srgbClr val="C4C4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9" name="iSlîďê">
              <a:extLst>
                <a:ext uri="{FF2B5EF4-FFF2-40B4-BE49-F238E27FC236}">
                  <a16:creationId xmlns:a16="http://schemas.microsoft.com/office/drawing/2014/main" xmlns="" id="{2FE265FB-2ACC-4B9C-82CC-BE8C526F7B84}"/>
                </a:ext>
              </a:extLst>
            </p:cNvPr>
            <p:cNvSpPr/>
            <p:nvPr/>
          </p:nvSpPr>
          <p:spPr bwMode="auto">
            <a:xfrm>
              <a:off x="3055614" y="1642880"/>
              <a:ext cx="4029206" cy="2513634"/>
            </a:xfrm>
            <a:custGeom>
              <a:avLst/>
              <a:gdLst>
                <a:gd name="T0" fmla="*/ 1925 w 1925"/>
                <a:gd name="T1" fmla="*/ 807 h 1203"/>
                <a:gd name="T2" fmla="*/ 1682 w 1925"/>
                <a:gd name="T3" fmla="*/ 1173 h 1203"/>
                <a:gd name="T4" fmla="*/ 1572 w 1925"/>
                <a:gd name="T5" fmla="*/ 1203 h 1203"/>
                <a:gd name="T6" fmla="*/ 385 w 1925"/>
                <a:gd name="T7" fmla="*/ 1203 h 1203"/>
                <a:gd name="T8" fmla="*/ 356 w 1925"/>
                <a:gd name="T9" fmla="*/ 1201 h 1203"/>
                <a:gd name="T10" fmla="*/ 0 w 1925"/>
                <a:gd name="T11" fmla="*/ 807 h 1203"/>
                <a:gd name="T12" fmla="*/ 340 w 1925"/>
                <a:gd name="T13" fmla="*/ 415 h 1203"/>
                <a:gd name="T14" fmla="*/ 670 w 1925"/>
                <a:gd name="T15" fmla="*/ 140 h 1203"/>
                <a:gd name="T16" fmla="*/ 823 w 1925"/>
                <a:gd name="T17" fmla="*/ 177 h 1203"/>
                <a:gd name="T18" fmla="*/ 1193 w 1925"/>
                <a:gd name="T19" fmla="*/ 0 h 1203"/>
                <a:gd name="T20" fmla="*/ 1656 w 1925"/>
                <a:gd name="T21" fmla="*/ 365 h 1203"/>
                <a:gd name="T22" fmla="*/ 1780 w 1925"/>
                <a:gd name="T23" fmla="*/ 500 h 1203"/>
                <a:gd name="T24" fmla="*/ 1925 w 1925"/>
                <a:gd name="T25" fmla="*/ 807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25" h="1203">
                  <a:moveTo>
                    <a:pt x="1925" y="807"/>
                  </a:moveTo>
                  <a:cubicBezTo>
                    <a:pt x="1925" y="972"/>
                    <a:pt x="1825" y="1113"/>
                    <a:pt x="1682" y="1173"/>
                  </a:cubicBezTo>
                  <a:cubicBezTo>
                    <a:pt x="1650" y="1192"/>
                    <a:pt x="1612" y="1203"/>
                    <a:pt x="1572" y="1203"/>
                  </a:cubicBezTo>
                  <a:cubicBezTo>
                    <a:pt x="385" y="1203"/>
                    <a:pt x="385" y="1203"/>
                    <a:pt x="385" y="1203"/>
                  </a:cubicBezTo>
                  <a:cubicBezTo>
                    <a:pt x="375" y="1203"/>
                    <a:pt x="365" y="1202"/>
                    <a:pt x="356" y="1201"/>
                  </a:cubicBezTo>
                  <a:cubicBezTo>
                    <a:pt x="156" y="1181"/>
                    <a:pt x="0" y="1012"/>
                    <a:pt x="0" y="807"/>
                  </a:cubicBezTo>
                  <a:cubicBezTo>
                    <a:pt x="0" y="607"/>
                    <a:pt x="148" y="442"/>
                    <a:pt x="340" y="415"/>
                  </a:cubicBezTo>
                  <a:cubicBezTo>
                    <a:pt x="369" y="259"/>
                    <a:pt x="506" y="140"/>
                    <a:pt x="670" y="140"/>
                  </a:cubicBezTo>
                  <a:cubicBezTo>
                    <a:pt x="725" y="140"/>
                    <a:pt x="777" y="153"/>
                    <a:pt x="823" y="177"/>
                  </a:cubicBezTo>
                  <a:cubicBezTo>
                    <a:pt x="910" y="69"/>
                    <a:pt x="1044" y="0"/>
                    <a:pt x="1193" y="0"/>
                  </a:cubicBezTo>
                  <a:cubicBezTo>
                    <a:pt x="1418" y="0"/>
                    <a:pt x="1606" y="155"/>
                    <a:pt x="1656" y="365"/>
                  </a:cubicBezTo>
                  <a:cubicBezTo>
                    <a:pt x="1725" y="373"/>
                    <a:pt x="1778" y="430"/>
                    <a:pt x="1780" y="500"/>
                  </a:cubicBezTo>
                  <a:cubicBezTo>
                    <a:pt x="1869" y="573"/>
                    <a:pt x="1925" y="683"/>
                    <a:pt x="1925" y="80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0" name="ïş1îdé">
              <a:extLst>
                <a:ext uri="{FF2B5EF4-FFF2-40B4-BE49-F238E27FC236}">
                  <a16:creationId xmlns:a16="http://schemas.microsoft.com/office/drawing/2014/main" xmlns="" id="{7DABE626-2748-42D7-983A-1CAC5F014BC0}"/>
                </a:ext>
              </a:extLst>
            </p:cNvPr>
            <p:cNvSpPr/>
            <p:nvPr/>
          </p:nvSpPr>
          <p:spPr bwMode="auto">
            <a:xfrm>
              <a:off x="4709805" y="4757200"/>
              <a:ext cx="924130" cy="499030"/>
            </a:xfrm>
            <a:custGeom>
              <a:avLst/>
              <a:gdLst>
                <a:gd name="T0" fmla="*/ 414 w 441"/>
                <a:gd name="T1" fmla="*/ 238 h 238"/>
                <a:gd name="T2" fmla="*/ 27 w 441"/>
                <a:gd name="T3" fmla="*/ 238 h 238"/>
                <a:gd name="T4" fmla="*/ 0 w 441"/>
                <a:gd name="T5" fmla="*/ 211 h 238"/>
                <a:gd name="T6" fmla="*/ 0 w 441"/>
                <a:gd name="T7" fmla="*/ 27 h 238"/>
                <a:gd name="T8" fmla="*/ 27 w 441"/>
                <a:gd name="T9" fmla="*/ 0 h 238"/>
                <a:gd name="T10" fmla="*/ 414 w 441"/>
                <a:gd name="T11" fmla="*/ 0 h 238"/>
                <a:gd name="T12" fmla="*/ 441 w 441"/>
                <a:gd name="T13" fmla="*/ 27 h 238"/>
                <a:gd name="T14" fmla="*/ 441 w 441"/>
                <a:gd name="T15" fmla="*/ 211 h 238"/>
                <a:gd name="T16" fmla="*/ 414 w 441"/>
                <a:gd name="T17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1" h="238">
                  <a:moveTo>
                    <a:pt x="414" y="238"/>
                  </a:moveTo>
                  <a:cubicBezTo>
                    <a:pt x="27" y="238"/>
                    <a:pt x="27" y="238"/>
                    <a:pt x="27" y="238"/>
                  </a:cubicBezTo>
                  <a:cubicBezTo>
                    <a:pt x="12" y="238"/>
                    <a:pt x="0" y="226"/>
                    <a:pt x="0" y="21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14" y="0"/>
                    <a:pt x="414" y="0"/>
                    <a:pt x="414" y="0"/>
                  </a:cubicBezTo>
                  <a:cubicBezTo>
                    <a:pt x="429" y="0"/>
                    <a:pt x="441" y="12"/>
                    <a:pt x="441" y="27"/>
                  </a:cubicBezTo>
                  <a:cubicBezTo>
                    <a:pt x="441" y="211"/>
                    <a:pt x="441" y="211"/>
                    <a:pt x="441" y="211"/>
                  </a:cubicBezTo>
                  <a:cubicBezTo>
                    <a:pt x="441" y="226"/>
                    <a:pt x="429" y="238"/>
                    <a:pt x="414" y="238"/>
                  </a:cubicBezTo>
                  <a:close/>
                </a:path>
              </a:pathLst>
            </a:custGeom>
            <a:solidFill>
              <a:srgbClr val="2E36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1" name="ïSḷïḍê">
              <a:extLst>
                <a:ext uri="{FF2B5EF4-FFF2-40B4-BE49-F238E27FC236}">
                  <a16:creationId xmlns:a16="http://schemas.microsoft.com/office/drawing/2014/main" xmlns="" id="{217695D3-C541-4693-A73C-E5FD57C1458D}"/>
                </a:ext>
              </a:extLst>
            </p:cNvPr>
            <p:cNvSpPr/>
            <p:nvPr/>
          </p:nvSpPr>
          <p:spPr bwMode="auto">
            <a:xfrm>
              <a:off x="6382483" y="3694449"/>
              <a:ext cx="2522878" cy="767032"/>
            </a:xfrm>
            <a:custGeom>
              <a:avLst/>
              <a:gdLst>
                <a:gd name="T0" fmla="*/ 1149 w 1207"/>
                <a:gd name="T1" fmla="*/ 367 h 367"/>
                <a:gd name="T2" fmla="*/ 57 w 1207"/>
                <a:gd name="T3" fmla="*/ 367 h 367"/>
                <a:gd name="T4" fmla="*/ 0 w 1207"/>
                <a:gd name="T5" fmla="*/ 310 h 367"/>
                <a:gd name="T6" fmla="*/ 0 w 1207"/>
                <a:gd name="T7" fmla="*/ 57 h 367"/>
                <a:gd name="T8" fmla="*/ 57 w 1207"/>
                <a:gd name="T9" fmla="*/ 0 h 367"/>
                <a:gd name="T10" fmla="*/ 1149 w 1207"/>
                <a:gd name="T11" fmla="*/ 0 h 367"/>
                <a:gd name="T12" fmla="*/ 1207 w 1207"/>
                <a:gd name="T13" fmla="*/ 57 h 367"/>
                <a:gd name="T14" fmla="*/ 1207 w 1207"/>
                <a:gd name="T15" fmla="*/ 310 h 367"/>
                <a:gd name="T16" fmla="*/ 1149 w 1207"/>
                <a:gd name="T1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7">
                  <a:moveTo>
                    <a:pt x="1149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1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5"/>
                    <a:pt x="1207" y="57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1"/>
                    <a:pt x="1181" y="367"/>
                    <a:pt x="1149" y="367"/>
                  </a:cubicBez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2" name="ïŝļiḍe">
              <a:extLst>
                <a:ext uri="{FF2B5EF4-FFF2-40B4-BE49-F238E27FC236}">
                  <a16:creationId xmlns:a16="http://schemas.microsoft.com/office/drawing/2014/main" xmlns="" id="{62CE4FD5-3FBD-4EC3-AE53-8BCC40C8E980}"/>
                </a:ext>
              </a:extLst>
            </p:cNvPr>
            <p:cNvSpPr/>
            <p:nvPr/>
          </p:nvSpPr>
          <p:spPr bwMode="auto">
            <a:xfrm>
              <a:off x="6382483" y="3694449"/>
              <a:ext cx="1266060" cy="767032"/>
            </a:xfrm>
            <a:custGeom>
              <a:avLst/>
              <a:gdLst>
                <a:gd name="T0" fmla="*/ 603 w 603"/>
                <a:gd name="T1" fmla="*/ 367 h 367"/>
                <a:gd name="T2" fmla="*/ 57 w 603"/>
                <a:gd name="T3" fmla="*/ 367 h 367"/>
                <a:gd name="T4" fmla="*/ 0 w 603"/>
                <a:gd name="T5" fmla="*/ 310 h 367"/>
                <a:gd name="T6" fmla="*/ 0 w 603"/>
                <a:gd name="T7" fmla="*/ 57 h 367"/>
                <a:gd name="T8" fmla="*/ 57 w 603"/>
                <a:gd name="T9" fmla="*/ 0 h 367"/>
                <a:gd name="T10" fmla="*/ 603 w 603"/>
                <a:gd name="T11" fmla="*/ 0 h 367"/>
                <a:gd name="T12" fmla="*/ 603 w 603"/>
                <a:gd name="T13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7">
                  <a:moveTo>
                    <a:pt x="603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7"/>
                  </a:ln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3" name="îṥlíďé">
              <a:extLst>
                <a:ext uri="{FF2B5EF4-FFF2-40B4-BE49-F238E27FC236}">
                  <a16:creationId xmlns:a16="http://schemas.microsoft.com/office/drawing/2014/main" xmlns="" id="{7137F2B2-D995-44F3-A748-EDAA030D59D3}"/>
                </a:ext>
              </a:extLst>
            </p:cNvPr>
            <p:cNvSpPr/>
            <p:nvPr/>
          </p:nvSpPr>
          <p:spPr bwMode="auto">
            <a:xfrm>
              <a:off x="6382483" y="4479962"/>
              <a:ext cx="2522878" cy="767032"/>
            </a:xfrm>
            <a:custGeom>
              <a:avLst/>
              <a:gdLst>
                <a:gd name="T0" fmla="*/ 1149 w 1207"/>
                <a:gd name="T1" fmla="*/ 368 h 368"/>
                <a:gd name="T2" fmla="*/ 57 w 1207"/>
                <a:gd name="T3" fmla="*/ 368 h 368"/>
                <a:gd name="T4" fmla="*/ 0 w 1207"/>
                <a:gd name="T5" fmla="*/ 310 h 368"/>
                <a:gd name="T6" fmla="*/ 0 w 1207"/>
                <a:gd name="T7" fmla="*/ 58 h 368"/>
                <a:gd name="T8" fmla="*/ 57 w 1207"/>
                <a:gd name="T9" fmla="*/ 0 h 368"/>
                <a:gd name="T10" fmla="*/ 1149 w 1207"/>
                <a:gd name="T11" fmla="*/ 0 h 368"/>
                <a:gd name="T12" fmla="*/ 1207 w 1207"/>
                <a:gd name="T13" fmla="*/ 58 h 368"/>
                <a:gd name="T14" fmla="*/ 1207 w 1207"/>
                <a:gd name="T15" fmla="*/ 310 h 368"/>
                <a:gd name="T16" fmla="*/ 1149 w 1207"/>
                <a:gd name="T1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8">
                  <a:moveTo>
                    <a:pt x="1149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6"/>
                    <a:pt x="1207" y="58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2"/>
                    <a:pt x="1181" y="368"/>
                    <a:pt x="1149" y="368"/>
                  </a:cubicBez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4" name="íŝ1idé">
              <a:extLst>
                <a:ext uri="{FF2B5EF4-FFF2-40B4-BE49-F238E27FC236}">
                  <a16:creationId xmlns:a16="http://schemas.microsoft.com/office/drawing/2014/main" xmlns="" id="{6A5EA29D-A4B9-45FB-B7F3-B15585F8540F}"/>
                </a:ext>
              </a:extLst>
            </p:cNvPr>
            <p:cNvSpPr/>
            <p:nvPr/>
          </p:nvSpPr>
          <p:spPr bwMode="auto">
            <a:xfrm>
              <a:off x="6382483" y="5256230"/>
              <a:ext cx="2522878" cy="776269"/>
            </a:xfrm>
            <a:custGeom>
              <a:avLst/>
              <a:gdLst>
                <a:gd name="T0" fmla="*/ 1149 w 1207"/>
                <a:gd name="T1" fmla="*/ 368 h 368"/>
                <a:gd name="T2" fmla="*/ 57 w 1207"/>
                <a:gd name="T3" fmla="*/ 368 h 368"/>
                <a:gd name="T4" fmla="*/ 0 w 1207"/>
                <a:gd name="T5" fmla="*/ 311 h 368"/>
                <a:gd name="T6" fmla="*/ 0 w 1207"/>
                <a:gd name="T7" fmla="*/ 58 h 368"/>
                <a:gd name="T8" fmla="*/ 57 w 1207"/>
                <a:gd name="T9" fmla="*/ 0 h 368"/>
                <a:gd name="T10" fmla="*/ 1149 w 1207"/>
                <a:gd name="T11" fmla="*/ 0 h 368"/>
                <a:gd name="T12" fmla="*/ 1207 w 1207"/>
                <a:gd name="T13" fmla="*/ 58 h 368"/>
                <a:gd name="T14" fmla="*/ 1207 w 1207"/>
                <a:gd name="T15" fmla="*/ 311 h 368"/>
                <a:gd name="T16" fmla="*/ 1149 w 1207"/>
                <a:gd name="T1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8">
                  <a:moveTo>
                    <a:pt x="1149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6"/>
                    <a:pt x="1207" y="58"/>
                  </a:cubicBezTo>
                  <a:cubicBezTo>
                    <a:pt x="1207" y="311"/>
                    <a:pt x="1207" y="311"/>
                    <a:pt x="1207" y="311"/>
                  </a:cubicBezTo>
                  <a:cubicBezTo>
                    <a:pt x="1207" y="342"/>
                    <a:pt x="1181" y="368"/>
                    <a:pt x="1149" y="368"/>
                  </a:cubicBez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5" name="îṧļidê">
              <a:extLst>
                <a:ext uri="{FF2B5EF4-FFF2-40B4-BE49-F238E27FC236}">
                  <a16:creationId xmlns:a16="http://schemas.microsoft.com/office/drawing/2014/main" xmlns="" id="{6E5CB992-8FD0-4891-A785-EAD17FC29629}"/>
                </a:ext>
              </a:extLst>
            </p:cNvPr>
            <p:cNvSpPr/>
            <p:nvPr/>
          </p:nvSpPr>
          <p:spPr bwMode="auto">
            <a:xfrm>
              <a:off x="6382483" y="4479962"/>
              <a:ext cx="1266060" cy="767032"/>
            </a:xfrm>
            <a:custGeom>
              <a:avLst/>
              <a:gdLst>
                <a:gd name="T0" fmla="*/ 603 w 603"/>
                <a:gd name="T1" fmla="*/ 368 h 368"/>
                <a:gd name="T2" fmla="*/ 57 w 603"/>
                <a:gd name="T3" fmla="*/ 368 h 368"/>
                <a:gd name="T4" fmla="*/ 0 w 603"/>
                <a:gd name="T5" fmla="*/ 310 h 368"/>
                <a:gd name="T6" fmla="*/ 0 w 603"/>
                <a:gd name="T7" fmla="*/ 57 h 368"/>
                <a:gd name="T8" fmla="*/ 57 w 603"/>
                <a:gd name="T9" fmla="*/ 0 h 368"/>
                <a:gd name="T10" fmla="*/ 603 w 603"/>
                <a:gd name="T11" fmla="*/ 0 h 368"/>
                <a:gd name="T12" fmla="*/ 603 w 603"/>
                <a:gd name="T1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8">
                  <a:moveTo>
                    <a:pt x="603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8"/>
                  </a:ln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6" name="íśļíḓè">
              <a:extLst>
                <a:ext uri="{FF2B5EF4-FFF2-40B4-BE49-F238E27FC236}">
                  <a16:creationId xmlns:a16="http://schemas.microsoft.com/office/drawing/2014/main" xmlns="" id="{FF6A25D1-B3BF-4025-8F67-6B257A7E1788}"/>
                </a:ext>
              </a:extLst>
            </p:cNvPr>
            <p:cNvSpPr/>
            <p:nvPr/>
          </p:nvSpPr>
          <p:spPr bwMode="auto">
            <a:xfrm>
              <a:off x="6382483" y="5256230"/>
              <a:ext cx="1266060" cy="776269"/>
            </a:xfrm>
            <a:custGeom>
              <a:avLst/>
              <a:gdLst>
                <a:gd name="T0" fmla="*/ 603 w 603"/>
                <a:gd name="T1" fmla="*/ 368 h 368"/>
                <a:gd name="T2" fmla="*/ 57 w 603"/>
                <a:gd name="T3" fmla="*/ 368 h 368"/>
                <a:gd name="T4" fmla="*/ 0 w 603"/>
                <a:gd name="T5" fmla="*/ 311 h 368"/>
                <a:gd name="T6" fmla="*/ 0 w 603"/>
                <a:gd name="T7" fmla="*/ 58 h 368"/>
                <a:gd name="T8" fmla="*/ 57 w 603"/>
                <a:gd name="T9" fmla="*/ 0 h 368"/>
                <a:gd name="T10" fmla="*/ 603 w 603"/>
                <a:gd name="T11" fmla="*/ 0 h 368"/>
                <a:gd name="T12" fmla="*/ 603 w 603"/>
                <a:gd name="T1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8">
                  <a:moveTo>
                    <a:pt x="603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1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8"/>
                  </a:ln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7" name="ïṣļïḓé">
              <a:extLst>
                <a:ext uri="{FF2B5EF4-FFF2-40B4-BE49-F238E27FC236}">
                  <a16:creationId xmlns:a16="http://schemas.microsoft.com/office/drawing/2014/main" xmlns="" id="{4F2246AA-24F0-4CE8-9265-CDED3E73BFCD}"/>
                </a:ext>
              </a:extLst>
            </p:cNvPr>
            <p:cNvSpPr/>
            <p:nvPr/>
          </p:nvSpPr>
          <p:spPr bwMode="auto">
            <a:xfrm>
              <a:off x="6585792" y="3879274"/>
              <a:ext cx="748548" cy="110896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1"/>
                    <a:pt x="358" y="26"/>
                  </a:cubicBezTo>
                  <a:cubicBezTo>
                    <a:pt x="358" y="40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8" name="îşļiďè">
              <a:extLst>
                <a:ext uri="{FF2B5EF4-FFF2-40B4-BE49-F238E27FC236}">
                  <a16:creationId xmlns:a16="http://schemas.microsoft.com/office/drawing/2014/main" xmlns="" id="{2E88A507-1F77-40F9-A2BA-F6A9A259BAED}"/>
                </a:ext>
              </a:extLst>
            </p:cNvPr>
            <p:cNvSpPr/>
            <p:nvPr/>
          </p:nvSpPr>
          <p:spPr bwMode="auto">
            <a:xfrm>
              <a:off x="8637361" y="3851553"/>
              <a:ext cx="101657" cy="110896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9" name="íṣ1îdè">
              <a:extLst>
                <a:ext uri="{FF2B5EF4-FFF2-40B4-BE49-F238E27FC236}">
                  <a16:creationId xmlns:a16="http://schemas.microsoft.com/office/drawing/2014/main" xmlns="" id="{D50BBA3E-CCC9-495A-8904-9DFCF611DF8D}"/>
                </a:ext>
              </a:extLst>
            </p:cNvPr>
            <p:cNvSpPr/>
            <p:nvPr/>
          </p:nvSpPr>
          <p:spPr bwMode="auto">
            <a:xfrm>
              <a:off x="8637361" y="4008653"/>
              <a:ext cx="101657" cy="10165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0" name="îŝḻiḋé">
              <a:extLst>
                <a:ext uri="{FF2B5EF4-FFF2-40B4-BE49-F238E27FC236}">
                  <a16:creationId xmlns:a16="http://schemas.microsoft.com/office/drawing/2014/main" xmlns="" id="{23530E3D-A54C-4D29-A51F-C732A88D5F4D}"/>
                </a:ext>
              </a:extLst>
            </p:cNvPr>
            <p:cNvSpPr/>
            <p:nvPr/>
          </p:nvSpPr>
          <p:spPr bwMode="auto">
            <a:xfrm>
              <a:off x="8637361" y="4156514"/>
              <a:ext cx="101657" cy="110896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1" name="íŝļïḓe">
              <a:extLst>
                <a:ext uri="{FF2B5EF4-FFF2-40B4-BE49-F238E27FC236}">
                  <a16:creationId xmlns:a16="http://schemas.microsoft.com/office/drawing/2014/main" xmlns="" id="{EA6E03BD-D756-4649-A661-BCD10B7CCA5B}"/>
                </a:ext>
              </a:extLst>
            </p:cNvPr>
            <p:cNvSpPr/>
            <p:nvPr/>
          </p:nvSpPr>
          <p:spPr bwMode="auto">
            <a:xfrm>
              <a:off x="8637361" y="5441057"/>
              <a:ext cx="101657" cy="10165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7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7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2" name="î$ḷïḑe">
              <a:extLst>
                <a:ext uri="{FF2B5EF4-FFF2-40B4-BE49-F238E27FC236}">
                  <a16:creationId xmlns:a16="http://schemas.microsoft.com/office/drawing/2014/main" xmlns="" id="{83E16911-47B0-46B2-BEFF-6F755D671629}"/>
                </a:ext>
              </a:extLst>
            </p:cNvPr>
            <p:cNvSpPr/>
            <p:nvPr/>
          </p:nvSpPr>
          <p:spPr bwMode="auto">
            <a:xfrm>
              <a:off x="8637361" y="5588918"/>
              <a:ext cx="101657" cy="110896"/>
            </a:xfrm>
            <a:custGeom>
              <a:avLst/>
              <a:gdLst>
                <a:gd name="T0" fmla="*/ 42 w 52"/>
                <a:gd name="T1" fmla="*/ 53 h 53"/>
                <a:gd name="T2" fmla="*/ 10 w 52"/>
                <a:gd name="T3" fmla="*/ 53 h 53"/>
                <a:gd name="T4" fmla="*/ 0 w 52"/>
                <a:gd name="T5" fmla="*/ 43 h 53"/>
                <a:gd name="T6" fmla="*/ 0 w 52"/>
                <a:gd name="T7" fmla="*/ 10 h 53"/>
                <a:gd name="T8" fmla="*/ 10 w 52"/>
                <a:gd name="T9" fmla="*/ 0 h 53"/>
                <a:gd name="T10" fmla="*/ 42 w 52"/>
                <a:gd name="T11" fmla="*/ 0 h 53"/>
                <a:gd name="T12" fmla="*/ 52 w 52"/>
                <a:gd name="T13" fmla="*/ 10 h 53"/>
                <a:gd name="T14" fmla="*/ 52 w 52"/>
                <a:gd name="T15" fmla="*/ 43 h 53"/>
                <a:gd name="T16" fmla="*/ 42 w 52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3">
                  <a:moveTo>
                    <a:pt x="42" y="53"/>
                  </a:moveTo>
                  <a:cubicBezTo>
                    <a:pt x="10" y="53"/>
                    <a:pt x="10" y="53"/>
                    <a:pt x="10" y="53"/>
                  </a:cubicBezTo>
                  <a:cubicBezTo>
                    <a:pt x="4" y="53"/>
                    <a:pt x="0" y="48"/>
                    <a:pt x="0" y="4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8"/>
                    <a:pt x="48" y="53"/>
                    <a:pt x="42" y="53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3" name="ïṥḻîḍe">
              <a:extLst>
                <a:ext uri="{FF2B5EF4-FFF2-40B4-BE49-F238E27FC236}">
                  <a16:creationId xmlns:a16="http://schemas.microsoft.com/office/drawing/2014/main" xmlns="" id="{F732D133-DE6A-4034-86A1-AB6847097472}"/>
                </a:ext>
              </a:extLst>
            </p:cNvPr>
            <p:cNvSpPr/>
            <p:nvPr/>
          </p:nvSpPr>
          <p:spPr bwMode="auto">
            <a:xfrm>
              <a:off x="8637361" y="5746016"/>
              <a:ext cx="101657" cy="110896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7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7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4" name="iṥḷiḓè">
              <a:extLst>
                <a:ext uri="{FF2B5EF4-FFF2-40B4-BE49-F238E27FC236}">
                  <a16:creationId xmlns:a16="http://schemas.microsoft.com/office/drawing/2014/main" xmlns="" id="{2B2A45BD-6F88-4224-B383-11DA57080192}"/>
                </a:ext>
              </a:extLst>
            </p:cNvPr>
            <p:cNvSpPr/>
            <p:nvPr/>
          </p:nvSpPr>
          <p:spPr bwMode="auto">
            <a:xfrm>
              <a:off x="6585792" y="4664788"/>
              <a:ext cx="110896" cy="110896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5" name="îš1íḓe">
              <a:extLst>
                <a:ext uri="{FF2B5EF4-FFF2-40B4-BE49-F238E27FC236}">
                  <a16:creationId xmlns:a16="http://schemas.microsoft.com/office/drawing/2014/main" xmlns="" id="{37AC6C26-2962-448F-AF0D-038C3F3BBEB5}"/>
                </a:ext>
              </a:extLst>
            </p:cNvPr>
            <p:cNvSpPr/>
            <p:nvPr/>
          </p:nvSpPr>
          <p:spPr bwMode="auto">
            <a:xfrm>
              <a:off x="6585792" y="4821887"/>
              <a:ext cx="110896" cy="110896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4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6" name="íŝlïḑe">
              <a:extLst>
                <a:ext uri="{FF2B5EF4-FFF2-40B4-BE49-F238E27FC236}">
                  <a16:creationId xmlns:a16="http://schemas.microsoft.com/office/drawing/2014/main" xmlns="" id="{0344177E-95F3-454C-B0E8-C4CF4574F534}"/>
                </a:ext>
              </a:extLst>
            </p:cNvPr>
            <p:cNvSpPr/>
            <p:nvPr/>
          </p:nvSpPr>
          <p:spPr bwMode="auto">
            <a:xfrm>
              <a:off x="6585792" y="4978992"/>
              <a:ext cx="110896" cy="10165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7" name="ïšlíḍé">
              <a:extLst>
                <a:ext uri="{FF2B5EF4-FFF2-40B4-BE49-F238E27FC236}">
                  <a16:creationId xmlns:a16="http://schemas.microsoft.com/office/drawing/2014/main" xmlns="" id="{1EFA3FD3-FB58-40C9-8FFB-15EAF09D7E94}"/>
                </a:ext>
              </a:extLst>
            </p:cNvPr>
            <p:cNvSpPr/>
            <p:nvPr/>
          </p:nvSpPr>
          <p:spPr bwMode="auto">
            <a:xfrm>
              <a:off x="6585792" y="4156514"/>
              <a:ext cx="748548" cy="110896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2"/>
                    <a:pt x="358" y="26"/>
                  </a:cubicBezTo>
                  <a:cubicBezTo>
                    <a:pt x="358" y="41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8" name="îṥḻïḓé">
              <a:extLst>
                <a:ext uri="{FF2B5EF4-FFF2-40B4-BE49-F238E27FC236}">
                  <a16:creationId xmlns:a16="http://schemas.microsoft.com/office/drawing/2014/main" xmlns="" id="{628E5C48-10CC-46B5-A8BA-40A237B8824C}"/>
                </a:ext>
              </a:extLst>
            </p:cNvPr>
            <p:cNvSpPr/>
            <p:nvPr/>
          </p:nvSpPr>
          <p:spPr bwMode="auto">
            <a:xfrm>
              <a:off x="6558065" y="5431813"/>
              <a:ext cx="748548" cy="101657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6"/>
                  </a:cubicBezTo>
                  <a:cubicBezTo>
                    <a:pt x="357" y="41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9" name="íSlîdé">
              <a:extLst>
                <a:ext uri="{FF2B5EF4-FFF2-40B4-BE49-F238E27FC236}">
                  <a16:creationId xmlns:a16="http://schemas.microsoft.com/office/drawing/2014/main" xmlns="" id="{2D1AE486-6BAF-4694-9DB4-A9F0CE8FDD7F}"/>
                </a:ext>
              </a:extLst>
            </p:cNvPr>
            <p:cNvSpPr/>
            <p:nvPr/>
          </p:nvSpPr>
          <p:spPr bwMode="auto">
            <a:xfrm>
              <a:off x="6558065" y="5699814"/>
              <a:ext cx="748548" cy="110896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0"/>
                    <a:pt x="0" y="26"/>
                  </a:cubicBezTo>
                  <a:cubicBezTo>
                    <a:pt x="0" y="11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1"/>
                    <a:pt x="357" y="26"/>
                  </a:cubicBezTo>
                  <a:cubicBezTo>
                    <a:pt x="357" y="40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0" name="ï$ḻidê">
              <a:extLst>
                <a:ext uri="{FF2B5EF4-FFF2-40B4-BE49-F238E27FC236}">
                  <a16:creationId xmlns:a16="http://schemas.microsoft.com/office/drawing/2014/main" xmlns="" id="{2E6B6E75-1FE1-4F7C-B5E0-50F24925603D}"/>
                </a:ext>
              </a:extLst>
            </p:cNvPr>
            <p:cNvSpPr/>
            <p:nvPr/>
          </p:nvSpPr>
          <p:spPr bwMode="auto">
            <a:xfrm>
              <a:off x="7944260" y="4664788"/>
              <a:ext cx="748548" cy="110896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6"/>
                  </a:cubicBezTo>
                  <a:cubicBezTo>
                    <a:pt x="357" y="41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1" name="iśľîḑê">
              <a:extLst>
                <a:ext uri="{FF2B5EF4-FFF2-40B4-BE49-F238E27FC236}">
                  <a16:creationId xmlns:a16="http://schemas.microsoft.com/office/drawing/2014/main" xmlns="" id="{893292E2-3367-48C6-AA96-9AD1DC8C4CAD}"/>
                </a:ext>
              </a:extLst>
            </p:cNvPr>
            <p:cNvSpPr/>
            <p:nvPr/>
          </p:nvSpPr>
          <p:spPr bwMode="auto">
            <a:xfrm>
              <a:off x="7944260" y="4942027"/>
              <a:ext cx="748548" cy="110896"/>
            </a:xfrm>
            <a:custGeom>
              <a:avLst/>
              <a:gdLst>
                <a:gd name="T0" fmla="*/ 331 w 357"/>
                <a:gd name="T1" fmla="*/ 53 h 53"/>
                <a:gd name="T2" fmla="*/ 26 w 357"/>
                <a:gd name="T3" fmla="*/ 53 h 53"/>
                <a:gd name="T4" fmla="*/ 0 w 357"/>
                <a:gd name="T5" fmla="*/ 27 h 53"/>
                <a:gd name="T6" fmla="*/ 26 w 357"/>
                <a:gd name="T7" fmla="*/ 0 h 53"/>
                <a:gd name="T8" fmla="*/ 331 w 357"/>
                <a:gd name="T9" fmla="*/ 0 h 53"/>
                <a:gd name="T10" fmla="*/ 357 w 357"/>
                <a:gd name="T11" fmla="*/ 27 h 53"/>
                <a:gd name="T12" fmla="*/ 331 w 357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3">
                  <a:moveTo>
                    <a:pt x="331" y="53"/>
                  </a:moveTo>
                  <a:cubicBezTo>
                    <a:pt x="26" y="53"/>
                    <a:pt x="26" y="53"/>
                    <a:pt x="26" y="53"/>
                  </a:cubicBezTo>
                  <a:cubicBezTo>
                    <a:pt x="11" y="53"/>
                    <a:pt x="0" y="41"/>
                    <a:pt x="0" y="27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7"/>
                  </a:cubicBezTo>
                  <a:cubicBezTo>
                    <a:pt x="357" y="41"/>
                    <a:pt x="345" y="53"/>
                    <a:pt x="331" y="53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2" name="ïşḻïḑé">
              <a:extLst>
                <a:ext uri="{FF2B5EF4-FFF2-40B4-BE49-F238E27FC236}">
                  <a16:creationId xmlns:a16="http://schemas.microsoft.com/office/drawing/2014/main" xmlns="" id="{0850BC29-D4A3-46B7-BDF2-256A188AD475}"/>
                </a:ext>
              </a:extLst>
            </p:cNvPr>
            <p:cNvSpPr/>
            <p:nvPr/>
          </p:nvSpPr>
          <p:spPr bwMode="auto">
            <a:xfrm>
              <a:off x="7204956" y="2067980"/>
              <a:ext cx="1108956" cy="1108956"/>
            </a:xfrm>
            <a:custGeom>
              <a:avLst/>
              <a:gdLst>
                <a:gd name="T0" fmla="*/ 502 w 528"/>
                <a:gd name="T1" fmla="*/ 216 h 528"/>
                <a:gd name="T2" fmla="*/ 464 w 528"/>
                <a:gd name="T3" fmla="*/ 216 h 528"/>
                <a:gd name="T4" fmla="*/ 438 w 528"/>
                <a:gd name="T5" fmla="*/ 153 h 528"/>
                <a:gd name="T6" fmla="*/ 438 w 528"/>
                <a:gd name="T7" fmla="*/ 152 h 528"/>
                <a:gd name="T8" fmla="*/ 466 w 528"/>
                <a:gd name="T9" fmla="*/ 123 h 528"/>
                <a:gd name="T10" fmla="*/ 466 w 528"/>
                <a:gd name="T11" fmla="*/ 101 h 528"/>
                <a:gd name="T12" fmla="*/ 418 w 528"/>
                <a:gd name="T13" fmla="*/ 53 h 528"/>
                <a:gd name="T14" fmla="*/ 396 w 528"/>
                <a:gd name="T15" fmla="*/ 53 h 528"/>
                <a:gd name="T16" fmla="*/ 371 w 528"/>
                <a:gd name="T17" fmla="*/ 81 h 528"/>
                <a:gd name="T18" fmla="*/ 312 w 528"/>
                <a:gd name="T19" fmla="*/ 56 h 528"/>
                <a:gd name="T20" fmla="*/ 312 w 528"/>
                <a:gd name="T21" fmla="*/ 17 h 528"/>
                <a:gd name="T22" fmla="*/ 292 w 528"/>
                <a:gd name="T23" fmla="*/ 0 h 528"/>
                <a:gd name="T24" fmla="*/ 225 w 528"/>
                <a:gd name="T25" fmla="*/ 0 h 528"/>
                <a:gd name="T26" fmla="*/ 216 w 528"/>
                <a:gd name="T27" fmla="*/ 17 h 528"/>
                <a:gd name="T28" fmla="*/ 216 w 528"/>
                <a:gd name="T29" fmla="*/ 56 h 528"/>
                <a:gd name="T30" fmla="*/ 152 w 528"/>
                <a:gd name="T31" fmla="*/ 81 h 528"/>
                <a:gd name="T32" fmla="*/ 151 w 528"/>
                <a:gd name="T33" fmla="*/ 81 h 528"/>
                <a:gd name="T34" fmla="*/ 122 w 528"/>
                <a:gd name="T35" fmla="*/ 53 h 528"/>
                <a:gd name="T36" fmla="*/ 100 w 528"/>
                <a:gd name="T37" fmla="*/ 53 h 528"/>
                <a:gd name="T38" fmla="*/ 52 w 528"/>
                <a:gd name="T39" fmla="*/ 101 h 528"/>
                <a:gd name="T40" fmla="*/ 52 w 528"/>
                <a:gd name="T41" fmla="*/ 123 h 528"/>
                <a:gd name="T42" fmla="*/ 79 w 528"/>
                <a:gd name="T43" fmla="*/ 153 h 528"/>
                <a:gd name="T44" fmla="*/ 54 w 528"/>
                <a:gd name="T45" fmla="*/ 216 h 528"/>
                <a:gd name="T46" fmla="*/ 15 w 528"/>
                <a:gd name="T47" fmla="*/ 216 h 528"/>
                <a:gd name="T48" fmla="*/ 0 w 528"/>
                <a:gd name="T49" fmla="*/ 227 h 528"/>
                <a:gd name="T50" fmla="*/ 0 w 528"/>
                <a:gd name="T51" fmla="*/ 294 h 528"/>
                <a:gd name="T52" fmla="*/ 15 w 528"/>
                <a:gd name="T53" fmla="*/ 316 h 528"/>
                <a:gd name="T54" fmla="*/ 54 w 528"/>
                <a:gd name="T55" fmla="*/ 316 h 528"/>
                <a:gd name="T56" fmla="*/ 80 w 528"/>
                <a:gd name="T57" fmla="*/ 373 h 528"/>
                <a:gd name="T58" fmla="*/ 79 w 528"/>
                <a:gd name="T59" fmla="*/ 372 h 528"/>
                <a:gd name="T60" fmla="*/ 52 w 528"/>
                <a:gd name="T61" fmla="*/ 398 h 528"/>
                <a:gd name="T62" fmla="*/ 52 w 528"/>
                <a:gd name="T63" fmla="*/ 420 h 528"/>
                <a:gd name="T64" fmla="*/ 100 w 528"/>
                <a:gd name="T65" fmla="*/ 468 h 528"/>
                <a:gd name="T66" fmla="*/ 122 w 528"/>
                <a:gd name="T67" fmla="*/ 467 h 528"/>
                <a:gd name="T68" fmla="*/ 152 w 528"/>
                <a:gd name="T69" fmla="*/ 440 h 528"/>
                <a:gd name="T70" fmla="*/ 216 w 528"/>
                <a:gd name="T71" fmla="*/ 465 h 528"/>
                <a:gd name="T72" fmla="*/ 216 w 528"/>
                <a:gd name="T73" fmla="*/ 504 h 528"/>
                <a:gd name="T74" fmla="*/ 225 w 528"/>
                <a:gd name="T75" fmla="*/ 528 h 528"/>
                <a:gd name="T76" fmla="*/ 293 w 528"/>
                <a:gd name="T77" fmla="*/ 528 h 528"/>
                <a:gd name="T78" fmla="*/ 312 w 528"/>
                <a:gd name="T79" fmla="*/ 504 h 528"/>
                <a:gd name="T80" fmla="*/ 312 w 528"/>
                <a:gd name="T81" fmla="*/ 465 h 528"/>
                <a:gd name="T82" fmla="*/ 371 w 528"/>
                <a:gd name="T83" fmla="*/ 440 h 528"/>
                <a:gd name="T84" fmla="*/ 370 w 528"/>
                <a:gd name="T85" fmla="*/ 440 h 528"/>
                <a:gd name="T86" fmla="*/ 397 w 528"/>
                <a:gd name="T87" fmla="*/ 467 h 528"/>
                <a:gd name="T88" fmla="*/ 419 w 528"/>
                <a:gd name="T89" fmla="*/ 467 h 528"/>
                <a:gd name="T90" fmla="*/ 466 w 528"/>
                <a:gd name="T91" fmla="*/ 419 h 528"/>
                <a:gd name="T92" fmla="*/ 466 w 528"/>
                <a:gd name="T93" fmla="*/ 397 h 528"/>
                <a:gd name="T94" fmla="*/ 439 w 528"/>
                <a:gd name="T95" fmla="*/ 373 h 528"/>
                <a:gd name="T96" fmla="*/ 463 w 528"/>
                <a:gd name="T97" fmla="*/ 316 h 528"/>
                <a:gd name="T98" fmla="*/ 502 w 528"/>
                <a:gd name="T99" fmla="*/ 316 h 528"/>
                <a:gd name="T100" fmla="*/ 528 w 528"/>
                <a:gd name="T101" fmla="*/ 294 h 528"/>
                <a:gd name="T102" fmla="*/ 528 w 528"/>
                <a:gd name="T103" fmla="*/ 226 h 528"/>
                <a:gd name="T104" fmla="*/ 502 w 528"/>
                <a:gd name="T105" fmla="*/ 216 h 528"/>
                <a:gd name="T106" fmla="*/ 259 w 528"/>
                <a:gd name="T107" fmla="*/ 410 h 528"/>
                <a:gd name="T108" fmla="*/ 112 w 528"/>
                <a:gd name="T109" fmla="*/ 263 h 528"/>
                <a:gd name="T110" fmla="*/ 259 w 528"/>
                <a:gd name="T111" fmla="*/ 117 h 528"/>
                <a:gd name="T112" fmla="*/ 406 w 528"/>
                <a:gd name="T113" fmla="*/ 263 h 528"/>
                <a:gd name="T114" fmla="*/ 259 w 528"/>
                <a:gd name="T115" fmla="*/ 41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8" h="528">
                  <a:moveTo>
                    <a:pt x="502" y="216"/>
                  </a:moveTo>
                  <a:cubicBezTo>
                    <a:pt x="464" y="216"/>
                    <a:pt x="464" y="216"/>
                    <a:pt x="464" y="216"/>
                  </a:cubicBezTo>
                  <a:cubicBezTo>
                    <a:pt x="458" y="192"/>
                    <a:pt x="450" y="171"/>
                    <a:pt x="438" y="153"/>
                  </a:cubicBezTo>
                  <a:cubicBezTo>
                    <a:pt x="438" y="152"/>
                    <a:pt x="438" y="152"/>
                    <a:pt x="438" y="152"/>
                  </a:cubicBezTo>
                  <a:cubicBezTo>
                    <a:pt x="466" y="123"/>
                    <a:pt x="466" y="123"/>
                    <a:pt x="466" y="123"/>
                  </a:cubicBezTo>
                  <a:cubicBezTo>
                    <a:pt x="472" y="117"/>
                    <a:pt x="472" y="107"/>
                    <a:pt x="466" y="101"/>
                  </a:cubicBezTo>
                  <a:cubicBezTo>
                    <a:pt x="418" y="53"/>
                    <a:pt x="418" y="53"/>
                    <a:pt x="418" y="53"/>
                  </a:cubicBezTo>
                  <a:cubicBezTo>
                    <a:pt x="412" y="47"/>
                    <a:pt x="402" y="47"/>
                    <a:pt x="396" y="53"/>
                  </a:cubicBezTo>
                  <a:cubicBezTo>
                    <a:pt x="371" y="81"/>
                    <a:pt x="371" y="81"/>
                    <a:pt x="371" y="81"/>
                  </a:cubicBezTo>
                  <a:cubicBezTo>
                    <a:pt x="352" y="69"/>
                    <a:pt x="332" y="61"/>
                    <a:pt x="312" y="56"/>
                  </a:cubicBezTo>
                  <a:cubicBezTo>
                    <a:pt x="312" y="17"/>
                    <a:pt x="312" y="17"/>
                    <a:pt x="312" y="17"/>
                  </a:cubicBezTo>
                  <a:cubicBezTo>
                    <a:pt x="312" y="8"/>
                    <a:pt x="301" y="0"/>
                    <a:pt x="292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16" y="0"/>
                    <a:pt x="216" y="8"/>
                    <a:pt x="216" y="17"/>
                  </a:cubicBezTo>
                  <a:cubicBezTo>
                    <a:pt x="216" y="56"/>
                    <a:pt x="216" y="56"/>
                    <a:pt x="216" y="56"/>
                  </a:cubicBezTo>
                  <a:cubicBezTo>
                    <a:pt x="192" y="61"/>
                    <a:pt x="171" y="69"/>
                    <a:pt x="152" y="81"/>
                  </a:cubicBezTo>
                  <a:cubicBezTo>
                    <a:pt x="151" y="81"/>
                    <a:pt x="151" y="81"/>
                    <a:pt x="151" y="81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16" y="47"/>
                    <a:pt x="106" y="47"/>
                    <a:pt x="100" y="53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46" y="107"/>
                    <a:pt x="46" y="117"/>
                    <a:pt x="52" y="123"/>
                  </a:cubicBezTo>
                  <a:cubicBezTo>
                    <a:pt x="79" y="153"/>
                    <a:pt x="79" y="153"/>
                    <a:pt x="79" y="153"/>
                  </a:cubicBezTo>
                  <a:cubicBezTo>
                    <a:pt x="68" y="172"/>
                    <a:pt x="59" y="192"/>
                    <a:pt x="54" y="216"/>
                  </a:cubicBezTo>
                  <a:cubicBezTo>
                    <a:pt x="15" y="216"/>
                    <a:pt x="15" y="216"/>
                    <a:pt x="15" y="216"/>
                  </a:cubicBezTo>
                  <a:cubicBezTo>
                    <a:pt x="7" y="216"/>
                    <a:pt x="0" y="218"/>
                    <a:pt x="0" y="227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303"/>
                    <a:pt x="7" y="316"/>
                    <a:pt x="15" y="316"/>
                  </a:cubicBezTo>
                  <a:cubicBezTo>
                    <a:pt x="54" y="316"/>
                    <a:pt x="54" y="316"/>
                    <a:pt x="54" y="316"/>
                  </a:cubicBezTo>
                  <a:cubicBezTo>
                    <a:pt x="59" y="336"/>
                    <a:pt x="68" y="355"/>
                    <a:pt x="80" y="373"/>
                  </a:cubicBezTo>
                  <a:cubicBezTo>
                    <a:pt x="79" y="372"/>
                    <a:pt x="79" y="372"/>
                    <a:pt x="79" y="372"/>
                  </a:cubicBezTo>
                  <a:cubicBezTo>
                    <a:pt x="52" y="398"/>
                    <a:pt x="52" y="398"/>
                    <a:pt x="52" y="398"/>
                  </a:cubicBezTo>
                  <a:cubicBezTo>
                    <a:pt x="46" y="405"/>
                    <a:pt x="46" y="414"/>
                    <a:pt x="52" y="420"/>
                  </a:cubicBezTo>
                  <a:cubicBezTo>
                    <a:pt x="100" y="468"/>
                    <a:pt x="100" y="468"/>
                    <a:pt x="100" y="468"/>
                  </a:cubicBezTo>
                  <a:cubicBezTo>
                    <a:pt x="106" y="474"/>
                    <a:pt x="116" y="474"/>
                    <a:pt x="122" y="467"/>
                  </a:cubicBezTo>
                  <a:cubicBezTo>
                    <a:pt x="152" y="440"/>
                    <a:pt x="152" y="440"/>
                    <a:pt x="152" y="440"/>
                  </a:cubicBezTo>
                  <a:cubicBezTo>
                    <a:pt x="171" y="452"/>
                    <a:pt x="192" y="460"/>
                    <a:pt x="216" y="465"/>
                  </a:cubicBezTo>
                  <a:cubicBezTo>
                    <a:pt x="216" y="504"/>
                    <a:pt x="216" y="504"/>
                    <a:pt x="216" y="504"/>
                  </a:cubicBezTo>
                  <a:cubicBezTo>
                    <a:pt x="216" y="512"/>
                    <a:pt x="217" y="528"/>
                    <a:pt x="225" y="528"/>
                  </a:cubicBezTo>
                  <a:cubicBezTo>
                    <a:pt x="293" y="528"/>
                    <a:pt x="293" y="528"/>
                    <a:pt x="293" y="528"/>
                  </a:cubicBezTo>
                  <a:cubicBezTo>
                    <a:pt x="301" y="528"/>
                    <a:pt x="312" y="512"/>
                    <a:pt x="312" y="504"/>
                  </a:cubicBezTo>
                  <a:cubicBezTo>
                    <a:pt x="312" y="465"/>
                    <a:pt x="312" y="465"/>
                    <a:pt x="312" y="465"/>
                  </a:cubicBezTo>
                  <a:cubicBezTo>
                    <a:pt x="332" y="460"/>
                    <a:pt x="352" y="451"/>
                    <a:pt x="371" y="440"/>
                  </a:cubicBezTo>
                  <a:cubicBezTo>
                    <a:pt x="370" y="440"/>
                    <a:pt x="370" y="440"/>
                    <a:pt x="370" y="440"/>
                  </a:cubicBezTo>
                  <a:cubicBezTo>
                    <a:pt x="397" y="467"/>
                    <a:pt x="397" y="467"/>
                    <a:pt x="397" y="467"/>
                  </a:cubicBezTo>
                  <a:cubicBezTo>
                    <a:pt x="403" y="473"/>
                    <a:pt x="412" y="473"/>
                    <a:pt x="419" y="467"/>
                  </a:cubicBezTo>
                  <a:cubicBezTo>
                    <a:pt x="466" y="419"/>
                    <a:pt x="466" y="419"/>
                    <a:pt x="466" y="419"/>
                  </a:cubicBezTo>
                  <a:cubicBezTo>
                    <a:pt x="472" y="413"/>
                    <a:pt x="472" y="403"/>
                    <a:pt x="466" y="397"/>
                  </a:cubicBezTo>
                  <a:cubicBezTo>
                    <a:pt x="439" y="373"/>
                    <a:pt x="439" y="373"/>
                    <a:pt x="439" y="373"/>
                  </a:cubicBezTo>
                  <a:cubicBezTo>
                    <a:pt x="450" y="354"/>
                    <a:pt x="458" y="332"/>
                    <a:pt x="463" y="316"/>
                  </a:cubicBezTo>
                  <a:cubicBezTo>
                    <a:pt x="502" y="316"/>
                    <a:pt x="502" y="316"/>
                    <a:pt x="502" y="316"/>
                  </a:cubicBezTo>
                  <a:cubicBezTo>
                    <a:pt x="511" y="316"/>
                    <a:pt x="528" y="302"/>
                    <a:pt x="528" y="294"/>
                  </a:cubicBezTo>
                  <a:cubicBezTo>
                    <a:pt x="528" y="226"/>
                    <a:pt x="528" y="226"/>
                    <a:pt x="528" y="226"/>
                  </a:cubicBezTo>
                  <a:cubicBezTo>
                    <a:pt x="528" y="218"/>
                    <a:pt x="511" y="216"/>
                    <a:pt x="502" y="216"/>
                  </a:cubicBezTo>
                  <a:close/>
                  <a:moveTo>
                    <a:pt x="259" y="410"/>
                  </a:moveTo>
                  <a:cubicBezTo>
                    <a:pt x="178" y="410"/>
                    <a:pt x="112" y="344"/>
                    <a:pt x="112" y="263"/>
                  </a:cubicBezTo>
                  <a:cubicBezTo>
                    <a:pt x="112" y="182"/>
                    <a:pt x="178" y="117"/>
                    <a:pt x="259" y="117"/>
                  </a:cubicBezTo>
                  <a:cubicBezTo>
                    <a:pt x="340" y="117"/>
                    <a:pt x="406" y="182"/>
                    <a:pt x="406" y="263"/>
                  </a:cubicBezTo>
                  <a:cubicBezTo>
                    <a:pt x="406" y="344"/>
                    <a:pt x="340" y="410"/>
                    <a:pt x="259" y="410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3" name="ïṥ1iḍè">
              <a:extLst>
                <a:ext uri="{FF2B5EF4-FFF2-40B4-BE49-F238E27FC236}">
                  <a16:creationId xmlns:a16="http://schemas.microsoft.com/office/drawing/2014/main" xmlns="" id="{659F2D6E-C002-4565-9CB7-B868B0CAAD20}"/>
                </a:ext>
              </a:extLst>
            </p:cNvPr>
            <p:cNvSpPr/>
            <p:nvPr/>
          </p:nvSpPr>
          <p:spPr bwMode="auto">
            <a:xfrm>
              <a:off x="4913113" y="4701754"/>
              <a:ext cx="508274" cy="55448"/>
            </a:xfrm>
            <a:custGeom>
              <a:avLst/>
              <a:gdLst>
                <a:gd name="T0" fmla="*/ 27 w 241"/>
                <a:gd name="T1" fmla="*/ 28 h 28"/>
                <a:gd name="T2" fmla="*/ 214 w 241"/>
                <a:gd name="T3" fmla="*/ 28 h 28"/>
                <a:gd name="T4" fmla="*/ 241 w 241"/>
                <a:gd name="T5" fmla="*/ 1 h 28"/>
                <a:gd name="T6" fmla="*/ 241 w 241"/>
                <a:gd name="T7" fmla="*/ 0 h 28"/>
                <a:gd name="T8" fmla="*/ 0 w 241"/>
                <a:gd name="T9" fmla="*/ 0 h 28"/>
                <a:gd name="T10" fmla="*/ 0 w 241"/>
                <a:gd name="T11" fmla="*/ 1 h 28"/>
                <a:gd name="T12" fmla="*/ 27 w 241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" h="28">
                  <a:moveTo>
                    <a:pt x="27" y="28"/>
                  </a:moveTo>
                  <a:cubicBezTo>
                    <a:pt x="214" y="28"/>
                    <a:pt x="214" y="28"/>
                    <a:pt x="214" y="28"/>
                  </a:cubicBezTo>
                  <a:cubicBezTo>
                    <a:pt x="227" y="28"/>
                    <a:pt x="241" y="15"/>
                    <a:pt x="241" y="1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5"/>
                    <a:pt x="14" y="28"/>
                    <a:pt x="27" y="28"/>
                  </a:cubicBezTo>
                  <a:close/>
                </a:path>
              </a:pathLst>
            </a:custGeom>
            <a:solidFill>
              <a:srgbClr val="5185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4" name="íš1îďê">
              <a:extLst>
                <a:ext uri="{FF2B5EF4-FFF2-40B4-BE49-F238E27FC236}">
                  <a16:creationId xmlns:a16="http://schemas.microsoft.com/office/drawing/2014/main" xmlns="" id="{CCF1AA91-D204-4872-B8C8-CCB9AB38B066}"/>
                </a:ext>
              </a:extLst>
            </p:cNvPr>
            <p:cNvSpPr/>
            <p:nvPr/>
          </p:nvSpPr>
          <p:spPr bwMode="auto">
            <a:xfrm>
              <a:off x="4709805" y="4747956"/>
              <a:ext cx="924130" cy="240275"/>
            </a:xfrm>
            <a:custGeom>
              <a:avLst/>
              <a:gdLst>
                <a:gd name="T0" fmla="*/ 440 w 440"/>
                <a:gd name="T1" fmla="*/ 25 h 112"/>
                <a:gd name="T2" fmla="*/ 440 w 440"/>
                <a:gd name="T3" fmla="*/ 112 h 112"/>
                <a:gd name="T4" fmla="*/ 0 w 440"/>
                <a:gd name="T5" fmla="*/ 112 h 112"/>
                <a:gd name="T6" fmla="*/ 0 w 440"/>
                <a:gd name="T7" fmla="*/ 25 h 112"/>
                <a:gd name="T8" fmla="*/ 26 w 440"/>
                <a:gd name="T9" fmla="*/ 0 h 112"/>
                <a:gd name="T10" fmla="*/ 412 w 440"/>
                <a:gd name="T11" fmla="*/ 0 h 112"/>
                <a:gd name="T12" fmla="*/ 440 w 440"/>
                <a:gd name="T13" fmla="*/ 25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0" h="112">
                  <a:moveTo>
                    <a:pt x="440" y="25"/>
                  </a:moveTo>
                  <a:cubicBezTo>
                    <a:pt x="440" y="112"/>
                    <a:pt x="440" y="112"/>
                    <a:pt x="440" y="11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0"/>
                    <a:pt x="11" y="0"/>
                    <a:pt x="2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27" y="0"/>
                    <a:pt x="440" y="10"/>
                    <a:pt x="440" y="25"/>
                  </a:cubicBezTo>
                  <a:close/>
                </a:path>
              </a:pathLst>
            </a:custGeom>
            <a:solidFill>
              <a:srgbClr val="1C20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5" name="îŝḷîdè">
              <a:extLst>
                <a:ext uri="{FF2B5EF4-FFF2-40B4-BE49-F238E27FC236}">
                  <a16:creationId xmlns:a16="http://schemas.microsoft.com/office/drawing/2014/main" xmlns="" id="{EC2C80A9-F8A7-44A0-B2C1-18D5891AE9D4}"/>
                </a:ext>
              </a:extLst>
            </p:cNvPr>
            <p:cNvSpPr/>
            <p:nvPr/>
          </p:nvSpPr>
          <p:spPr bwMode="auto">
            <a:xfrm>
              <a:off x="8517221" y="2603975"/>
              <a:ext cx="609926" cy="674618"/>
            </a:xfrm>
            <a:custGeom>
              <a:avLst/>
              <a:gdLst>
                <a:gd name="T0" fmla="*/ 289 w 289"/>
                <a:gd name="T1" fmla="*/ 144 h 321"/>
                <a:gd name="T2" fmla="*/ 145 w 289"/>
                <a:gd name="T3" fmla="*/ 0 h 321"/>
                <a:gd name="T4" fmla="*/ 0 w 289"/>
                <a:gd name="T5" fmla="*/ 144 h 321"/>
                <a:gd name="T6" fmla="*/ 80 w 289"/>
                <a:gd name="T7" fmla="*/ 274 h 321"/>
                <a:gd name="T8" fmla="*/ 80 w 289"/>
                <a:gd name="T9" fmla="*/ 307 h 321"/>
                <a:gd name="T10" fmla="*/ 94 w 289"/>
                <a:gd name="T11" fmla="*/ 321 h 321"/>
                <a:gd name="T12" fmla="*/ 200 w 289"/>
                <a:gd name="T13" fmla="*/ 321 h 321"/>
                <a:gd name="T14" fmla="*/ 214 w 289"/>
                <a:gd name="T15" fmla="*/ 307 h 321"/>
                <a:gd name="T16" fmla="*/ 214 w 289"/>
                <a:gd name="T17" fmla="*/ 271 h 321"/>
                <a:gd name="T18" fmla="*/ 289 w 289"/>
                <a:gd name="T19" fmla="*/ 14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9" h="321">
                  <a:moveTo>
                    <a:pt x="289" y="144"/>
                  </a:moveTo>
                  <a:cubicBezTo>
                    <a:pt x="289" y="65"/>
                    <a:pt x="225" y="0"/>
                    <a:pt x="145" y="0"/>
                  </a:cubicBezTo>
                  <a:cubicBezTo>
                    <a:pt x="65" y="0"/>
                    <a:pt x="0" y="65"/>
                    <a:pt x="0" y="144"/>
                  </a:cubicBezTo>
                  <a:cubicBezTo>
                    <a:pt x="0" y="201"/>
                    <a:pt x="33" y="250"/>
                    <a:pt x="80" y="274"/>
                  </a:cubicBezTo>
                  <a:cubicBezTo>
                    <a:pt x="80" y="307"/>
                    <a:pt x="80" y="307"/>
                    <a:pt x="80" y="307"/>
                  </a:cubicBezTo>
                  <a:cubicBezTo>
                    <a:pt x="80" y="315"/>
                    <a:pt x="86" y="321"/>
                    <a:pt x="94" y="321"/>
                  </a:cubicBezTo>
                  <a:cubicBezTo>
                    <a:pt x="200" y="321"/>
                    <a:pt x="200" y="321"/>
                    <a:pt x="200" y="321"/>
                  </a:cubicBezTo>
                  <a:cubicBezTo>
                    <a:pt x="208" y="321"/>
                    <a:pt x="214" y="315"/>
                    <a:pt x="214" y="307"/>
                  </a:cubicBezTo>
                  <a:cubicBezTo>
                    <a:pt x="214" y="271"/>
                    <a:pt x="214" y="271"/>
                    <a:pt x="214" y="271"/>
                  </a:cubicBezTo>
                  <a:cubicBezTo>
                    <a:pt x="259" y="247"/>
                    <a:pt x="289" y="199"/>
                    <a:pt x="289" y="144"/>
                  </a:cubicBez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6" name="iŝḻíḍe">
              <a:extLst>
                <a:ext uri="{FF2B5EF4-FFF2-40B4-BE49-F238E27FC236}">
                  <a16:creationId xmlns:a16="http://schemas.microsoft.com/office/drawing/2014/main" xmlns="" id="{5B1D35F0-29D2-4FA3-ABC5-147572E0FD38}"/>
                </a:ext>
              </a:extLst>
            </p:cNvPr>
            <p:cNvSpPr/>
            <p:nvPr/>
          </p:nvSpPr>
          <p:spPr bwMode="auto">
            <a:xfrm>
              <a:off x="8517221" y="2603975"/>
              <a:ext cx="323448" cy="665374"/>
            </a:xfrm>
            <a:custGeom>
              <a:avLst/>
              <a:gdLst>
                <a:gd name="T0" fmla="*/ 154 w 154"/>
                <a:gd name="T1" fmla="*/ 0 h 321"/>
                <a:gd name="T2" fmla="*/ 154 w 154"/>
                <a:gd name="T3" fmla="*/ 321 h 321"/>
                <a:gd name="T4" fmla="*/ 94 w 154"/>
                <a:gd name="T5" fmla="*/ 321 h 321"/>
                <a:gd name="T6" fmla="*/ 83 w 154"/>
                <a:gd name="T7" fmla="*/ 316 h 321"/>
                <a:gd name="T8" fmla="*/ 83 w 154"/>
                <a:gd name="T9" fmla="*/ 316 h 321"/>
                <a:gd name="T10" fmla="*/ 80 w 154"/>
                <a:gd name="T11" fmla="*/ 311 h 321"/>
                <a:gd name="T12" fmla="*/ 80 w 154"/>
                <a:gd name="T13" fmla="*/ 310 h 321"/>
                <a:gd name="T14" fmla="*/ 78 w 154"/>
                <a:gd name="T15" fmla="*/ 307 h 321"/>
                <a:gd name="T16" fmla="*/ 78 w 154"/>
                <a:gd name="T17" fmla="*/ 274 h 321"/>
                <a:gd name="T18" fmla="*/ 0 w 154"/>
                <a:gd name="T19" fmla="*/ 145 h 321"/>
                <a:gd name="T20" fmla="*/ 147 w 154"/>
                <a:gd name="T21" fmla="*/ 0 h 321"/>
                <a:gd name="T22" fmla="*/ 154 w 154"/>
                <a:gd name="T23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4" h="321">
                  <a:moveTo>
                    <a:pt x="154" y="0"/>
                  </a:moveTo>
                  <a:cubicBezTo>
                    <a:pt x="154" y="321"/>
                    <a:pt x="154" y="321"/>
                    <a:pt x="154" y="321"/>
                  </a:cubicBezTo>
                  <a:cubicBezTo>
                    <a:pt x="94" y="321"/>
                    <a:pt x="94" y="321"/>
                    <a:pt x="94" y="321"/>
                  </a:cubicBezTo>
                  <a:cubicBezTo>
                    <a:pt x="90" y="321"/>
                    <a:pt x="86" y="319"/>
                    <a:pt x="83" y="316"/>
                  </a:cubicBezTo>
                  <a:cubicBezTo>
                    <a:pt x="83" y="316"/>
                    <a:pt x="83" y="316"/>
                    <a:pt x="83" y="316"/>
                  </a:cubicBezTo>
                  <a:cubicBezTo>
                    <a:pt x="82" y="314"/>
                    <a:pt x="81" y="313"/>
                    <a:pt x="80" y="311"/>
                  </a:cubicBezTo>
                  <a:cubicBezTo>
                    <a:pt x="80" y="310"/>
                    <a:pt x="80" y="310"/>
                    <a:pt x="80" y="310"/>
                  </a:cubicBezTo>
                  <a:cubicBezTo>
                    <a:pt x="79" y="309"/>
                    <a:pt x="78" y="308"/>
                    <a:pt x="78" y="307"/>
                  </a:cubicBezTo>
                  <a:cubicBezTo>
                    <a:pt x="78" y="274"/>
                    <a:pt x="78" y="274"/>
                    <a:pt x="78" y="274"/>
                  </a:cubicBezTo>
                  <a:cubicBezTo>
                    <a:pt x="30" y="250"/>
                    <a:pt x="0" y="201"/>
                    <a:pt x="0" y="145"/>
                  </a:cubicBezTo>
                  <a:cubicBezTo>
                    <a:pt x="0" y="65"/>
                    <a:pt x="67" y="0"/>
                    <a:pt x="147" y="0"/>
                  </a:cubicBezTo>
                  <a:cubicBezTo>
                    <a:pt x="148" y="0"/>
                    <a:pt x="154" y="0"/>
                    <a:pt x="154" y="0"/>
                  </a:cubicBez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7" name="íSḻiďé">
              <a:extLst>
                <a:ext uri="{FF2B5EF4-FFF2-40B4-BE49-F238E27FC236}">
                  <a16:creationId xmlns:a16="http://schemas.microsoft.com/office/drawing/2014/main" xmlns="" id="{C3A1496C-37D2-4015-ABC1-83CA2FA991C2}"/>
                </a:ext>
              </a:extLst>
            </p:cNvPr>
            <p:cNvSpPr/>
            <p:nvPr/>
          </p:nvSpPr>
          <p:spPr bwMode="auto">
            <a:xfrm>
              <a:off x="8692809" y="3204663"/>
              <a:ext cx="277238" cy="268001"/>
            </a:xfrm>
            <a:prstGeom prst="rect">
              <a:avLst/>
            </a:prstGeom>
            <a:solidFill>
              <a:srgbClr val="2D5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8" name="îṥľïḓè">
              <a:extLst>
                <a:ext uri="{FF2B5EF4-FFF2-40B4-BE49-F238E27FC236}">
                  <a16:creationId xmlns:a16="http://schemas.microsoft.com/office/drawing/2014/main" xmlns="" id="{960E6778-2294-4E2A-9FDA-B9E74B92F302}"/>
                </a:ext>
              </a:extLst>
            </p:cNvPr>
            <p:cNvSpPr/>
            <p:nvPr/>
          </p:nvSpPr>
          <p:spPr bwMode="auto">
            <a:xfrm>
              <a:off x="8674326" y="3463419"/>
              <a:ext cx="304965" cy="101657"/>
            </a:xfrm>
            <a:custGeom>
              <a:avLst/>
              <a:gdLst>
                <a:gd name="T0" fmla="*/ 0 w 147"/>
                <a:gd name="T1" fmla="*/ 0 h 47"/>
                <a:gd name="T2" fmla="*/ 74 w 147"/>
                <a:gd name="T3" fmla="*/ 47 h 47"/>
                <a:gd name="T4" fmla="*/ 147 w 147"/>
                <a:gd name="T5" fmla="*/ 0 h 47"/>
                <a:gd name="T6" fmla="*/ 0 w 147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47">
                  <a:moveTo>
                    <a:pt x="0" y="0"/>
                  </a:moveTo>
                  <a:cubicBezTo>
                    <a:pt x="6" y="27"/>
                    <a:pt x="36" y="47"/>
                    <a:pt x="74" y="47"/>
                  </a:cubicBezTo>
                  <a:cubicBezTo>
                    <a:pt x="111" y="47"/>
                    <a:pt x="142" y="27"/>
                    <a:pt x="1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C2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9" name="îŝḻîḓe">
              <a:extLst>
                <a:ext uri="{FF2B5EF4-FFF2-40B4-BE49-F238E27FC236}">
                  <a16:creationId xmlns:a16="http://schemas.microsoft.com/office/drawing/2014/main" xmlns="" id="{4D16A8EC-9CC1-4A9A-B573-7055F0908522}"/>
                </a:ext>
              </a:extLst>
            </p:cNvPr>
            <p:cNvSpPr/>
            <p:nvPr/>
          </p:nvSpPr>
          <p:spPr bwMode="auto">
            <a:xfrm>
              <a:off x="8637361" y="3204663"/>
              <a:ext cx="378896" cy="46209"/>
            </a:xfrm>
            <a:custGeom>
              <a:avLst/>
              <a:gdLst>
                <a:gd name="T0" fmla="*/ 181 w 181"/>
                <a:gd name="T1" fmla="*/ 12 h 24"/>
                <a:gd name="T2" fmla="*/ 164 w 181"/>
                <a:gd name="T3" fmla="*/ 24 h 24"/>
                <a:gd name="T4" fmla="*/ 16 w 181"/>
                <a:gd name="T5" fmla="*/ 24 h 24"/>
                <a:gd name="T6" fmla="*/ 0 w 181"/>
                <a:gd name="T7" fmla="*/ 12 h 24"/>
                <a:gd name="T8" fmla="*/ 16 w 181"/>
                <a:gd name="T9" fmla="*/ 0 h 24"/>
                <a:gd name="T10" fmla="*/ 164 w 181"/>
                <a:gd name="T11" fmla="*/ 0 h 24"/>
                <a:gd name="T12" fmla="*/ 181 w 181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4">
                  <a:moveTo>
                    <a:pt x="181" y="12"/>
                  </a:moveTo>
                  <a:cubicBezTo>
                    <a:pt x="181" y="19"/>
                    <a:pt x="173" y="24"/>
                    <a:pt x="164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7" y="24"/>
                    <a:pt x="0" y="19"/>
                    <a:pt x="0" y="12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3" y="0"/>
                    <a:pt x="181" y="6"/>
                    <a:pt x="181" y="12"/>
                  </a:cubicBezTo>
                  <a:close/>
                </a:path>
              </a:pathLst>
            </a:custGeom>
            <a:solidFill>
              <a:srgbClr val="0C2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0" name="ïṥlîďê">
              <a:extLst>
                <a:ext uri="{FF2B5EF4-FFF2-40B4-BE49-F238E27FC236}">
                  <a16:creationId xmlns:a16="http://schemas.microsoft.com/office/drawing/2014/main" xmlns="" id="{BA7AD076-EA71-4A43-AEC2-425FE51EF58B}"/>
                </a:ext>
              </a:extLst>
            </p:cNvPr>
            <p:cNvSpPr/>
            <p:nvPr/>
          </p:nvSpPr>
          <p:spPr bwMode="auto">
            <a:xfrm>
              <a:off x="8637361" y="3287830"/>
              <a:ext cx="378896" cy="46209"/>
            </a:xfrm>
            <a:custGeom>
              <a:avLst/>
              <a:gdLst>
                <a:gd name="T0" fmla="*/ 181 w 181"/>
                <a:gd name="T1" fmla="*/ 12 h 24"/>
                <a:gd name="T2" fmla="*/ 165 w 181"/>
                <a:gd name="T3" fmla="*/ 24 h 24"/>
                <a:gd name="T4" fmla="*/ 17 w 181"/>
                <a:gd name="T5" fmla="*/ 24 h 24"/>
                <a:gd name="T6" fmla="*/ 0 w 181"/>
                <a:gd name="T7" fmla="*/ 12 h 24"/>
                <a:gd name="T8" fmla="*/ 17 w 181"/>
                <a:gd name="T9" fmla="*/ 0 h 24"/>
                <a:gd name="T10" fmla="*/ 165 w 181"/>
                <a:gd name="T11" fmla="*/ 0 h 24"/>
                <a:gd name="T12" fmla="*/ 181 w 181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4">
                  <a:moveTo>
                    <a:pt x="181" y="12"/>
                  </a:moveTo>
                  <a:cubicBezTo>
                    <a:pt x="181" y="19"/>
                    <a:pt x="174" y="24"/>
                    <a:pt x="165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7" y="24"/>
                    <a:pt x="0" y="19"/>
                    <a:pt x="0" y="12"/>
                  </a:cubicBezTo>
                  <a:cubicBezTo>
                    <a:pt x="0" y="6"/>
                    <a:pt x="7" y="0"/>
                    <a:pt x="17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6"/>
                    <a:pt x="181" y="12"/>
                  </a:cubicBezTo>
                  <a:close/>
                </a:path>
              </a:pathLst>
            </a:custGeom>
            <a:solidFill>
              <a:srgbClr val="0C2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1" name="iṡḷîḑê">
              <a:extLst>
                <a:ext uri="{FF2B5EF4-FFF2-40B4-BE49-F238E27FC236}">
                  <a16:creationId xmlns:a16="http://schemas.microsoft.com/office/drawing/2014/main" xmlns="" id="{70B3E84C-5DED-4EE3-881D-7470EC6B9683}"/>
                </a:ext>
              </a:extLst>
            </p:cNvPr>
            <p:cNvSpPr/>
            <p:nvPr/>
          </p:nvSpPr>
          <p:spPr bwMode="auto">
            <a:xfrm>
              <a:off x="8646599" y="3371005"/>
              <a:ext cx="378896" cy="55448"/>
            </a:xfrm>
            <a:custGeom>
              <a:avLst/>
              <a:gdLst>
                <a:gd name="T0" fmla="*/ 181 w 181"/>
                <a:gd name="T1" fmla="*/ 12 h 24"/>
                <a:gd name="T2" fmla="*/ 164 w 181"/>
                <a:gd name="T3" fmla="*/ 24 h 24"/>
                <a:gd name="T4" fmla="*/ 16 w 181"/>
                <a:gd name="T5" fmla="*/ 24 h 24"/>
                <a:gd name="T6" fmla="*/ 0 w 181"/>
                <a:gd name="T7" fmla="*/ 12 h 24"/>
                <a:gd name="T8" fmla="*/ 16 w 181"/>
                <a:gd name="T9" fmla="*/ 0 h 24"/>
                <a:gd name="T10" fmla="*/ 164 w 181"/>
                <a:gd name="T11" fmla="*/ 0 h 24"/>
                <a:gd name="T12" fmla="*/ 181 w 181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1" h="24">
                  <a:moveTo>
                    <a:pt x="181" y="12"/>
                  </a:moveTo>
                  <a:cubicBezTo>
                    <a:pt x="181" y="18"/>
                    <a:pt x="173" y="24"/>
                    <a:pt x="164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7" y="24"/>
                    <a:pt x="0" y="18"/>
                    <a:pt x="0" y="12"/>
                  </a:cubicBezTo>
                  <a:cubicBezTo>
                    <a:pt x="0" y="5"/>
                    <a:pt x="7" y="0"/>
                    <a:pt x="1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73" y="0"/>
                    <a:pt x="181" y="5"/>
                    <a:pt x="181" y="12"/>
                  </a:cubicBezTo>
                  <a:close/>
                </a:path>
              </a:pathLst>
            </a:custGeom>
            <a:solidFill>
              <a:srgbClr val="0C2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2" name="îṣlïḓè">
              <a:extLst>
                <a:ext uri="{FF2B5EF4-FFF2-40B4-BE49-F238E27FC236}">
                  <a16:creationId xmlns:a16="http://schemas.microsoft.com/office/drawing/2014/main" xmlns="" id="{E3EE2FB5-2C5A-41B8-8634-EC09159CA454}"/>
                </a:ext>
              </a:extLst>
            </p:cNvPr>
            <p:cNvSpPr/>
            <p:nvPr/>
          </p:nvSpPr>
          <p:spPr bwMode="auto">
            <a:xfrm>
              <a:off x="8729774" y="2881213"/>
              <a:ext cx="203309" cy="369652"/>
            </a:xfrm>
            <a:custGeom>
              <a:avLst/>
              <a:gdLst>
                <a:gd name="T0" fmla="*/ 85 w 95"/>
                <a:gd name="T1" fmla="*/ 8 h 176"/>
                <a:gd name="T2" fmla="*/ 70 w 95"/>
                <a:gd name="T3" fmla="*/ 2 h 176"/>
                <a:gd name="T4" fmla="*/ 48 w 95"/>
                <a:gd name="T5" fmla="*/ 1 h 176"/>
                <a:gd name="T6" fmla="*/ 25 w 95"/>
                <a:gd name="T7" fmla="*/ 1 h 176"/>
                <a:gd name="T8" fmla="*/ 2 w 95"/>
                <a:gd name="T9" fmla="*/ 0 h 176"/>
                <a:gd name="T10" fmla="*/ 0 w 95"/>
                <a:gd name="T11" fmla="*/ 3 h 176"/>
                <a:gd name="T12" fmla="*/ 23 w 95"/>
                <a:gd name="T13" fmla="*/ 173 h 176"/>
                <a:gd name="T14" fmla="*/ 27 w 95"/>
                <a:gd name="T15" fmla="*/ 173 h 176"/>
                <a:gd name="T16" fmla="*/ 21 w 95"/>
                <a:gd name="T17" fmla="*/ 10 h 176"/>
                <a:gd name="T18" fmla="*/ 44 w 95"/>
                <a:gd name="T19" fmla="*/ 10 h 176"/>
                <a:gd name="T20" fmla="*/ 67 w 95"/>
                <a:gd name="T21" fmla="*/ 10 h 176"/>
                <a:gd name="T22" fmla="*/ 86 w 95"/>
                <a:gd name="T23" fmla="*/ 15 h 176"/>
                <a:gd name="T24" fmla="*/ 67 w 95"/>
                <a:gd name="T25" fmla="*/ 176 h 176"/>
                <a:gd name="T26" fmla="*/ 70 w 95"/>
                <a:gd name="T27" fmla="*/ 97 h 176"/>
                <a:gd name="T28" fmla="*/ 90 w 95"/>
                <a:gd name="T29" fmla="*/ 9 h 176"/>
                <a:gd name="T30" fmla="*/ 86 w 95"/>
                <a:gd name="T31" fmla="*/ 9 h 176"/>
                <a:gd name="T32" fmla="*/ 89 w 95"/>
                <a:gd name="T33" fmla="*/ 7 h 176"/>
                <a:gd name="T34" fmla="*/ 88 w 95"/>
                <a:gd name="T35" fmla="*/ 10 h 176"/>
                <a:gd name="T36" fmla="*/ 87 w 95"/>
                <a:gd name="T37" fmla="*/ 11 h 176"/>
                <a:gd name="T38" fmla="*/ 81 w 95"/>
                <a:gd name="T39" fmla="*/ 14 h 176"/>
                <a:gd name="T40" fmla="*/ 59 w 95"/>
                <a:gd name="T41" fmla="*/ 13 h 176"/>
                <a:gd name="T42" fmla="*/ 59 w 95"/>
                <a:gd name="T43" fmla="*/ 13 h 176"/>
                <a:gd name="T44" fmla="*/ 38 w 95"/>
                <a:gd name="T45" fmla="*/ 13 h 176"/>
                <a:gd name="T46" fmla="*/ 33 w 95"/>
                <a:gd name="T47" fmla="*/ 11 h 176"/>
                <a:gd name="T48" fmla="*/ 25 w 95"/>
                <a:gd name="T49" fmla="*/ 3 h 176"/>
                <a:gd name="T50" fmla="*/ 25 w 95"/>
                <a:gd name="T51" fmla="*/ 3 h 176"/>
                <a:gd name="T52" fmla="*/ 12 w 95"/>
                <a:gd name="T53" fmla="*/ 12 h 176"/>
                <a:gd name="T54" fmla="*/ 17 w 95"/>
                <a:gd name="T55" fmla="*/ 50 h 176"/>
                <a:gd name="T56" fmla="*/ 27 w 95"/>
                <a:gd name="T57" fmla="*/ 128 h 176"/>
                <a:gd name="T58" fmla="*/ 17 w 95"/>
                <a:gd name="T59" fmla="*/ 50 h 176"/>
                <a:gd name="T60" fmla="*/ 25 w 95"/>
                <a:gd name="T61" fmla="*/ 172 h 176"/>
                <a:gd name="T62" fmla="*/ 26 w 95"/>
                <a:gd name="T63" fmla="*/ 169 h 176"/>
                <a:gd name="T64" fmla="*/ 26 w 95"/>
                <a:gd name="T65" fmla="*/ 167 h 176"/>
                <a:gd name="T66" fmla="*/ 11 w 95"/>
                <a:gd name="T67" fmla="*/ 13 h 176"/>
                <a:gd name="T68" fmla="*/ 20 w 95"/>
                <a:gd name="T69" fmla="*/ 8 h 176"/>
                <a:gd name="T70" fmla="*/ 20 w 95"/>
                <a:gd name="T71" fmla="*/ 8 h 176"/>
                <a:gd name="T72" fmla="*/ 25 w 95"/>
                <a:gd name="T73" fmla="*/ 4 h 176"/>
                <a:gd name="T74" fmla="*/ 28 w 95"/>
                <a:gd name="T75" fmla="*/ 6 h 176"/>
                <a:gd name="T76" fmla="*/ 28 w 95"/>
                <a:gd name="T77" fmla="*/ 6 h 176"/>
                <a:gd name="T78" fmla="*/ 36 w 95"/>
                <a:gd name="T79" fmla="*/ 14 h 176"/>
                <a:gd name="T80" fmla="*/ 41 w 95"/>
                <a:gd name="T81" fmla="*/ 12 h 176"/>
                <a:gd name="T82" fmla="*/ 48 w 95"/>
                <a:gd name="T83" fmla="*/ 6 h 176"/>
                <a:gd name="T84" fmla="*/ 54 w 95"/>
                <a:gd name="T85" fmla="*/ 13 h 176"/>
                <a:gd name="T86" fmla="*/ 70 w 95"/>
                <a:gd name="T87" fmla="*/ 6 h 176"/>
                <a:gd name="T88" fmla="*/ 70 w 95"/>
                <a:gd name="T89" fmla="*/ 6 h 176"/>
                <a:gd name="T90" fmla="*/ 78 w 95"/>
                <a:gd name="T91" fmla="*/ 13 h 176"/>
                <a:gd name="T92" fmla="*/ 84 w 95"/>
                <a:gd name="T93" fmla="*/ 14 h 176"/>
                <a:gd name="T94" fmla="*/ 83 w 95"/>
                <a:gd name="T95" fmla="*/ 15 h 176"/>
                <a:gd name="T96" fmla="*/ 85 w 95"/>
                <a:gd name="T97" fmla="*/ 13 h 176"/>
                <a:gd name="T98" fmla="*/ 86 w 95"/>
                <a:gd name="T99" fmla="*/ 12 h 176"/>
                <a:gd name="T100" fmla="*/ 85 w 95"/>
                <a:gd name="T101" fmla="*/ 24 h 176"/>
                <a:gd name="T102" fmla="*/ 66 w 95"/>
                <a:gd name="T103" fmla="*/ 17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176">
                  <a:moveTo>
                    <a:pt x="95" y="6"/>
                  </a:moveTo>
                  <a:cubicBezTo>
                    <a:pt x="95" y="5"/>
                    <a:pt x="95" y="5"/>
                    <a:pt x="95" y="4"/>
                  </a:cubicBezTo>
                  <a:cubicBezTo>
                    <a:pt x="95" y="3"/>
                    <a:pt x="94" y="2"/>
                    <a:pt x="93" y="2"/>
                  </a:cubicBezTo>
                  <a:cubicBezTo>
                    <a:pt x="89" y="2"/>
                    <a:pt x="87" y="5"/>
                    <a:pt x="85" y="8"/>
                  </a:cubicBezTo>
                  <a:cubicBezTo>
                    <a:pt x="84" y="10"/>
                    <a:pt x="83" y="12"/>
                    <a:pt x="81" y="12"/>
                  </a:cubicBezTo>
                  <a:cubicBezTo>
                    <a:pt x="80" y="12"/>
                    <a:pt x="79" y="10"/>
                    <a:pt x="78" y="8"/>
                  </a:cubicBezTo>
                  <a:cubicBezTo>
                    <a:pt x="76" y="5"/>
                    <a:pt x="74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6" y="2"/>
                    <a:pt x="64" y="5"/>
                    <a:pt x="62" y="8"/>
                  </a:cubicBezTo>
                  <a:cubicBezTo>
                    <a:pt x="61" y="10"/>
                    <a:pt x="60" y="12"/>
                    <a:pt x="59" y="12"/>
                  </a:cubicBezTo>
                  <a:cubicBezTo>
                    <a:pt x="57" y="12"/>
                    <a:pt x="57" y="10"/>
                    <a:pt x="55" y="8"/>
                  </a:cubicBezTo>
                  <a:cubicBezTo>
                    <a:pt x="54" y="5"/>
                    <a:pt x="52" y="1"/>
                    <a:pt x="48" y="1"/>
                  </a:cubicBezTo>
                  <a:cubicBezTo>
                    <a:pt x="43" y="1"/>
                    <a:pt x="41" y="5"/>
                    <a:pt x="40" y="8"/>
                  </a:cubicBezTo>
                  <a:cubicBezTo>
                    <a:pt x="38" y="10"/>
                    <a:pt x="38" y="11"/>
                    <a:pt x="36" y="11"/>
                  </a:cubicBezTo>
                  <a:cubicBezTo>
                    <a:pt x="35" y="11"/>
                    <a:pt x="34" y="10"/>
                    <a:pt x="33" y="8"/>
                  </a:cubicBezTo>
                  <a:cubicBezTo>
                    <a:pt x="31" y="5"/>
                    <a:pt x="29" y="1"/>
                    <a:pt x="25" y="1"/>
                  </a:cubicBezTo>
                  <a:cubicBezTo>
                    <a:pt x="21" y="1"/>
                    <a:pt x="19" y="5"/>
                    <a:pt x="17" y="7"/>
                  </a:cubicBezTo>
                  <a:cubicBezTo>
                    <a:pt x="16" y="10"/>
                    <a:pt x="15" y="11"/>
                    <a:pt x="14" y="11"/>
                  </a:cubicBezTo>
                  <a:cubicBezTo>
                    <a:pt x="12" y="11"/>
                    <a:pt x="11" y="9"/>
                    <a:pt x="10" y="7"/>
                  </a:cubicBezTo>
                  <a:cubicBezTo>
                    <a:pt x="9" y="4"/>
                    <a:pt x="7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3" y="10"/>
                    <a:pt x="20" y="53"/>
                    <a:pt x="25" y="96"/>
                  </a:cubicBezTo>
                  <a:cubicBezTo>
                    <a:pt x="28" y="129"/>
                    <a:pt x="23" y="171"/>
                    <a:pt x="23" y="171"/>
                  </a:cubicBezTo>
                  <a:cubicBezTo>
                    <a:pt x="23" y="172"/>
                    <a:pt x="23" y="172"/>
                    <a:pt x="23" y="173"/>
                  </a:cubicBezTo>
                  <a:cubicBezTo>
                    <a:pt x="24" y="173"/>
                    <a:pt x="24" y="175"/>
                    <a:pt x="25" y="175"/>
                  </a:cubicBezTo>
                  <a:cubicBezTo>
                    <a:pt x="25" y="176"/>
                    <a:pt x="25" y="176"/>
                    <a:pt x="25" y="176"/>
                  </a:cubicBezTo>
                  <a:cubicBezTo>
                    <a:pt x="25" y="176"/>
                    <a:pt x="25" y="176"/>
                    <a:pt x="25" y="176"/>
                  </a:cubicBezTo>
                  <a:cubicBezTo>
                    <a:pt x="26" y="176"/>
                    <a:pt x="27" y="174"/>
                    <a:pt x="27" y="173"/>
                  </a:cubicBezTo>
                  <a:cubicBezTo>
                    <a:pt x="27" y="172"/>
                    <a:pt x="33" y="129"/>
                    <a:pt x="29" y="97"/>
                  </a:cubicBezTo>
                  <a:cubicBezTo>
                    <a:pt x="26" y="64"/>
                    <a:pt x="15" y="31"/>
                    <a:pt x="9" y="14"/>
                  </a:cubicBezTo>
                  <a:cubicBezTo>
                    <a:pt x="10" y="15"/>
                    <a:pt x="12" y="16"/>
                    <a:pt x="14" y="16"/>
                  </a:cubicBezTo>
                  <a:cubicBezTo>
                    <a:pt x="18" y="16"/>
                    <a:pt x="20" y="13"/>
                    <a:pt x="21" y="10"/>
                  </a:cubicBezTo>
                  <a:cubicBezTo>
                    <a:pt x="23" y="7"/>
                    <a:pt x="24" y="6"/>
                    <a:pt x="25" y="6"/>
                  </a:cubicBezTo>
                  <a:cubicBezTo>
                    <a:pt x="26" y="6"/>
                    <a:pt x="27" y="7"/>
                    <a:pt x="28" y="10"/>
                  </a:cubicBezTo>
                  <a:cubicBezTo>
                    <a:pt x="30" y="13"/>
                    <a:pt x="32" y="16"/>
                    <a:pt x="36" y="16"/>
                  </a:cubicBezTo>
                  <a:cubicBezTo>
                    <a:pt x="40" y="16"/>
                    <a:pt x="42" y="13"/>
                    <a:pt x="44" y="10"/>
                  </a:cubicBezTo>
                  <a:cubicBezTo>
                    <a:pt x="45" y="8"/>
                    <a:pt x="46" y="6"/>
                    <a:pt x="48" y="6"/>
                  </a:cubicBezTo>
                  <a:cubicBezTo>
                    <a:pt x="49" y="6"/>
                    <a:pt x="50" y="8"/>
                    <a:pt x="51" y="10"/>
                  </a:cubicBezTo>
                  <a:cubicBezTo>
                    <a:pt x="53" y="13"/>
                    <a:pt x="55" y="16"/>
                    <a:pt x="59" y="16"/>
                  </a:cubicBezTo>
                  <a:cubicBezTo>
                    <a:pt x="63" y="16"/>
                    <a:pt x="65" y="13"/>
                    <a:pt x="67" y="10"/>
                  </a:cubicBezTo>
                  <a:cubicBezTo>
                    <a:pt x="68" y="8"/>
                    <a:pt x="69" y="6"/>
                    <a:pt x="70" y="6"/>
                  </a:cubicBezTo>
                  <a:cubicBezTo>
                    <a:pt x="71" y="6"/>
                    <a:pt x="72" y="8"/>
                    <a:pt x="74" y="10"/>
                  </a:cubicBezTo>
                  <a:cubicBezTo>
                    <a:pt x="75" y="13"/>
                    <a:pt x="77" y="17"/>
                    <a:pt x="81" y="17"/>
                  </a:cubicBezTo>
                  <a:cubicBezTo>
                    <a:pt x="83" y="17"/>
                    <a:pt x="85" y="16"/>
                    <a:pt x="86" y="15"/>
                  </a:cubicBezTo>
                  <a:cubicBezTo>
                    <a:pt x="80" y="31"/>
                    <a:pt x="69" y="63"/>
                    <a:pt x="65" y="96"/>
                  </a:cubicBezTo>
                  <a:cubicBezTo>
                    <a:pt x="61" y="132"/>
                    <a:pt x="64" y="173"/>
                    <a:pt x="65" y="173"/>
                  </a:cubicBezTo>
                  <a:cubicBezTo>
                    <a:pt x="65" y="174"/>
                    <a:pt x="66" y="176"/>
                    <a:pt x="67" y="176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67" y="175"/>
                    <a:pt x="67" y="175"/>
                    <a:pt x="67" y="175"/>
                  </a:cubicBezTo>
                  <a:cubicBezTo>
                    <a:pt x="68" y="175"/>
                    <a:pt x="68" y="174"/>
                    <a:pt x="69" y="174"/>
                  </a:cubicBezTo>
                  <a:cubicBezTo>
                    <a:pt x="69" y="173"/>
                    <a:pt x="69" y="173"/>
                    <a:pt x="69" y="172"/>
                  </a:cubicBezTo>
                  <a:cubicBezTo>
                    <a:pt x="69" y="172"/>
                    <a:pt x="66" y="132"/>
                    <a:pt x="70" y="97"/>
                  </a:cubicBezTo>
                  <a:cubicBezTo>
                    <a:pt x="75" y="54"/>
                    <a:pt x="92" y="11"/>
                    <a:pt x="95" y="6"/>
                  </a:cubicBezTo>
                  <a:close/>
                  <a:moveTo>
                    <a:pt x="91" y="8"/>
                  </a:moveTo>
                  <a:cubicBezTo>
                    <a:pt x="91" y="8"/>
                    <a:pt x="91" y="8"/>
                    <a:pt x="91" y="8"/>
                  </a:cubicBezTo>
                  <a:cubicBezTo>
                    <a:pt x="90" y="9"/>
                    <a:pt x="90" y="9"/>
                    <a:pt x="90" y="9"/>
                  </a:cubicBezTo>
                  <a:lnTo>
                    <a:pt x="91" y="8"/>
                  </a:lnTo>
                  <a:close/>
                  <a:moveTo>
                    <a:pt x="90" y="4"/>
                  </a:moveTo>
                  <a:cubicBezTo>
                    <a:pt x="90" y="4"/>
                    <a:pt x="90" y="4"/>
                    <a:pt x="90" y="4"/>
                  </a:cubicBezTo>
                  <a:cubicBezTo>
                    <a:pt x="89" y="5"/>
                    <a:pt x="88" y="7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8" y="7"/>
                    <a:pt x="89" y="5"/>
                    <a:pt x="90" y="4"/>
                  </a:cubicBezTo>
                  <a:close/>
                  <a:moveTo>
                    <a:pt x="89" y="7"/>
                  </a:moveTo>
                  <a:cubicBezTo>
                    <a:pt x="89" y="8"/>
                    <a:pt x="89" y="8"/>
                    <a:pt x="89" y="8"/>
                  </a:cubicBezTo>
                  <a:lnTo>
                    <a:pt x="89" y="7"/>
                  </a:lnTo>
                  <a:close/>
                  <a:moveTo>
                    <a:pt x="88" y="8"/>
                  </a:moveTo>
                  <a:cubicBezTo>
                    <a:pt x="88" y="9"/>
                    <a:pt x="88" y="9"/>
                    <a:pt x="88" y="10"/>
                  </a:cubicBezTo>
                  <a:cubicBezTo>
                    <a:pt x="88" y="9"/>
                    <a:pt x="88" y="9"/>
                    <a:pt x="88" y="8"/>
                  </a:cubicBezTo>
                  <a:close/>
                  <a:moveTo>
                    <a:pt x="87" y="11"/>
                  </a:moveTo>
                  <a:cubicBezTo>
                    <a:pt x="86" y="11"/>
                    <a:pt x="86" y="11"/>
                    <a:pt x="86" y="11"/>
                  </a:cubicBezTo>
                  <a:lnTo>
                    <a:pt x="87" y="11"/>
                  </a:lnTo>
                  <a:close/>
                  <a:moveTo>
                    <a:pt x="81" y="14"/>
                  </a:moveTo>
                  <a:cubicBezTo>
                    <a:pt x="81" y="14"/>
                    <a:pt x="81" y="14"/>
                    <a:pt x="81" y="14"/>
                  </a:cubicBezTo>
                  <a:cubicBezTo>
                    <a:pt x="81" y="14"/>
                    <a:pt x="80" y="13"/>
                    <a:pt x="80" y="13"/>
                  </a:cubicBezTo>
                  <a:cubicBezTo>
                    <a:pt x="80" y="13"/>
                    <a:pt x="81" y="14"/>
                    <a:pt x="81" y="14"/>
                  </a:cubicBezTo>
                  <a:close/>
                  <a:moveTo>
                    <a:pt x="62" y="12"/>
                  </a:moveTo>
                  <a:cubicBezTo>
                    <a:pt x="61" y="13"/>
                    <a:pt x="60" y="13"/>
                    <a:pt x="59" y="13"/>
                  </a:cubicBezTo>
                  <a:cubicBezTo>
                    <a:pt x="60" y="13"/>
                    <a:pt x="61" y="13"/>
                    <a:pt x="62" y="12"/>
                  </a:cubicBezTo>
                  <a:close/>
                  <a:moveTo>
                    <a:pt x="59" y="13"/>
                  </a:moveTo>
                  <a:cubicBezTo>
                    <a:pt x="59" y="13"/>
                    <a:pt x="59" y="13"/>
                    <a:pt x="59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7" y="13"/>
                    <a:pt x="56" y="13"/>
                    <a:pt x="55" y="11"/>
                  </a:cubicBezTo>
                  <a:cubicBezTo>
                    <a:pt x="56" y="13"/>
                    <a:pt x="57" y="13"/>
                    <a:pt x="59" y="13"/>
                  </a:cubicBezTo>
                  <a:close/>
                  <a:moveTo>
                    <a:pt x="45" y="4"/>
                  </a:moveTo>
                  <a:cubicBezTo>
                    <a:pt x="45" y="4"/>
                    <a:pt x="44" y="4"/>
                    <a:pt x="44" y="5"/>
                  </a:cubicBezTo>
                  <a:cubicBezTo>
                    <a:pt x="44" y="4"/>
                    <a:pt x="45" y="4"/>
                    <a:pt x="45" y="4"/>
                  </a:cubicBezTo>
                  <a:close/>
                  <a:moveTo>
                    <a:pt x="38" y="13"/>
                  </a:moveTo>
                  <a:cubicBezTo>
                    <a:pt x="37" y="13"/>
                    <a:pt x="37" y="13"/>
                    <a:pt x="36" y="13"/>
                  </a:cubicBezTo>
                  <a:cubicBezTo>
                    <a:pt x="37" y="13"/>
                    <a:pt x="37" y="13"/>
                    <a:pt x="38" y="13"/>
                  </a:cubicBezTo>
                  <a:close/>
                  <a:moveTo>
                    <a:pt x="35" y="13"/>
                  </a:moveTo>
                  <a:cubicBezTo>
                    <a:pt x="34" y="12"/>
                    <a:pt x="33" y="12"/>
                    <a:pt x="33" y="11"/>
                  </a:cubicBezTo>
                  <a:cubicBezTo>
                    <a:pt x="33" y="12"/>
                    <a:pt x="34" y="12"/>
                    <a:pt x="35" y="13"/>
                  </a:cubicBezTo>
                  <a:close/>
                  <a:moveTo>
                    <a:pt x="29" y="5"/>
                  </a:moveTo>
                  <a:cubicBezTo>
                    <a:pt x="28" y="4"/>
                    <a:pt x="27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7" y="3"/>
                    <a:pt x="28" y="4"/>
                    <a:pt x="29" y="5"/>
                  </a:cubicBezTo>
                  <a:close/>
                  <a:moveTo>
                    <a:pt x="25" y="3"/>
                  </a:moveTo>
                  <a:cubicBezTo>
                    <a:pt x="25" y="3"/>
                    <a:pt x="25" y="3"/>
                    <a:pt x="25" y="3"/>
                  </a:cubicBezTo>
                  <a:cubicBezTo>
                    <a:pt x="24" y="3"/>
                    <a:pt x="23" y="3"/>
                    <a:pt x="23" y="3"/>
                  </a:cubicBezTo>
                  <a:cubicBezTo>
                    <a:pt x="23" y="3"/>
                    <a:pt x="24" y="3"/>
                    <a:pt x="25" y="3"/>
                  </a:cubicBezTo>
                  <a:close/>
                  <a:moveTo>
                    <a:pt x="9" y="7"/>
                  </a:moveTo>
                  <a:cubicBezTo>
                    <a:pt x="10" y="10"/>
                    <a:pt x="9" y="12"/>
                    <a:pt x="12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1" y="11"/>
                    <a:pt x="10" y="10"/>
                    <a:pt x="9" y="7"/>
                  </a:cubicBezTo>
                  <a:moveTo>
                    <a:pt x="17" y="50"/>
                  </a:moveTo>
                  <a:cubicBezTo>
                    <a:pt x="16" y="45"/>
                    <a:pt x="15" y="40"/>
                    <a:pt x="13" y="36"/>
                  </a:cubicBezTo>
                  <a:cubicBezTo>
                    <a:pt x="15" y="40"/>
                    <a:pt x="16" y="45"/>
                    <a:pt x="17" y="50"/>
                  </a:cubicBezTo>
                  <a:cubicBezTo>
                    <a:pt x="21" y="64"/>
                    <a:pt x="25" y="80"/>
                    <a:pt x="26" y="96"/>
                  </a:cubicBezTo>
                  <a:cubicBezTo>
                    <a:pt x="27" y="107"/>
                    <a:pt x="28" y="118"/>
                    <a:pt x="27" y="128"/>
                  </a:cubicBezTo>
                  <a:cubicBezTo>
                    <a:pt x="27" y="130"/>
                    <a:pt x="27" y="132"/>
                    <a:pt x="27" y="134"/>
                  </a:cubicBezTo>
                  <a:cubicBezTo>
                    <a:pt x="27" y="132"/>
                    <a:pt x="27" y="130"/>
                    <a:pt x="27" y="128"/>
                  </a:cubicBezTo>
                  <a:cubicBezTo>
                    <a:pt x="28" y="118"/>
                    <a:pt x="27" y="107"/>
                    <a:pt x="26" y="96"/>
                  </a:cubicBezTo>
                  <a:cubicBezTo>
                    <a:pt x="25" y="80"/>
                    <a:pt x="21" y="64"/>
                    <a:pt x="17" y="50"/>
                  </a:cubicBezTo>
                  <a:close/>
                  <a:moveTo>
                    <a:pt x="25" y="172"/>
                  </a:moveTo>
                  <a:cubicBezTo>
                    <a:pt x="25" y="172"/>
                    <a:pt x="25" y="172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lose/>
                  <a:moveTo>
                    <a:pt x="26" y="172"/>
                  </a:moveTo>
                  <a:cubicBezTo>
                    <a:pt x="25" y="172"/>
                    <a:pt x="25" y="172"/>
                    <a:pt x="25" y="172"/>
                  </a:cubicBezTo>
                  <a:cubicBezTo>
                    <a:pt x="26" y="172"/>
                    <a:pt x="26" y="172"/>
                    <a:pt x="26" y="172"/>
                  </a:cubicBezTo>
                  <a:cubicBezTo>
                    <a:pt x="26" y="172"/>
                    <a:pt x="26" y="170"/>
                    <a:pt x="26" y="169"/>
                  </a:cubicBezTo>
                  <a:cubicBezTo>
                    <a:pt x="26" y="170"/>
                    <a:pt x="26" y="172"/>
                    <a:pt x="26" y="172"/>
                  </a:cubicBezTo>
                  <a:close/>
                  <a:moveTo>
                    <a:pt x="26" y="167"/>
                  </a:moveTo>
                  <a:cubicBezTo>
                    <a:pt x="26" y="166"/>
                    <a:pt x="26" y="165"/>
                    <a:pt x="26" y="164"/>
                  </a:cubicBezTo>
                  <a:cubicBezTo>
                    <a:pt x="26" y="165"/>
                    <a:pt x="26" y="166"/>
                    <a:pt x="26" y="167"/>
                  </a:cubicBezTo>
                  <a:close/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lose/>
                  <a:moveTo>
                    <a:pt x="14" y="14"/>
                  </a:moveTo>
                  <a:cubicBezTo>
                    <a:pt x="12" y="14"/>
                    <a:pt x="11" y="14"/>
                    <a:pt x="11" y="13"/>
                  </a:cubicBezTo>
                  <a:cubicBezTo>
                    <a:pt x="11" y="14"/>
                    <a:pt x="12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21" y="6"/>
                  </a:moveTo>
                  <a:cubicBezTo>
                    <a:pt x="21" y="7"/>
                    <a:pt x="21" y="7"/>
                    <a:pt x="20" y="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10"/>
                    <a:pt x="19" y="10"/>
                    <a:pt x="19" y="11"/>
                  </a:cubicBezTo>
                  <a:cubicBezTo>
                    <a:pt x="19" y="10"/>
                    <a:pt x="19" y="10"/>
                    <a:pt x="20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2" y="6"/>
                    <a:pt x="22" y="5"/>
                    <a:pt x="23" y="5"/>
                  </a:cubicBezTo>
                  <a:cubicBezTo>
                    <a:pt x="22" y="5"/>
                    <a:pt x="22" y="6"/>
                    <a:pt x="21" y="6"/>
                  </a:cubicBezTo>
                  <a:close/>
                  <a:moveTo>
                    <a:pt x="25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25" y="4"/>
                  </a:lnTo>
                  <a:close/>
                  <a:moveTo>
                    <a:pt x="28" y="6"/>
                  </a:move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8" y="6"/>
                  </a:cubicBezTo>
                  <a:cubicBezTo>
                    <a:pt x="29" y="7"/>
                    <a:pt x="29" y="8"/>
                    <a:pt x="30" y="9"/>
                  </a:cubicBezTo>
                  <a:cubicBezTo>
                    <a:pt x="29" y="8"/>
                    <a:pt x="29" y="7"/>
                    <a:pt x="28" y="6"/>
                  </a:cubicBezTo>
                  <a:close/>
                  <a:moveTo>
                    <a:pt x="36" y="14"/>
                  </a:moveTo>
                  <a:cubicBezTo>
                    <a:pt x="36" y="14"/>
                    <a:pt x="35" y="14"/>
                    <a:pt x="35" y="14"/>
                  </a:cubicBezTo>
                  <a:cubicBezTo>
                    <a:pt x="35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lose/>
                  <a:moveTo>
                    <a:pt x="38" y="14"/>
                  </a:moveTo>
                  <a:cubicBezTo>
                    <a:pt x="39" y="14"/>
                    <a:pt x="39" y="13"/>
                    <a:pt x="40" y="13"/>
                  </a:cubicBezTo>
                  <a:cubicBezTo>
                    <a:pt x="39" y="13"/>
                    <a:pt x="39" y="14"/>
                    <a:pt x="38" y="14"/>
                  </a:cubicBezTo>
                  <a:close/>
                  <a:moveTo>
                    <a:pt x="41" y="12"/>
                  </a:moveTo>
                  <a:cubicBezTo>
                    <a:pt x="41" y="11"/>
                    <a:pt x="41" y="11"/>
                    <a:pt x="42" y="10"/>
                  </a:cubicBezTo>
                  <a:cubicBezTo>
                    <a:pt x="41" y="11"/>
                    <a:pt x="41" y="11"/>
                    <a:pt x="41" y="12"/>
                  </a:cubicBezTo>
                  <a:close/>
                  <a:moveTo>
                    <a:pt x="53" y="10"/>
                  </a:moveTo>
                  <a:cubicBezTo>
                    <a:pt x="51" y="7"/>
                    <a:pt x="50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50" y="6"/>
                    <a:pt x="51" y="7"/>
                    <a:pt x="53" y="10"/>
                  </a:cubicBezTo>
                  <a:cubicBezTo>
                    <a:pt x="53" y="11"/>
                    <a:pt x="54" y="12"/>
                    <a:pt x="54" y="13"/>
                  </a:cubicBezTo>
                  <a:cubicBezTo>
                    <a:pt x="54" y="12"/>
                    <a:pt x="53" y="11"/>
                    <a:pt x="53" y="10"/>
                  </a:cubicBezTo>
                  <a:close/>
                  <a:moveTo>
                    <a:pt x="59" y="15"/>
                  </a:moveTo>
                  <a:cubicBezTo>
                    <a:pt x="59" y="15"/>
                    <a:pt x="59" y="15"/>
                    <a:pt x="59" y="15"/>
                  </a:cubicBezTo>
                  <a:close/>
                  <a:moveTo>
                    <a:pt x="70" y="6"/>
                  </a:moveTo>
                  <a:cubicBezTo>
                    <a:pt x="70" y="6"/>
                    <a:pt x="70" y="6"/>
                    <a:pt x="70" y="6"/>
                  </a:cubicBezTo>
                  <a:cubicBezTo>
                    <a:pt x="69" y="6"/>
                    <a:pt x="68" y="6"/>
                    <a:pt x="67" y="7"/>
                  </a:cubicBezTo>
                  <a:cubicBezTo>
                    <a:pt x="68" y="6"/>
                    <a:pt x="69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2" y="6"/>
                    <a:pt x="74" y="7"/>
                    <a:pt x="75" y="9"/>
                  </a:cubicBezTo>
                  <a:cubicBezTo>
                    <a:pt x="74" y="7"/>
                    <a:pt x="72" y="6"/>
                    <a:pt x="70" y="6"/>
                  </a:cubicBezTo>
                  <a:close/>
                  <a:moveTo>
                    <a:pt x="81" y="13"/>
                  </a:moveTo>
                  <a:cubicBezTo>
                    <a:pt x="80" y="13"/>
                    <a:pt x="79" y="14"/>
                    <a:pt x="78" y="13"/>
                  </a:cubicBezTo>
                  <a:cubicBezTo>
                    <a:pt x="79" y="14"/>
                    <a:pt x="80" y="14"/>
                    <a:pt x="81" y="15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3"/>
                    <a:pt x="81" y="13"/>
                    <a:pt x="81" y="13"/>
                  </a:cubicBezTo>
                  <a:close/>
                  <a:moveTo>
                    <a:pt x="84" y="14"/>
                  </a:moveTo>
                  <a:cubicBezTo>
                    <a:pt x="83" y="14"/>
                    <a:pt x="83" y="14"/>
                    <a:pt x="83" y="14"/>
                  </a:cubicBezTo>
                  <a:lnTo>
                    <a:pt x="84" y="14"/>
                  </a:lnTo>
                  <a:close/>
                  <a:moveTo>
                    <a:pt x="83" y="15"/>
                  </a:moveTo>
                  <a:cubicBezTo>
                    <a:pt x="83" y="15"/>
                    <a:pt x="83" y="15"/>
                    <a:pt x="83" y="15"/>
                  </a:cubicBezTo>
                  <a:close/>
                  <a:moveTo>
                    <a:pt x="84" y="14"/>
                  </a:moveTo>
                  <a:cubicBezTo>
                    <a:pt x="85" y="13"/>
                    <a:pt x="85" y="13"/>
                    <a:pt x="85" y="13"/>
                  </a:cubicBezTo>
                  <a:lnTo>
                    <a:pt x="84" y="14"/>
                  </a:lnTo>
                  <a:close/>
                  <a:moveTo>
                    <a:pt x="85" y="13"/>
                  </a:moveTo>
                  <a:cubicBezTo>
                    <a:pt x="86" y="13"/>
                    <a:pt x="86" y="13"/>
                    <a:pt x="86" y="13"/>
                  </a:cubicBezTo>
                  <a:lnTo>
                    <a:pt x="85" y="13"/>
                  </a:lnTo>
                  <a:close/>
                  <a:moveTo>
                    <a:pt x="86" y="12"/>
                  </a:moveTo>
                  <a:cubicBezTo>
                    <a:pt x="86" y="12"/>
                    <a:pt x="86" y="12"/>
                    <a:pt x="86" y="12"/>
                  </a:cubicBezTo>
                  <a:close/>
                  <a:moveTo>
                    <a:pt x="88" y="14"/>
                  </a:moveTo>
                  <a:cubicBezTo>
                    <a:pt x="87" y="16"/>
                    <a:pt x="87" y="19"/>
                    <a:pt x="86" y="21"/>
                  </a:cubicBezTo>
                  <a:cubicBezTo>
                    <a:pt x="87" y="19"/>
                    <a:pt x="87" y="16"/>
                    <a:pt x="88" y="14"/>
                  </a:cubicBezTo>
                  <a:close/>
                  <a:moveTo>
                    <a:pt x="85" y="24"/>
                  </a:moveTo>
                  <a:cubicBezTo>
                    <a:pt x="84" y="27"/>
                    <a:pt x="83" y="30"/>
                    <a:pt x="82" y="33"/>
                  </a:cubicBezTo>
                  <a:cubicBezTo>
                    <a:pt x="83" y="30"/>
                    <a:pt x="84" y="27"/>
                    <a:pt x="85" y="24"/>
                  </a:cubicBezTo>
                  <a:close/>
                  <a:moveTo>
                    <a:pt x="66" y="172"/>
                  </a:moveTo>
                  <a:cubicBezTo>
                    <a:pt x="66" y="172"/>
                    <a:pt x="66" y="172"/>
                    <a:pt x="66" y="172"/>
                  </a:cubicBezTo>
                  <a:close/>
                  <a:moveTo>
                    <a:pt x="67" y="173"/>
                  </a:moveTo>
                  <a:cubicBezTo>
                    <a:pt x="67" y="172"/>
                    <a:pt x="67" y="172"/>
                    <a:pt x="67" y="172"/>
                  </a:cubicBezTo>
                  <a:cubicBezTo>
                    <a:pt x="67" y="173"/>
                    <a:pt x="67" y="173"/>
                    <a:pt x="67" y="173"/>
                  </a:cubicBezTo>
                  <a:close/>
                </a:path>
              </a:pathLst>
            </a:custGeom>
            <a:solidFill>
              <a:srgbClr val="0C2F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3" name="íṡḻíďè">
              <a:extLst>
                <a:ext uri="{FF2B5EF4-FFF2-40B4-BE49-F238E27FC236}">
                  <a16:creationId xmlns:a16="http://schemas.microsoft.com/office/drawing/2014/main" xmlns="" id="{BA0D12F6-1247-468B-9553-C917F35074B7}"/>
                </a:ext>
              </a:extLst>
            </p:cNvPr>
            <p:cNvSpPr/>
            <p:nvPr/>
          </p:nvSpPr>
          <p:spPr bwMode="auto">
            <a:xfrm>
              <a:off x="5024009" y="5662849"/>
              <a:ext cx="1090474" cy="0"/>
            </a:xfrm>
            <a:custGeom>
              <a:avLst/>
              <a:gdLst>
                <a:gd name="T0" fmla="*/ 0 w 118"/>
                <a:gd name="T1" fmla="*/ 118 w 118"/>
                <a:gd name="T2" fmla="*/ 0 w 11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18">
                  <a:moveTo>
                    <a:pt x="0" y="0"/>
                  </a:moveTo>
                  <a:lnTo>
                    <a:pt x="1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4" name="íşḻíďè">
              <a:extLst>
                <a:ext uri="{FF2B5EF4-FFF2-40B4-BE49-F238E27FC236}">
                  <a16:creationId xmlns:a16="http://schemas.microsoft.com/office/drawing/2014/main" xmlns="" id="{97731035-7B81-4365-AEA5-7C7F170A5FFC}"/>
                </a:ext>
              </a:extLst>
            </p:cNvPr>
            <p:cNvSpPr/>
            <p:nvPr/>
          </p:nvSpPr>
          <p:spPr bwMode="auto">
            <a:xfrm>
              <a:off x="5024009" y="5662849"/>
              <a:ext cx="1090474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文本框 16">
            <a:extLst>
              <a:ext uri="{FF2B5EF4-FFF2-40B4-BE49-F238E27FC236}">
                <a16:creationId xmlns:a16="http://schemas.microsoft.com/office/drawing/2014/main" xmlns="" id="{F3733101-2FE2-47FE-94A0-AFCD07286A96}"/>
              </a:ext>
            </a:extLst>
          </p:cNvPr>
          <p:cNvSpPr txBox="1"/>
          <p:nvPr/>
        </p:nvSpPr>
        <p:spPr>
          <a:xfrm>
            <a:off x="7871113" y="1576076"/>
            <a:ext cx="10162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ernet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xmlns="" id="{53CCEE8A-B832-4FE2-A366-FFE2EDB86807}"/>
              </a:ext>
            </a:extLst>
          </p:cNvPr>
          <p:cNvGrpSpPr/>
          <p:nvPr/>
        </p:nvGrpSpPr>
        <p:grpSpPr>
          <a:xfrm>
            <a:off x="1858258" y="2087615"/>
            <a:ext cx="732469" cy="463190"/>
            <a:chOff x="3583908" y="4483239"/>
            <a:chExt cx="1578333" cy="971285"/>
          </a:xfrm>
        </p:grpSpPr>
        <p:sp>
          <p:nvSpPr>
            <p:cNvPr id="203" name="ïSḷïḍê">
              <a:extLst>
                <a:ext uri="{FF2B5EF4-FFF2-40B4-BE49-F238E27FC236}">
                  <a16:creationId xmlns:a16="http://schemas.microsoft.com/office/drawing/2014/main" xmlns="" id="{0EE3F29A-2B5C-419A-9444-8B437CA05696}"/>
                </a:ext>
              </a:extLst>
            </p:cNvPr>
            <p:cNvSpPr/>
            <p:nvPr/>
          </p:nvSpPr>
          <p:spPr bwMode="auto">
            <a:xfrm>
              <a:off x="3583908" y="4483239"/>
              <a:ext cx="1578333" cy="479862"/>
            </a:xfrm>
            <a:custGeom>
              <a:avLst/>
              <a:gdLst>
                <a:gd name="T0" fmla="*/ 1149 w 1207"/>
                <a:gd name="T1" fmla="*/ 367 h 367"/>
                <a:gd name="T2" fmla="*/ 57 w 1207"/>
                <a:gd name="T3" fmla="*/ 367 h 367"/>
                <a:gd name="T4" fmla="*/ 0 w 1207"/>
                <a:gd name="T5" fmla="*/ 310 h 367"/>
                <a:gd name="T6" fmla="*/ 0 w 1207"/>
                <a:gd name="T7" fmla="*/ 57 h 367"/>
                <a:gd name="T8" fmla="*/ 57 w 1207"/>
                <a:gd name="T9" fmla="*/ 0 h 367"/>
                <a:gd name="T10" fmla="*/ 1149 w 1207"/>
                <a:gd name="T11" fmla="*/ 0 h 367"/>
                <a:gd name="T12" fmla="*/ 1207 w 1207"/>
                <a:gd name="T13" fmla="*/ 57 h 367"/>
                <a:gd name="T14" fmla="*/ 1207 w 1207"/>
                <a:gd name="T15" fmla="*/ 310 h 367"/>
                <a:gd name="T16" fmla="*/ 1149 w 1207"/>
                <a:gd name="T1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7">
                  <a:moveTo>
                    <a:pt x="1149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1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5"/>
                    <a:pt x="1207" y="57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1"/>
                    <a:pt x="1181" y="367"/>
                    <a:pt x="1149" y="367"/>
                  </a:cubicBez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4" name="ïŝļiḍe">
              <a:extLst>
                <a:ext uri="{FF2B5EF4-FFF2-40B4-BE49-F238E27FC236}">
                  <a16:creationId xmlns:a16="http://schemas.microsoft.com/office/drawing/2014/main" xmlns="" id="{F3B7D44C-BD89-458F-A7D4-46210EEBEEC4}"/>
                </a:ext>
              </a:extLst>
            </p:cNvPr>
            <p:cNvSpPr/>
            <p:nvPr/>
          </p:nvSpPr>
          <p:spPr bwMode="auto">
            <a:xfrm>
              <a:off x="3583908" y="4483239"/>
              <a:ext cx="792057" cy="479862"/>
            </a:xfrm>
            <a:custGeom>
              <a:avLst/>
              <a:gdLst>
                <a:gd name="T0" fmla="*/ 603 w 603"/>
                <a:gd name="T1" fmla="*/ 367 h 367"/>
                <a:gd name="T2" fmla="*/ 57 w 603"/>
                <a:gd name="T3" fmla="*/ 367 h 367"/>
                <a:gd name="T4" fmla="*/ 0 w 603"/>
                <a:gd name="T5" fmla="*/ 310 h 367"/>
                <a:gd name="T6" fmla="*/ 0 w 603"/>
                <a:gd name="T7" fmla="*/ 57 h 367"/>
                <a:gd name="T8" fmla="*/ 57 w 603"/>
                <a:gd name="T9" fmla="*/ 0 h 367"/>
                <a:gd name="T10" fmla="*/ 603 w 603"/>
                <a:gd name="T11" fmla="*/ 0 h 367"/>
                <a:gd name="T12" fmla="*/ 603 w 603"/>
                <a:gd name="T13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7">
                  <a:moveTo>
                    <a:pt x="603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7"/>
                  </a:ln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5" name="îṥlíďé">
              <a:extLst>
                <a:ext uri="{FF2B5EF4-FFF2-40B4-BE49-F238E27FC236}">
                  <a16:creationId xmlns:a16="http://schemas.microsoft.com/office/drawing/2014/main" xmlns="" id="{F65B5E0D-006F-4391-89D4-9D9E703FD891}"/>
                </a:ext>
              </a:extLst>
            </p:cNvPr>
            <p:cNvSpPr/>
            <p:nvPr/>
          </p:nvSpPr>
          <p:spPr bwMode="auto">
            <a:xfrm>
              <a:off x="3583908" y="4974662"/>
              <a:ext cx="1578333" cy="479862"/>
            </a:xfrm>
            <a:custGeom>
              <a:avLst/>
              <a:gdLst>
                <a:gd name="T0" fmla="*/ 1149 w 1207"/>
                <a:gd name="T1" fmla="*/ 368 h 368"/>
                <a:gd name="T2" fmla="*/ 57 w 1207"/>
                <a:gd name="T3" fmla="*/ 368 h 368"/>
                <a:gd name="T4" fmla="*/ 0 w 1207"/>
                <a:gd name="T5" fmla="*/ 310 h 368"/>
                <a:gd name="T6" fmla="*/ 0 w 1207"/>
                <a:gd name="T7" fmla="*/ 58 h 368"/>
                <a:gd name="T8" fmla="*/ 57 w 1207"/>
                <a:gd name="T9" fmla="*/ 0 h 368"/>
                <a:gd name="T10" fmla="*/ 1149 w 1207"/>
                <a:gd name="T11" fmla="*/ 0 h 368"/>
                <a:gd name="T12" fmla="*/ 1207 w 1207"/>
                <a:gd name="T13" fmla="*/ 58 h 368"/>
                <a:gd name="T14" fmla="*/ 1207 w 1207"/>
                <a:gd name="T15" fmla="*/ 310 h 368"/>
                <a:gd name="T16" fmla="*/ 1149 w 1207"/>
                <a:gd name="T1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8">
                  <a:moveTo>
                    <a:pt x="1149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6"/>
                    <a:pt x="1207" y="58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2"/>
                    <a:pt x="1181" y="368"/>
                    <a:pt x="1149" y="368"/>
                  </a:cubicBez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6" name="îṧļidê">
              <a:extLst>
                <a:ext uri="{FF2B5EF4-FFF2-40B4-BE49-F238E27FC236}">
                  <a16:creationId xmlns:a16="http://schemas.microsoft.com/office/drawing/2014/main" xmlns="" id="{9749D191-E723-4AEE-89D1-6F53FAC2D2DE}"/>
                </a:ext>
              </a:extLst>
            </p:cNvPr>
            <p:cNvSpPr/>
            <p:nvPr/>
          </p:nvSpPr>
          <p:spPr bwMode="auto">
            <a:xfrm>
              <a:off x="3583908" y="4974662"/>
              <a:ext cx="792057" cy="479862"/>
            </a:xfrm>
            <a:custGeom>
              <a:avLst/>
              <a:gdLst>
                <a:gd name="T0" fmla="*/ 603 w 603"/>
                <a:gd name="T1" fmla="*/ 368 h 368"/>
                <a:gd name="T2" fmla="*/ 57 w 603"/>
                <a:gd name="T3" fmla="*/ 368 h 368"/>
                <a:gd name="T4" fmla="*/ 0 w 603"/>
                <a:gd name="T5" fmla="*/ 310 h 368"/>
                <a:gd name="T6" fmla="*/ 0 w 603"/>
                <a:gd name="T7" fmla="*/ 57 h 368"/>
                <a:gd name="T8" fmla="*/ 57 w 603"/>
                <a:gd name="T9" fmla="*/ 0 h 368"/>
                <a:gd name="T10" fmla="*/ 603 w 603"/>
                <a:gd name="T11" fmla="*/ 0 h 368"/>
                <a:gd name="T12" fmla="*/ 603 w 603"/>
                <a:gd name="T1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8">
                  <a:moveTo>
                    <a:pt x="603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8"/>
                  </a:ln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7" name="ïṣļïḓé">
              <a:extLst>
                <a:ext uri="{FF2B5EF4-FFF2-40B4-BE49-F238E27FC236}">
                  <a16:creationId xmlns:a16="http://schemas.microsoft.com/office/drawing/2014/main" xmlns="" id="{C8E74912-E2F2-4B4E-A03D-F7DB0C8CCD0B}"/>
                </a:ext>
              </a:extLst>
            </p:cNvPr>
            <p:cNvSpPr/>
            <p:nvPr/>
          </p:nvSpPr>
          <p:spPr bwMode="auto">
            <a:xfrm>
              <a:off x="3711099" y="4598867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1"/>
                    <a:pt x="358" y="26"/>
                  </a:cubicBezTo>
                  <a:cubicBezTo>
                    <a:pt x="358" y="40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8" name="îşļiďè">
              <a:extLst>
                <a:ext uri="{FF2B5EF4-FFF2-40B4-BE49-F238E27FC236}">
                  <a16:creationId xmlns:a16="http://schemas.microsoft.com/office/drawing/2014/main" xmlns="" id="{67A7A8CB-DDEE-4E3B-B398-EC93A2FD3422}"/>
                </a:ext>
              </a:extLst>
            </p:cNvPr>
            <p:cNvSpPr/>
            <p:nvPr/>
          </p:nvSpPr>
          <p:spPr bwMode="auto">
            <a:xfrm>
              <a:off x="4994577" y="4581524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9" name="íṣ1îdè">
              <a:extLst>
                <a:ext uri="{FF2B5EF4-FFF2-40B4-BE49-F238E27FC236}">
                  <a16:creationId xmlns:a16="http://schemas.microsoft.com/office/drawing/2014/main" xmlns="" id="{9EA02C76-FDCD-4C53-BD42-F35F33CB0CE5}"/>
                </a:ext>
              </a:extLst>
            </p:cNvPr>
            <p:cNvSpPr/>
            <p:nvPr/>
          </p:nvSpPr>
          <p:spPr bwMode="auto">
            <a:xfrm>
              <a:off x="4994577" y="4679807"/>
              <a:ext cx="63597" cy="6359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0" name="îŝḻiḋé">
              <a:extLst>
                <a:ext uri="{FF2B5EF4-FFF2-40B4-BE49-F238E27FC236}">
                  <a16:creationId xmlns:a16="http://schemas.microsoft.com/office/drawing/2014/main" xmlns="" id="{4898F598-D7B4-4EEE-8BFA-3B76E316D974}"/>
                </a:ext>
              </a:extLst>
            </p:cNvPr>
            <p:cNvSpPr/>
            <p:nvPr/>
          </p:nvSpPr>
          <p:spPr bwMode="auto">
            <a:xfrm>
              <a:off x="4994577" y="4772310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1" name="iṥḷiḓè">
              <a:extLst>
                <a:ext uri="{FF2B5EF4-FFF2-40B4-BE49-F238E27FC236}">
                  <a16:creationId xmlns:a16="http://schemas.microsoft.com/office/drawing/2014/main" xmlns="" id="{13DEDE95-3C8A-4620-BF59-D4C48DB5F8DD}"/>
                </a:ext>
              </a:extLst>
            </p:cNvPr>
            <p:cNvSpPr/>
            <p:nvPr/>
          </p:nvSpPr>
          <p:spPr bwMode="auto">
            <a:xfrm>
              <a:off x="3711099" y="5090291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2" name="îš1íḓe">
              <a:extLst>
                <a:ext uri="{FF2B5EF4-FFF2-40B4-BE49-F238E27FC236}">
                  <a16:creationId xmlns:a16="http://schemas.microsoft.com/office/drawing/2014/main" xmlns="" id="{2EB5C3BA-3601-4393-846C-098E28EFBB93}"/>
                </a:ext>
              </a:extLst>
            </p:cNvPr>
            <p:cNvSpPr/>
            <p:nvPr/>
          </p:nvSpPr>
          <p:spPr bwMode="auto">
            <a:xfrm>
              <a:off x="3711099" y="5188573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4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3" name="íŝlïḑe">
              <a:extLst>
                <a:ext uri="{FF2B5EF4-FFF2-40B4-BE49-F238E27FC236}">
                  <a16:creationId xmlns:a16="http://schemas.microsoft.com/office/drawing/2014/main" xmlns="" id="{12C5FC8B-5754-44C6-82B0-4C3F14818201}"/>
                </a:ext>
              </a:extLst>
            </p:cNvPr>
            <p:cNvSpPr/>
            <p:nvPr/>
          </p:nvSpPr>
          <p:spPr bwMode="auto">
            <a:xfrm>
              <a:off x="3711099" y="5286859"/>
              <a:ext cx="69377" cy="6359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4" name="ïšlíḍé">
              <a:extLst>
                <a:ext uri="{FF2B5EF4-FFF2-40B4-BE49-F238E27FC236}">
                  <a16:creationId xmlns:a16="http://schemas.microsoft.com/office/drawing/2014/main" xmlns="" id="{D3F5160B-B1B3-4723-8295-E186C7548325}"/>
                </a:ext>
              </a:extLst>
            </p:cNvPr>
            <p:cNvSpPr/>
            <p:nvPr/>
          </p:nvSpPr>
          <p:spPr bwMode="auto">
            <a:xfrm>
              <a:off x="3711099" y="4772310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2"/>
                    <a:pt x="358" y="26"/>
                  </a:cubicBezTo>
                  <a:cubicBezTo>
                    <a:pt x="358" y="41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5" name="ï$ḻidê">
              <a:extLst>
                <a:ext uri="{FF2B5EF4-FFF2-40B4-BE49-F238E27FC236}">
                  <a16:creationId xmlns:a16="http://schemas.microsoft.com/office/drawing/2014/main" xmlns="" id="{1862E971-A8D3-469A-BDA7-42F2C30D7FE5}"/>
                </a:ext>
              </a:extLst>
            </p:cNvPr>
            <p:cNvSpPr/>
            <p:nvPr/>
          </p:nvSpPr>
          <p:spPr bwMode="auto">
            <a:xfrm>
              <a:off x="4560968" y="5090291"/>
              <a:ext cx="468298" cy="69377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6"/>
                  </a:cubicBezTo>
                  <a:cubicBezTo>
                    <a:pt x="357" y="41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6" name="iśľîḑê">
              <a:extLst>
                <a:ext uri="{FF2B5EF4-FFF2-40B4-BE49-F238E27FC236}">
                  <a16:creationId xmlns:a16="http://schemas.microsoft.com/office/drawing/2014/main" xmlns="" id="{3BB84495-27F6-4E3B-87B9-AD18CB920D79}"/>
                </a:ext>
              </a:extLst>
            </p:cNvPr>
            <p:cNvSpPr/>
            <p:nvPr/>
          </p:nvSpPr>
          <p:spPr bwMode="auto">
            <a:xfrm>
              <a:off x="4560968" y="5263734"/>
              <a:ext cx="468298" cy="69377"/>
            </a:xfrm>
            <a:custGeom>
              <a:avLst/>
              <a:gdLst>
                <a:gd name="T0" fmla="*/ 331 w 357"/>
                <a:gd name="T1" fmla="*/ 53 h 53"/>
                <a:gd name="T2" fmla="*/ 26 w 357"/>
                <a:gd name="T3" fmla="*/ 53 h 53"/>
                <a:gd name="T4" fmla="*/ 0 w 357"/>
                <a:gd name="T5" fmla="*/ 27 h 53"/>
                <a:gd name="T6" fmla="*/ 26 w 357"/>
                <a:gd name="T7" fmla="*/ 0 h 53"/>
                <a:gd name="T8" fmla="*/ 331 w 357"/>
                <a:gd name="T9" fmla="*/ 0 h 53"/>
                <a:gd name="T10" fmla="*/ 357 w 357"/>
                <a:gd name="T11" fmla="*/ 27 h 53"/>
                <a:gd name="T12" fmla="*/ 331 w 357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3">
                  <a:moveTo>
                    <a:pt x="331" y="53"/>
                  </a:moveTo>
                  <a:cubicBezTo>
                    <a:pt x="26" y="53"/>
                    <a:pt x="26" y="53"/>
                    <a:pt x="26" y="53"/>
                  </a:cubicBezTo>
                  <a:cubicBezTo>
                    <a:pt x="11" y="53"/>
                    <a:pt x="0" y="41"/>
                    <a:pt x="0" y="27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7"/>
                  </a:cubicBezTo>
                  <a:cubicBezTo>
                    <a:pt x="357" y="41"/>
                    <a:pt x="345" y="53"/>
                    <a:pt x="331" y="53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B79D8070-70AF-4EBE-9C02-139C92497121}"/>
              </a:ext>
            </a:extLst>
          </p:cNvPr>
          <p:cNvSpPr txBox="1"/>
          <p:nvPr/>
        </p:nvSpPr>
        <p:spPr>
          <a:xfrm>
            <a:off x="8140617" y="2793278"/>
            <a:ext cx="543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ct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b="1" dirty="0"/>
              <a:t>VOD</a:t>
            </a:r>
            <a:endParaRPr lang="zh-CN" altLang="en-US" b="1" dirty="0"/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xmlns="" id="{C012DC9C-B143-4C53-A4F9-504458F3DD97}"/>
              </a:ext>
            </a:extLst>
          </p:cNvPr>
          <p:cNvCxnSpPr>
            <a:cxnSpLocks/>
          </p:cNvCxnSpPr>
          <p:nvPr/>
        </p:nvCxnSpPr>
        <p:spPr bwMode="auto">
          <a:xfrm flipV="1">
            <a:off x="699006" y="3541168"/>
            <a:ext cx="2796299" cy="6144"/>
          </a:xfrm>
          <a:prstGeom prst="line">
            <a:avLst/>
          </a:prstGeom>
          <a:ln w="57150">
            <a:prstDash val="dash"/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xmlns="" id="{357E9FF1-525E-4F6B-BBF0-55332E02CD3E}"/>
              </a:ext>
            </a:extLst>
          </p:cNvPr>
          <p:cNvSpPr txBox="1"/>
          <p:nvPr/>
        </p:nvSpPr>
        <p:spPr>
          <a:xfrm>
            <a:off x="1703567" y="3124716"/>
            <a:ext cx="14594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Laborato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xmlns="" id="{715DBAB0-F8AB-46C3-9CFE-09F7A21EB3D0}"/>
              </a:ext>
            </a:extLst>
          </p:cNvPr>
          <p:cNvCxnSpPr>
            <a:cxnSpLocks/>
          </p:cNvCxnSpPr>
          <p:nvPr/>
        </p:nvCxnSpPr>
        <p:spPr bwMode="auto">
          <a:xfrm>
            <a:off x="1199406" y="1917758"/>
            <a:ext cx="467570" cy="24154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xmlns="" id="{68003056-F890-43AC-9841-B87F10AF1A35}"/>
              </a:ext>
            </a:extLst>
          </p:cNvPr>
          <p:cNvCxnSpPr>
            <a:cxnSpLocks/>
          </p:cNvCxnSpPr>
          <p:nvPr/>
        </p:nvCxnSpPr>
        <p:spPr bwMode="auto">
          <a:xfrm flipV="1">
            <a:off x="1199406" y="2292388"/>
            <a:ext cx="467570" cy="443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xmlns="" id="{F04BB6FC-5619-4CD9-9B97-B2F70C29879A}"/>
              </a:ext>
            </a:extLst>
          </p:cNvPr>
          <p:cNvCxnSpPr>
            <a:cxnSpLocks/>
          </p:cNvCxnSpPr>
          <p:nvPr/>
        </p:nvCxnSpPr>
        <p:spPr bwMode="auto">
          <a:xfrm flipV="1">
            <a:off x="1199406" y="2440038"/>
            <a:ext cx="454840" cy="2393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xmlns="" id="{2B9F75BF-D542-4675-8C6D-0961BCC0C482}"/>
              </a:ext>
            </a:extLst>
          </p:cNvPr>
          <p:cNvCxnSpPr>
            <a:cxnSpLocks/>
          </p:cNvCxnSpPr>
          <p:nvPr/>
        </p:nvCxnSpPr>
        <p:spPr bwMode="auto">
          <a:xfrm flipV="1">
            <a:off x="1168272" y="2575012"/>
            <a:ext cx="506714" cy="52964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文本框 34">
            <a:extLst>
              <a:ext uri="{FF2B5EF4-FFF2-40B4-BE49-F238E27FC236}">
                <a16:creationId xmlns:a16="http://schemas.microsoft.com/office/drawing/2014/main" xmlns="" id="{B8A9BAEC-5367-4036-A472-CC40F52E71AD}"/>
              </a:ext>
            </a:extLst>
          </p:cNvPr>
          <p:cNvSpPr txBox="1"/>
          <p:nvPr/>
        </p:nvSpPr>
        <p:spPr>
          <a:xfrm>
            <a:off x="1763688" y="4603922"/>
            <a:ext cx="9629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12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DA Server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xmlns="" id="{09FCAF74-19FA-4C92-9AAC-B571BB61589B}"/>
              </a:ext>
            </a:extLst>
          </p:cNvPr>
          <p:cNvGrpSpPr/>
          <p:nvPr/>
        </p:nvGrpSpPr>
        <p:grpSpPr>
          <a:xfrm>
            <a:off x="1868070" y="4090486"/>
            <a:ext cx="732469" cy="463190"/>
            <a:chOff x="3583908" y="4483239"/>
            <a:chExt cx="1578333" cy="971285"/>
          </a:xfrm>
        </p:grpSpPr>
        <p:sp>
          <p:nvSpPr>
            <p:cNvPr id="189" name="ïSḷïḍê">
              <a:extLst>
                <a:ext uri="{FF2B5EF4-FFF2-40B4-BE49-F238E27FC236}">
                  <a16:creationId xmlns:a16="http://schemas.microsoft.com/office/drawing/2014/main" xmlns="" id="{F5122123-A6CD-4787-88F4-80D16CABF769}"/>
                </a:ext>
              </a:extLst>
            </p:cNvPr>
            <p:cNvSpPr/>
            <p:nvPr/>
          </p:nvSpPr>
          <p:spPr bwMode="auto">
            <a:xfrm>
              <a:off x="3583908" y="4483239"/>
              <a:ext cx="1578333" cy="479862"/>
            </a:xfrm>
            <a:custGeom>
              <a:avLst/>
              <a:gdLst>
                <a:gd name="T0" fmla="*/ 1149 w 1207"/>
                <a:gd name="T1" fmla="*/ 367 h 367"/>
                <a:gd name="T2" fmla="*/ 57 w 1207"/>
                <a:gd name="T3" fmla="*/ 367 h 367"/>
                <a:gd name="T4" fmla="*/ 0 w 1207"/>
                <a:gd name="T5" fmla="*/ 310 h 367"/>
                <a:gd name="T6" fmla="*/ 0 w 1207"/>
                <a:gd name="T7" fmla="*/ 57 h 367"/>
                <a:gd name="T8" fmla="*/ 57 w 1207"/>
                <a:gd name="T9" fmla="*/ 0 h 367"/>
                <a:gd name="T10" fmla="*/ 1149 w 1207"/>
                <a:gd name="T11" fmla="*/ 0 h 367"/>
                <a:gd name="T12" fmla="*/ 1207 w 1207"/>
                <a:gd name="T13" fmla="*/ 57 h 367"/>
                <a:gd name="T14" fmla="*/ 1207 w 1207"/>
                <a:gd name="T15" fmla="*/ 310 h 367"/>
                <a:gd name="T16" fmla="*/ 1149 w 1207"/>
                <a:gd name="T1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7">
                  <a:moveTo>
                    <a:pt x="1149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1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5"/>
                    <a:pt x="1207" y="57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1"/>
                    <a:pt x="1181" y="367"/>
                    <a:pt x="1149" y="367"/>
                  </a:cubicBez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0" name="ïŝļiḍe">
              <a:extLst>
                <a:ext uri="{FF2B5EF4-FFF2-40B4-BE49-F238E27FC236}">
                  <a16:creationId xmlns:a16="http://schemas.microsoft.com/office/drawing/2014/main" xmlns="" id="{8CB90016-B1E3-4D67-9ABD-2540B59CFF4C}"/>
                </a:ext>
              </a:extLst>
            </p:cNvPr>
            <p:cNvSpPr/>
            <p:nvPr/>
          </p:nvSpPr>
          <p:spPr bwMode="auto">
            <a:xfrm>
              <a:off x="3583908" y="4483239"/>
              <a:ext cx="792057" cy="479862"/>
            </a:xfrm>
            <a:custGeom>
              <a:avLst/>
              <a:gdLst>
                <a:gd name="T0" fmla="*/ 603 w 603"/>
                <a:gd name="T1" fmla="*/ 367 h 367"/>
                <a:gd name="T2" fmla="*/ 57 w 603"/>
                <a:gd name="T3" fmla="*/ 367 h 367"/>
                <a:gd name="T4" fmla="*/ 0 w 603"/>
                <a:gd name="T5" fmla="*/ 310 h 367"/>
                <a:gd name="T6" fmla="*/ 0 w 603"/>
                <a:gd name="T7" fmla="*/ 57 h 367"/>
                <a:gd name="T8" fmla="*/ 57 w 603"/>
                <a:gd name="T9" fmla="*/ 0 h 367"/>
                <a:gd name="T10" fmla="*/ 603 w 603"/>
                <a:gd name="T11" fmla="*/ 0 h 367"/>
                <a:gd name="T12" fmla="*/ 603 w 603"/>
                <a:gd name="T13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7">
                  <a:moveTo>
                    <a:pt x="603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7"/>
                  </a:ln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1" name="îṥlíďé">
              <a:extLst>
                <a:ext uri="{FF2B5EF4-FFF2-40B4-BE49-F238E27FC236}">
                  <a16:creationId xmlns:a16="http://schemas.microsoft.com/office/drawing/2014/main" xmlns="" id="{CF5EFB6A-8838-46CD-9F85-B6D6CBFFC2EE}"/>
                </a:ext>
              </a:extLst>
            </p:cNvPr>
            <p:cNvSpPr/>
            <p:nvPr/>
          </p:nvSpPr>
          <p:spPr bwMode="auto">
            <a:xfrm>
              <a:off x="3583908" y="4974662"/>
              <a:ext cx="1578333" cy="479862"/>
            </a:xfrm>
            <a:custGeom>
              <a:avLst/>
              <a:gdLst>
                <a:gd name="T0" fmla="*/ 1149 w 1207"/>
                <a:gd name="T1" fmla="*/ 368 h 368"/>
                <a:gd name="T2" fmla="*/ 57 w 1207"/>
                <a:gd name="T3" fmla="*/ 368 h 368"/>
                <a:gd name="T4" fmla="*/ 0 w 1207"/>
                <a:gd name="T5" fmla="*/ 310 h 368"/>
                <a:gd name="T6" fmla="*/ 0 w 1207"/>
                <a:gd name="T7" fmla="*/ 58 h 368"/>
                <a:gd name="T8" fmla="*/ 57 w 1207"/>
                <a:gd name="T9" fmla="*/ 0 h 368"/>
                <a:gd name="T10" fmla="*/ 1149 w 1207"/>
                <a:gd name="T11" fmla="*/ 0 h 368"/>
                <a:gd name="T12" fmla="*/ 1207 w 1207"/>
                <a:gd name="T13" fmla="*/ 58 h 368"/>
                <a:gd name="T14" fmla="*/ 1207 w 1207"/>
                <a:gd name="T15" fmla="*/ 310 h 368"/>
                <a:gd name="T16" fmla="*/ 1149 w 1207"/>
                <a:gd name="T1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8">
                  <a:moveTo>
                    <a:pt x="1149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6"/>
                    <a:pt x="1207" y="58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2"/>
                    <a:pt x="1181" y="368"/>
                    <a:pt x="1149" y="368"/>
                  </a:cubicBez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2" name="îṧļidê">
              <a:extLst>
                <a:ext uri="{FF2B5EF4-FFF2-40B4-BE49-F238E27FC236}">
                  <a16:creationId xmlns:a16="http://schemas.microsoft.com/office/drawing/2014/main" xmlns="" id="{A4FD77A2-CE13-408F-8745-E1A6116FF9DC}"/>
                </a:ext>
              </a:extLst>
            </p:cNvPr>
            <p:cNvSpPr/>
            <p:nvPr/>
          </p:nvSpPr>
          <p:spPr bwMode="auto">
            <a:xfrm>
              <a:off x="3583908" y="4974662"/>
              <a:ext cx="792057" cy="479862"/>
            </a:xfrm>
            <a:custGeom>
              <a:avLst/>
              <a:gdLst>
                <a:gd name="T0" fmla="*/ 603 w 603"/>
                <a:gd name="T1" fmla="*/ 368 h 368"/>
                <a:gd name="T2" fmla="*/ 57 w 603"/>
                <a:gd name="T3" fmla="*/ 368 h 368"/>
                <a:gd name="T4" fmla="*/ 0 w 603"/>
                <a:gd name="T5" fmla="*/ 310 h 368"/>
                <a:gd name="T6" fmla="*/ 0 w 603"/>
                <a:gd name="T7" fmla="*/ 57 h 368"/>
                <a:gd name="T8" fmla="*/ 57 w 603"/>
                <a:gd name="T9" fmla="*/ 0 h 368"/>
                <a:gd name="T10" fmla="*/ 603 w 603"/>
                <a:gd name="T11" fmla="*/ 0 h 368"/>
                <a:gd name="T12" fmla="*/ 603 w 603"/>
                <a:gd name="T1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8">
                  <a:moveTo>
                    <a:pt x="603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8"/>
                  </a:ln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3" name="ïṣļïḓé">
              <a:extLst>
                <a:ext uri="{FF2B5EF4-FFF2-40B4-BE49-F238E27FC236}">
                  <a16:creationId xmlns:a16="http://schemas.microsoft.com/office/drawing/2014/main" xmlns="" id="{3E24262F-CB22-4DA3-8BC8-F4D6EE528AD8}"/>
                </a:ext>
              </a:extLst>
            </p:cNvPr>
            <p:cNvSpPr/>
            <p:nvPr/>
          </p:nvSpPr>
          <p:spPr bwMode="auto">
            <a:xfrm>
              <a:off x="3711099" y="4598867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1"/>
                    <a:pt x="358" y="26"/>
                  </a:cubicBezTo>
                  <a:cubicBezTo>
                    <a:pt x="358" y="40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4" name="îşļiďè">
              <a:extLst>
                <a:ext uri="{FF2B5EF4-FFF2-40B4-BE49-F238E27FC236}">
                  <a16:creationId xmlns:a16="http://schemas.microsoft.com/office/drawing/2014/main" xmlns="" id="{DBC5CE96-0377-4194-99CC-8471C322C15C}"/>
                </a:ext>
              </a:extLst>
            </p:cNvPr>
            <p:cNvSpPr/>
            <p:nvPr/>
          </p:nvSpPr>
          <p:spPr bwMode="auto">
            <a:xfrm>
              <a:off x="4994577" y="4581524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5" name="íṣ1îdè">
              <a:extLst>
                <a:ext uri="{FF2B5EF4-FFF2-40B4-BE49-F238E27FC236}">
                  <a16:creationId xmlns:a16="http://schemas.microsoft.com/office/drawing/2014/main" xmlns="" id="{7262D72B-A000-4E3F-A2BC-789A7ECC9222}"/>
                </a:ext>
              </a:extLst>
            </p:cNvPr>
            <p:cNvSpPr/>
            <p:nvPr/>
          </p:nvSpPr>
          <p:spPr bwMode="auto">
            <a:xfrm>
              <a:off x="4994577" y="4679807"/>
              <a:ext cx="63597" cy="6359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6" name="îŝḻiḋé">
              <a:extLst>
                <a:ext uri="{FF2B5EF4-FFF2-40B4-BE49-F238E27FC236}">
                  <a16:creationId xmlns:a16="http://schemas.microsoft.com/office/drawing/2014/main" xmlns="" id="{BBD30739-EBF7-4BB9-AD5D-2FA0AA9230EB}"/>
                </a:ext>
              </a:extLst>
            </p:cNvPr>
            <p:cNvSpPr/>
            <p:nvPr/>
          </p:nvSpPr>
          <p:spPr bwMode="auto">
            <a:xfrm>
              <a:off x="4994577" y="4772310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7" name="iṥḷiḓè">
              <a:extLst>
                <a:ext uri="{FF2B5EF4-FFF2-40B4-BE49-F238E27FC236}">
                  <a16:creationId xmlns:a16="http://schemas.microsoft.com/office/drawing/2014/main" xmlns="" id="{6DE7F046-6CFB-4C19-A4CA-5BFC5D45A946}"/>
                </a:ext>
              </a:extLst>
            </p:cNvPr>
            <p:cNvSpPr/>
            <p:nvPr/>
          </p:nvSpPr>
          <p:spPr bwMode="auto">
            <a:xfrm>
              <a:off x="3711099" y="5090291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8" name="îš1íḓe">
              <a:extLst>
                <a:ext uri="{FF2B5EF4-FFF2-40B4-BE49-F238E27FC236}">
                  <a16:creationId xmlns:a16="http://schemas.microsoft.com/office/drawing/2014/main" xmlns="" id="{03EE3D79-68DC-44CA-BA7E-E673FF4A3A94}"/>
                </a:ext>
              </a:extLst>
            </p:cNvPr>
            <p:cNvSpPr/>
            <p:nvPr/>
          </p:nvSpPr>
          <p:spPr bwMode="auto">
            <a:xfrm>
              <a:off x="3711099" y="5188573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4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9" name="íŝlïḑe">
              <a:extLst>
                <a:ext uri="{FF2B5EF4-FFF2-40B4-BE49-F238E27FC236}">
                  <a16:creationId xmlns:a16="http://schemas.microsoft.com/office/drawing/2014/main" xmlns="" id="{BF3A6480-5A36-4C90-9E02-7AC34C9FA3F2}"/>
                </a:ext>
              </a:extLst>
            </p:cNvPr>
            <p:cNvSpPr/>
            <p:nvPr/>
          </p:nvSpPr>
          <p:spPr bwMode="auto">
            <a:xfrm>
              <a:off x="3711099" y="5286859"/>
              <a:ext cx="69377" cy="6359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0" name="ïšlíḍé">
              <a:extLst>
                <a:ext uri="{FF2B5EF4-FFF2-40B4-BE49-F238E27FC236}">
                  <a16:creationId xmlns:a16="http://schemas.microsoft.com/office/drawing/2014/main" xmlns="" id="{763ADF35-C9AE-4B07-B3CF-588A8ADE2006}"/>
                </a:ext>
              </a:extLst>
            </p:cNvPr>
            <p:cNvSpPr/>
            <p:nvPr/>
          </p:nvSpPr>
          <p:spPr bwMode="auto">
            <a:xfrm>
              <a:off x="3711099" y="4772310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2"/>
                    <a:pt x="358" y="26"/>
                  </a:cubicBezTo>
                  <a:cubicBezTo>
                    <a:pt x="358" y="41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1" name="ï$ḻidê">
              <a:extLst>
                <a:ext uri="{FF2B5EF4-FFF2-40B4-BE49-F238E27FC236}">
                  <a16:creationId xmlns:a16="http://schemas.microsoft.com/office/drawing/2014/main" xmlns="" id="{4A43B549-35DF-4374-8995-0976DEEA5B26}"/>
                </a:ext>
              </a:extLst>
            </p:cNvPr>
            <p:cNvSpPr/>
            <p:nvPr/>
          </p:nvSpPr>
          <p:spPr bwMode="auto">
            <a:xfrm>
              <a:off x="4560968" y="5090291"/>
              <a:ext cx="468298" cy="69377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6"/>
                  </a:cubicBezTo>
                  <a:cubicBezTo>
                    <a:pt x="357" y="41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2" name="iśľîḑê">
              <a:extLst>
                <a:ext uri="{FF2B5EF4-FFF2-40B4-BE49-F238E27FC236}">
                  <a16:creationId xmlns:a16="http://schemas.microsoft.com/office/drawing/2014/main" xmlns="" id="{B91B5532-B640-4A6C-8829-38857A93850D}"/>
                </a:ext>
              </a:extLst>
            </p:cNvPr>
            <p:cNvSpPr/>
            <p:nvPr/>
          </p:nvSpPr>
          <p:spPr bwMode="auto">
            <a:xfrm>
              <a:off x="4560968" y="5263734"/>
              <a:ext cx="468298" cy="69377"/>
            </a:xfrm>
            <a:custGeom>
              <a:avLst/>
              <a:gdLst>
                <a:gd name="T0" fmla="*/ 331 w 357"/>
                <a:gd name="T1" fmla="*/ 53 h 53"/>
                <a:gd name="T2" fmla="*/ 26 w 357"/>
                <a:gd name="T3" fmla="*/ 53 h 53"/>
                <a:gd name="T4" fmla="*/ 0 w 357"/>
                <a:gd name="T5" fmla="*/ 27 h 53"/>
                <a:gd name="T6" fmla="*/ 26 w 357"/>
                <a:gd name="T7" fmla="*/ 0 h 53"/>
                <a:gd name="T8" fmla="*/ 331 w 357"/>
                <a:gd name="T9" fmla="*/ 0 h 53"/>
                <a:gd name="T10" fmla="*/ 357 w 357"/>
                <a:gd name="T11" fmla="*/ 27 h 53"/>
                <a:gd name="T12" fmla="*/ 331 w 357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3">
                  <a:moveTo>
                    <a:pt x="331" y="53"/>
                  </a:moveTo>
                  <a:cubicBezTo>
                    <a:pt x="26" y="53"/>
                    <a:pt x="26" y="53"/>
                    <a:pt x="26" y="53"/>
                  </a:cubicBezTo>
                  <a:cubicBezTo>
                    <a:pt x="11" y="53"/>
                    <a:pt x="0" y="41"/>
                    <a:pt x="0" y="27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7"/>
                  </a:cubicBezTo>
                  <a:cubicBezTo>
                    <a:pt x="357" y="41"/>
                    <a:pt x="345" y="53"/>
                    <a:pt x="331" y="53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xmlns="" id="{B640E065-DC53-4F92-8FE9-5D3403A694C8}"/>
              </a:ext>
            </a:extLst>
          </p:cNvPr>
          <p:cNvCxnSpPr>
            <a:cxnSpLocks/>
          </p:cNvCxnSpPr>
          <p:nvPr/>
        </p:nvCxnSpPr>
        <p:spPr bwMode="auto">
          <a:xfrm>
            <a:off x="1209217" y="3920628"/>
            <a:ext cx="467570" cy="24154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xmlns="" id="{8AA18B9F-926A-4E77-AE95-6CBAD2E1A7A2}"/>
              </a:ext>
            </a:extLst>
          </p:cNvPr>
          <p:cNvCxnSpPr>
            <a:cxnSpLocks/>
          </p:cNvCxnSpPr>
          <p:nvPr/>
        </p:nvCxnSpPr>
        <p:spPr bwMode="auto">
          <a:xfrm flipV="1">
            <a:off x="1209217" y="4295258"/>
            <a:ext cx="467570" cy="443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xmlns="" id="{42999089-B757-4C56-95F4-F696EBE77390}"/>
              </a:ext>
            </a:extLst>
          </p:cNvPr>
          <p:cNvCxnSpPr>
            <a:cxnSpLocks/>
          </p:cNvCxnSpPr>
          <p:nvPr/>
        </p:nvCxnSpPr>
        <p:spPr bwMode="auto">
          <a:xfrm flipV="1">
            <a:off x="1209217" y="4442908"/>
            <a:ext cx="454840" cy="23931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xmlns="" id="{50C74703-AB01-4E4B-A618-57CA0E581C88}"/>
              </a:ext>
            </a:extLst>
          </p:cNvPr>
          <p:cNvCxnSpPr>
            <a:cxnSpLocks/>
          </p:cNvCxnSpPr>
          <p:nvPr/>
        </p:nvCxnSpPr>
        <p:spPr bwMode="auto">
          <a:xfrm flipV="1">
            <a:off x="1178084" y="4577883"/>
            <a:ext cx="506714" cy="52964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0" name="组合 49">
            <a:extLst>
              <a:ext uri="{FF2B5EF4-FFF2-40B4-BE49-F238E27FC236}">
                <a16:creationId xmlns:a16="http://schemas.microsoft.com/office/drawing/2014/main" xmlns="" id="{99DFD720-0DEF-4854-A233-D098DB1F8F9F}"/>
              </a:ext>
            </a:extLst>
          </p:cNvPr>
          <p:cNvGrpSpPr/>
          <p:nvPr/>
        </p:nvGrpSpPr>
        <p:grpSpPr>
          <a:xfrm>
            <a:off x="6755841" y="4126018"/>
            <a:ext cx="278979" cy="578677"/>
            <a:chOff x="2655339" y="2859178"/>
            <a:chExt cx="1701798" cy="3470271"/>
          </a:xfrm>
        </p:grpSpPr>
        <p:sp>
          <p:nvSpPr>
            <p:cNvPr id="149" name="ïś1ïḍê">
              <a:extLst>
                <a:ext uri="{FF2B5EF4-FFF2-40B4-BE49-F238E27FC236}">
                  <a16:creationId xmlns:a16="http://schemas.microsoft.com/office/drawing/2014/main" xmlns="" id="{EEAC42C8-375B-4AC5-BB07-E6D3385E9E82}"/>
                </a:ext>
              </a:extLst>
            </p:cNvPr>
            <p:cNvSpPr/>
            <p:nvPr/>
          </p:nvSpPr>
          <p:spPr bwMode="auto">
            <a:xfrm>
              <a:off x="2742651" y="2944903"/>
              <a:ext cx="1614486" cy="3384546"/>
            </a:xfrm>
            <a:custGeom>
              <a:avLst/>
              <a:gdLst>
                <a:gd name="T0" fmla="*/ 322 w 741"/>
                <a:gd name="T1" fmla="*/ 1382 h 1555"/>
                <a:gd name="T2" fmla="*/ 455 w 741"/>
                <a:gd name="T3" fmla="*/ 1382 h 1555"/>
                <a:gd name="T4" fmla="*/ 381 w 741"/>
                <a:gd name="T5" fmla="*/ 1367 h 1555"/>
                <a:gd name="T6" fmla="*/ 263 w 741"/>
                <a:gd name="T7" fmla="*/ 1353 h 1555"/>
                <a:gd name="T8" fmla="*/ 396 w 741"/>
                <a:gd name="T9" fmla="*/ 1353 h 1555"/>
                <a:gd name="T10" fmla="*/ 249 w 741"/>
                <a:gd name="T11" fmla="*/ 1338 h 1555"/>
                <a:gd name="T12" fmla="*/ 381 w 741"/>
                <a:gd name="T13" fmla="*/ 1338 h 1555"/>
                <a:gd name="T14" fmla="*/ 514 w 741"/>
                <a:gd name="T15" fmla="*/ 1338 h 1555"/>
                <a:gd name="T16" fmla="*/ 337 w 741"/>
                <a:gd name="T17" fmla="*/ 1323 h 1555"/>
                <a:gd name="T18" fmla="*/ 470 w 741"/>
                <a:gd name="T19" fmla="*/ 1323 h 1555"/>
                <a:gd name="T20" fmla="*/ 278 w 741"/>
                <a:gd name="T21" fmla="*/ 1308 h 1555"/>
                <a:gd name="T22" fmla="*/ 411 w 741"/>
                <a:gd name="T23" fmla="*/ 1308 h 1555"/>
                <a:gd name="T24" fmla="*/ 204 w 741"/>
                <a:gd name="T25" fmla="*/ 1294 h 1555"/>
                <a:gd name="T26" fmla="*/ 337 w 741"/>
                <a:gd name="T27" fmla="*/ 1294 h 1555"/>
                <a:gd name="T28" fmla="*/ 470 w 741"/>
                <a:gd name="T29" fmla="*/ 1294 h 1555"/>
                <a:gd name="T30" fmla="*/ 249 w 741"/>
                <a:gd name="T31" fmla="*/ 1279 h 1555"/>
                <a:gd name="T32" fmla="*/ 381 w 741"/>
                <a:gd name="T33" fmla="*/ 1279 h 1555"/>
                <a:gd name="T34" fmla="*/ 514 w 741"/>
                <a:gd name="T35" fmla="*/ 1279 h 1555"/>
                <a:gd name="T36" fmla="*/ 293 w 741"/>
                <a:gd name="T37" fmla="*/ 1264 h 1555"/>
                <a:gd name="T38" fmla="*/ 426 w 741"/>
                <a:gd name="T39" fmla="*/ 1264 h 1555"/>
                <a:gd name="T40" fmla="*/ 190 w 741"/>
                <a:gd name="T41" fmla="*/ 1249 h 1555"/>
                <a:gd name="T42" fmla="*/ 322 w 741"/>
                <a:gd name="T43" fmla="*/ 1249 h 1555"/>
                <a:gd name="T44" fmla="*/ 455 w 741"/>
                <a:gd name="T45" fmla="*/ 1249 h 1555"/>
                <a:gd name="T46" fmla="*/ 204 w 741"/>
                <a:gd name="T47" fmla="*/ 1235 h 1555"/>
                <a:gd name="T48" fmla="*/ 337 w 741"/>
                <a:gd name="T49" fmla="*/ 1235 h 1555"/>
                <a:gd name="T50" fmla="*/ 470 w 741"/>
                <a:gd name="T51" fmla="*/ 1235 h 1555"/>
                <a:gd name="T52" fmla="*/ 219 w 741"/>
                <a:gd name="T53" fmla="*/ 1220 h 1555"/>
                <a:gd name="T54" fmla="*/ 352 w 741"/>
                <a:gd name="T55" fmla="*/ 1220 h 1555"/>
                <a:gd name="T56" fmla="*/ 485 w 741"/>
                <a:gd name="T57" fmla="*/ 1220 h 1555"/>
                <a:gd name="T58" fmla="*/ 234 w 741"/>
                <a:gd name="T59" fmla="*/ 1205 h 1555"/>
                <a:gd name="T60" fmla="*/ 367 w 741"/>
                <a:gd name="T61" fmla="*/ 1205 h 1555"/>
                <a:gd name="T62" fmla="*/ 499 w 741"/>
                <a:gd name="T63" fmla="*/ 1205 h 1555"/>
                <a:gd name="T64" fmla="*/ 249 w 741"/>
                <a:gd name="T65" fmla="*/ 1190 h 1555"/>
                <a:gd name="T66" fmla="*/ 381 w 741"/>
                <a:gd name="T67" fmla="*/ 1190 h 1555"/>
                <a:gd name="T68" fmla="*/ 514 w 741"/>
                <a:gd name="T69" fmla="*/ 1190 h 1555"/>
                <a:gd name="T70" fmla="*/ 263 w 741"/>
                <a:gd name="T71" fmla="*/ 1176 h 1555"/>
                <a:gd name="T72" fmla="*/ 396 w 741"/>
                <a:gd name="T73" fmla="*/ 1176 h 1555"/>
                <a:gd name="T74" fmla="*/ 529 w 741"/>
                <a:gd name="T75" fmla="*/ 1176 h 1555"/>
                <a:gd name="T76" fmla="*/ 293 w 741"/>
                <a:gd name="T77" fmla="*/ 1161 h 1555"/>
                <a:gd name="T78" fmla="*/ 426 w 741"/>
                <a:gd name="T79" fmla="*/ 1161 h 1555"/>
                <a:gd name="T80" fmla="*/ 204 w 741"/>
                <a:gd name="T81" fmla="*/ 1146 h 1555"/>
                <a:gd name="T82" fmla="*/ 337 w 741"/>
                <a:gd name="T83" fmla="*/ 1146 h 1555"/>
                <a:gd name="T84" fmla="*/ 470 w 741"/>
                <a:gd name="T85" fmla="*/ 1146 h 1555"/>
                <a:gd name="T86" fmla="*/ 249 w 741"/>
                <a:gd name="T87" fmla="*/ 1131 h 1555"/>
                <a:gd name="T88" fmla="*/ 381 w 741"/>
                <a:gd name="T89" fmla="*/ 1131 h 1555"/>
                <a:gd name="T90" fmla="*/ 514 w 741"/>
                <a:gd name="T91" fmla="*/ 1131 h 1555"/>
                <a:gd name="T92" fmla="*/ 308 w 741"/>
                <a:gd name="T93" fmla="*/ 1117 h 1555"/>
                <a:gd name="T94" fmla="*/ 440 w 741"/>
                <a:gd name="T95" fmla="*/ 1117 h 1555"/>
                <a:gd name="T96" fmla="*/ 249 w 741"/>
                <a:gd name="T97" fmla="*/ 1102 h 1555"/>
                <a:gd name="T98" fmla="*/ 381 w 741"/>
                <a:gd name="T99" fmla="*/ 1102 h 1555"/>
                <a:gd name="T100" fmla="*/ 514 w 741"/>
                <a:gd name="T101" fmla="*/ 1102 h 1555"/>
                <a:gd name="T102" fmla="*/ 337 w 741"/>
                <a:gd name="T103" fmla="*/ 1087 h 1555"/>
                <a:gd name="T104" fmla="*/ 470 w 741"/>
                <a:gd name="T105" fmla="*/ 1087 h 1555"/>
                <a:gd name="T106" fmla="*/ 322 w 741"/>
                <a:gd name="T107" fmla="*/ 1072 h 1555"/>
                <a:gd name="T108" fmla="*/ 455 w 741"/>
                <a:gd name="T109" fmla="*/ 1072 h 1555"/>
                <a:gd name="T110" fmla="*/ 337 w 741"/>
                <a:gd name="T111" fmla="*/ 1058 h 1555"/>
                <a:gd name="T112" fmla="*/ 470 w 741"/>
                <a:gd name="T113" fmla="*/ 1058 h 1555"/>
                <a:gd name="T114" fmla="*/ 396 w 741"/>
                <a:gd name="T115" fmla="*/ 1043 h 1555"/>
                <a:gd name="T116" fmla="*/ 396 w 741"/>
                <a:gd name="T117" fmla="*/ 1028 h 1555"/>
                <a:gd name="T118" fmla="*/ 316 w 741"/>
                <a:gd name="T119" fmla="*/ 1028 h 1555"/>
                <a:gd name="T120" fmla="*/ 551 w 741"/>
                <a:gd name="T121" fmla="*/ 1286 h 1555"/>
                <a:gd name="T122" fmla="*/ 234 w 741"/>
                <a:gd name="T123" fmla="*/ 1356 h 1555"/>
                <a:gd name="T124" fmla="*/ 278 w 741"/>
                <a:gd name="T125" fmla="*/ 1044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1555">
                  <a:moveTo>
                    <a:pt x="337" y="1397"/>
                  </a:moveTo>
                  <a:cubicBezTo>
                    <a:pt x="330" y="1397"/>
                    <a:pt x="330" y="1397"/>
                    <a:pt x="330" y="1397"/>
                  </a:cubicBezTo>
                  <a:cubicBezTo>
                    <a:pt x="330" y="1404"/>
                    <a:pt x="330" y="1404"/>
                    <a:pt x="330" y="1404"/>
                  </a:cubicBezTo>
                  <a:cubicBezTo>
                    <a:pt x="337" y="1404"/>
                    <a:pt x="337" y="1404"/>
                    <a:pt x="337" y="1404"/>
                  </a:cubicBezTo>
                  <a:cubicBezTo>
                    <a:pt x="337" y="1397"/>
                    <a:pt x="337" y="1397"/>
                    <a:pt x="337" y="1397"/>
                  </a:cubicBezTo>
                  <a:moveTo>
                    <a:pt x="352" y="1397"/>
                  </a:moveTo>
                  <a:cubicBezTo>
                    <a:pt x="345" y="1397"/>
                    <a:pt x="345" y="1397"/>
                    <a:pt x="345" y="1397"/>
                  </a:cubicBezTo>
                  <a:cubicBezTo>
                    <a:pt x="345" y="1404"/>
                    <a:pt x="345" y="1404"/>
                    <a:pt x="345" y="1404"/>
                  </a:cubicBezTo>
                  <a:cubicBezTo>
                    <a:pt x="352" y="1404"/>
                    <a:pt x="352" y="1404"/>
                    <a:pt x="352" y="1404"/>
                  </a:cubicBezTo>
                  <a:cubicBezTo>
                    <a:pt x="352" y="1397"/>
                    <a:pt x="352" y="1397"/>
                    <a:pt x="352" y="1397"/>
                  </a:cubicBezTo>
                  <a:moveTo>
                    <a:pt x="367" y="1397"/>
                  </a:moveTo>
                  <a:cubicBezTo>
                    <a:pt x="360" y="1397"/>
                    <a:pt x="360" y="1397"/>
                    <a:pt x="360" y="1397"/>
                  </a:cubicBezTo>
                  <a:cubicBezTo>
                    <a:pt x="360" y="1404"/>
                    <a:pt x="360" y="1404"/>
                    <a:pt x="360" y="1404"/>
                  </a:cubicBezTo>
                  <a:cubicBezTo>
                    <a:pt x="367" y="1404"/>
                    <a:pt x="367" y="1404"/>
                    <a:pt x="367" y="1404"/>
                  </a:cubicBezTo>
                  <a:cubicBezTo>
                    <a:pt x="367" y="1397"/>
                    <a:pt x="367" y="1397"/>
                    <a:pt x="367" y="1397"/>
                  </a:cubicBezTo>
                  <a:moveTo>
                    <a:pt x="381" y="1397"/>
                  </a:moveTo>
                  <a:cubicBezTo>
                    <a:pt x="374" y="1397"/>
                    <a:pt x="374" y="1397"/>
                    <a:pt x="374" y="1397"/>
                  </a:cubicBezTo>
                  <a:cubicBezTo>
                    <a:pt x="374" y="1404"/>
                    <a:pt x="374" y="1404"/>
                    <a:pt x="374" y="1404"/>
                  </a:cubicBezTo>
                  <a:cubicBezTo>
                    <a:pt x="381" y="1404"/>
                    <a:pt x="381" y="1404"/>
                    <a:pt x="381" y="1404"/>
                  </a:cubicBezTo>
                  <a:cubicBezTo>
                    <a:pt x="381" y="1397"/>
                    <a:pt x="381" y="1397"/>
                    <a:pt x="381" y="1397"/>
                  </a:cubicBezTo>
                  <a:moveTo>
                    <a:pt x="396" y="1397"/>
                  </a:moveTo>
                  <a:cubicBezTo>
                    <a:pt x="389" y="1397"/>
                    <a:pt x="389" y="1397"/>
                    <a:pt x="389" y="1397"/>
                  </a:cubicBezTo>
                  <a:cubicBezTo>
                    <a:pt x="389" y="1404"/>
                    <a:pt x="389" y="1404"/>
                    <a:pt x="389" y="1404"/>
                  </a:cubicBezTo>
                  <a:cubicBezTo>
                    <a:pt x="396" y="1404"/>
                    <a:pt x="396" y="1404"/>
                    <a:pt x="396" y="1404"/>
                  </a:cubicBezTo>
                  <a:cubicBezTo>
                    <a:pt x="396" y="1397"/>
                    <a:pt x="396" y="1397"/>
                    <a:pt x="396" y="1397"/>
                  </a:cubicBezTo>
                  <a:moveTo>
                    <a:pt x="411" y="1397"/>
                  </a:moveTo>
                  <a:cubicBezTo>
                    <a:pt x="404" y="1397"/>
                    <a:pt x="404" y="1397"/>
                    <a:pt x="404" y="1397"/>
                  </a:cubicBezTo>
                  <a:cubicBezTo>
                    <a:pt x="404" y="1404"/>
                    <a:pt x="404" y="1404"/>
                    <a:pt x="404" y="1404"/>
                  </a:cubicBezTo>
                  <a:cubicBezTo>
                    <a:pt x="411" y="1404"/>
                    <a:pt x="411" y="1404"/>
                    <a:pt x="411" y="1404"/>
                  </a:cubicBezTo>
                  <a:cubicBezTo>
                    <a:pt x="411" y="1397"/>
                    <a:pt x="411" y="1397"/>
                    <a:pt x="411" y="1397"/>
                  </a:cubicBezTo>
                  <a:moveTo>
                    <a:pt x="293" y="1382"/>
                  </a:moveTo>
                  <a:cubicBezTo>
                    <a:pt x="286" y="1382"/>
                    <a:pt x="286" y="1382"/>
                    <a:pt x="286" y="1382"/>
                  </a:cubicBezTo>
                  <a:cubicBezTo>
                    <a:pt x="286" y="1389"/>
                    <a:pt x="286" y="1389"/>
                    <a:pt x="286" y="1389"/>
                  </a:cubicBezTo>
                  <a:cubicBezTo>
                    <a:pt x="293" y="1389"/>
                    <a:pt x="293" y="1389"/>
                    <a:pt x="293" y="1389"/>
                  </a:cubicBezTo>
                  <a:cubicBezTo>
                    <a:pt x="293" y="1382"/>
                    <a:pt x="293" y="1382"/>
                    <a:pt x="293" y="1382"/>
                  </a:cubicBezTo>
                  <a:moveTo>
                    <a:pt x="308" y="1382"/>
                  </a:moveTo>
                  <a:cubicBezTo>
                    <a:pt x="301" y="1382"/>
                    <a:pt x="301" y="1382"/>
                    <a:pt x="301" y="1382"/>
                  </a:cubicBezTo>
                  <a:cubicBezTo>
                    <a:pt x="301" y="1389"/>
                    <a:pt x="301" y="1389"/>
                    <a:pt x="301" y="1389"/>
                  </a:cubicBezTo>
                  <a:cubicBezTo>
                    <a:pt x="308" y="1389"/>
                    <a:pt x="308" y="1389"/>
                    <a:pt x="308" y="1389"/>
                  </a:cubicBezTo>
                  <a:cubicBezTo>
                    <a:pt x="308" y="1382"/>
                    <a:pt x="308" y="1382"/>
                    <a:pt x="308" y="1382"/>
                  </a:cubicBezTo>
                  <a:moveTo>
                    <a:pt x="322" y="1382"/>
                  </a:moveTo>
                  <a:cubicBezTo>
                    <a:pt x="315" y="1382"/>
                    <a:pt x="315" y="1382"/>
                    <a:pt x="315" y="1382"/>
                  </a:cubicBezTo>
                  <a:cubicBezTo>
                    <a:pt x="315" y="1389"/>
                    <a:pt x="315" y="1389"/>
                    <a:pt x="315" y="1389"/>
                  </a:cubicBezTo>
                  <a:cubicBezTo>
                    <a:pt x="322" y="1389"/>
                    <a:pt x="322" y="1389"/>
                    <a:pt x="322" y="1389"/>
                  </a:cubicBezTo>
                  <a:cubicBezTo>
                    <a:pt x="322" y="1382"/>
                    <a:pt x="322" y="1382"/>
                    <a:pt x="322" y="1382"/>
                  </a:cubicBezTo>
                  <a:moveTo>
                    <a:pt x="337" y="1382"/>
                  </a:moveTo>
                  <a:cubicBezTo>
                    <a:pt x="330" y="1382"/>
                    <a:pt x="330" y="1382"/>
                    <a:pt x="330" y="1382"/>
                  </a:cubicBezTo>
                  <a:cubicBezTo>
                    <a:pt x="330" y="1389"/>
                    <a:pt x="330" y="1389"/>
                    <a:pt x="330" y="1389"/>
                  </a:cubicBezTo>
                  <a:cubicBezTo>
                    <a:pt x="337" y="1389"/>
                    <a:pt x="337" y="1389"/>
                    <a:pt x="337" y="1389"/>
                  </a:cubicBezTo>
                  <a:cubicBezTo>
                    <a:pt x="337" y="1382"/>
                    <a:pt x="337" y="1382"/>
                    <a:pt x="337" y="1382"/>
                  </a:cubicBezTo>
                  <a:moveTo>
                    <a:pt x="352" y="1382"/>
                  </a:moveTo>
                  <a:cubicBezTo>
                    <a:pt x="345" y="1382"/>
                    <a:pt x="345" y="1382"/>
                    <a:pt x="345" y="1382"/>
                  </a:cubicBezTo>
                  <a:cubicBezTo>
                    <a:pt x="345" y="1389"/>
                    <a:pt x="345" y="1389"/>
                    <a:pt x="345" y="1389"/>
                  </a:cubicBezTo>
                  <a:cubicBezTo>
                    <a:pt x="352" y="1389"/>
                    <a:pt x="352" y="1389"/>
                    <a:pt x="352" y="1389"/>
                  </a:cubicBezTo>
                  <a:cubicBezTo>
                    <a:pt x="352" y="1382"/>
                    <a:pt x="352" y="1382"/>
                    <a:pt x="352" y="1382"/>
                  </a:cubicBezTo>
                  <a:moveTo>
                    <a:pt x="367" y="1382"/>
                  </a:moveTo>
                  <a:cubicBezTo>
                    <a:pt x="360" y="1382"/>
                    <a:pt x="360" y="1382"/>
                    <a:pt x="360" y="1382"/>
                  </a:cubicBezTo>
                  <a:cubicBezTo>
                    <a:pt x="360" y="1389"/>
                    <a:pt x="360" y="1389"/>
                    <a:pt x="360" y="1389"/>
                  </a:cubicBezTo>
                  <a:cubicBezTo>
                    <a:pt x="367" y="1389"/>
                    <a:pt x="367" y="1389"/>
                    <a:pt x="367" y="1389"/>
                  </a:cubicBezTo>
                  <a:cubicBezTo>
                    <a:pt x="367" y="1382"/>
                    <a:pt x="367" y="1382"/>
                    <a:pt x="367" y="1382"/>
                  </a:cubicBezTo>
                  <a:moveTo>
                    <a:pt x="381" y="1382"/>
                  </a:moveTo>
                  <a:cubicBezTo>
                    <a:pt x="374" y="1382"/>
                    <a:pt x="374" y="1382"/>
                    <a:pt x="374" y="1382"/>
                  </a:cubicBezTo>
                  <a:cubicBezTo>
                    <a:pt x="374" y="1389"/>
                    <a:pt x="374" y="1389"/>
                    <a:pt x="374" y="1389"/>
                  </a:cubicBezTo>
                  <a:cubicBezTo>
                    <a:pt x="381" y="1389"/>
                    <a:pt x="381" y="1389"/>
                    <a:pt x="381" y="1389"/>
                  </a:cubicBezTo>
                  <a:cubicBezTo>
                    <a:pt x="381" y="1382"/>
                    <a:pt x="381" y="1382"/>
                    <a:pt x="381" y="1382"/>
                  </a:cubicBezTo>
                  <a:moveTo>
                    <a:pt x="396" y="1382"/>
                  </a:moveTo>
                  <a:cubicBezTo>
                    <a:pt x="389" y="1382"/>
                    <a:pt x="389" y="1382"/>
                    <a:pt x="389" y="1382"/>
                  </a:cubicBezTo>
                  <a:cubicBezTo>
                    <a:pt x="389" y="1389"/>
                    <a:pt x="389" y="1389"/>
                    <a:pt x="389" y="1389"/>
                  </a:cubicBezTo>
                  <a:cubicBezTo>
                    <a:pt x="396" y="1389"/>
                    <a:pt x="396" y="1389"/>
                    <a:pt x="396" y="1389"/>
                  </a:cubicBezTo>
                  <a:cubicBezTo>
                    <a:pt x="396" y="1382"/>
                    <a:pt x="396" y="1382"/>
                    <a:pt x="396" y="1382"/>
                  </a:cubicBezTo>
                  <a:moveTo>
                    <a:pt x="411" y="1382"/>
                  </a:moveTo>
                  <a:cubicBezTo>
                    <a:pt x="404" y="1382"/>
                    <a:pt x="404" y="1382"/>
                    <a:pt x="404" y="1382"/>
                  </a:cubicBezTo>
                  <a:cubicBezTo>
                    <a:pt x="404" y="1389"/>
                    <a:pt x="404" y="1389"/>
                    <a:pt x="404" y="1389"/>
                  </a:cubicBezTo>
                  <a:cubicBezTo>
                    <a:pt x="411" y="1389"/>
                    <a:pt x="411" y="1389"/>
                    <a:pt x="411" y="1389"/>
                  </a:cubicBezTo>
                  <a:cubicBezTo>
                    <a:pt x="411" y="1382"/>
                    <a:pt x="411" y="1382"/>
                    <a:pt x="411" y="1382"/>
                  </a:cubicBezTo>
                  <a:moveTo>
                    <a:pt x="426" y="1382"/>
                  </a:moveTo>
                  <a:cubicBezTo>
                    <a:pt x="419" y="1382"/>
                    <a:pt x="419" y="1382"/>
                    <a:pt x="419" y="1382"/>
                  </a:cubicBezTo>
                  <a:cubicBezTo>
                    <a:pt x="419" y="1389"/>
                    <a:pt x="419" y="1389"/>
                    <a:pt x="419" y="1389"/>
                  </a:cubicBezTo>
                  <a:cubicBezTo>
                    <a:pt x="426" y="1389"/>
                    <a:pt x="426" y="1389"/>
                    <a:pt x="426" y="1389"/>
                  </a:cubicBezTo>
                  <a:cubicBezTo>
                    <a:pt x="426" y="1382"/>
                    <a:pt x="426" y="1382"/>
                    <a:pt x="426" y="1382"/>
                  </a:cubicBezTo>
                  <a:moveTo>
                    <a:pt x="440" y="1382"/>
                  </a:moveTo>
                  <a:cubicBezTo>
                    <a:pt x="433" y="1382"/>
                    <a:pt x="433" y="1382"/>
                    <a:pt x="433" y="1382"/>
                  </a:cubicBezTo>
                  <a:cubicBezTo>
                    <a:pt x="433" y="1389"/>
                    <a:pt x="433" y="1389"/>
                    <a:pt x="433" y="1389"/>
                  </a:cubicBezTo>
                  <a:cubicBezTo>
                    <a:pt x="440" y="1389"/>
                    <a:pt x="440" y="1389"/>
                    <a:pt x="440" y="1389"/>
                  </a:cubicBezTo>
                  <a:cubicBezTo>
                    <a:pt x="440" y="1382"/>
                    <a:pt x="440" y="1382"/>
                    <a:pt x="440" y="1382"/>
                  </a:cubicBezTo>
                  <a:moveTo>
                    <a:pt x="455" y="1382"/>
                  </a:moveTo>
                  <a:cubicBezTo>
                    <a:pt x="448" y="1382"/>
                    <a:pt x="448" y="1382"/>
                    <a:pt x="448" y="1382"/>
                  </a:cubicBezTo>
                  <a:cubicBezTo>
                    <a:pt x="448" y="1389"/>
                    <a:pt x="448" y="1389"/>
                    <a:pt x="448" y="1389"/>
                  </a:cubicBezTo>
                  <a:cubicBezTo>
                    <a:pt x="455" y="1389"/>
                    <a:pt x="455" y="1389"/>
                    <a:pt x="455" y="1389"/>
                  </a:cubicBezTo>
                  <a:cubicBezTo>
                    <a:pt x="455" y="1382"/>
                    <a:pt x="455" y="1382"/>
                    <a:pt x="455" y="1382"/>
                  </a:cubicBezTo>
                  <a:moveTo>
                    <a:pt x="263" y="1367"/>
                  </a:moveTo>
                  <a:cubicBezTo>
                    <a:pt x="256" y="1367"/>
                    <a:pt x="256" y="1367"/>
                    <a:pt x="256" y="1367"/>
                  </a:cubicBezTo>
                  <a:cubicBezTo>
                    <a:pt x="256" y="1374"/>
                    <a:pt x="256" y="1374"/>
                    <a:pt x="256" y="1374"/>
                  </a:cubicBezTo>
                  <a:cubicBezTo>
                    <a:pt x="263" y="1374"/>
                    <a:pt x="263" y="1374"/>
                    <a:pt x="263" y="1374"/>
                  </a:cubicBezTo>
                  <a:cubicBezTo>
                    <a:pt x="263" y="1367"/>
                    <a:pt x="263" y="1367"/>
                    <a:pt x="263" y="1367"/>
                  </a:cubicBezTo>
                  <a:moveTo>
                    <a:pt x="278" y="1367"/>
                  </a:moveTo>
                  <a:cubicBezTo>
                    <a:pt x="271" y="1367"/>
                    <a:pt x="271" y="1367"/>
                    <a:pt x="271" y="1367"/>
                  </a:cubicBezTo>
                  <a:cubicBezTo>
                    <a:pt x="271" y="1374"/>
                    <a:pt x="271" y="1374"/>
                    <a:pt x="271" y="1374"/>
                  </a:cubicBezTo>
                  <a:cubicBezTo>
                    <a:pt x="278" y="1374"/>
                    <a:pt x="278" y="1374"/>
                    <a:pt x="278" y="1374"/>
                  </a:cubicBezTo>
                  <a:cubicBezTo>
                    <a:pt x="278" y="1367"/>
                    <a:pt x="278" y="1367"/>
                    <a:pt x="278" y="1367"/>
                  </a:cubicBezTo>
                  <a:moveTo>
                    <a:pt x="293" y="1367"/>
                  </a:moveTo>
                  <a:cubicBezTo>
                    <a:pt x="286" y="1367"/>
                    <a:pt x="286" y="1367"/>
                    <a:pt x="286" y="1367"/>
                  </a:cubicBezTo>
                  <a:cubicBezTo>
                    <a:pt x="286" y="1374"/>
                    <a:pt x="286" y="1374"/>
                    <a:pt x="286" y="1374"/>
                  </a:cubicBezTo>
                  <a:cubicBezTo>
                    <a:pt x="293" y="1374"/>
                    <a:pt x="293" y="1374"/>
                    <a:pt x="293" y="1374"/>
                  </a:cubicBezTo>
                  <a:cubicBezTo>
                    <a:pt x="293" y="1367"/>
                    <a:pt x="293" y="1367"/>
                    <a:pt x="293" y="1367"/>
                  </a:cubicBezTo>
                  <a:moveTo>
                    <a:pt x="308" y="1367"/>
                  </a:moveTo>
                  <a:cubicBezTo>
                    <a:pt x="301" y="1367"/>
                    <a:pt x="301" y="1367"/>
                    <a:pt x="301" y="1367"/>
                  </a:cubicBezTo>
                  <a:cubicBezTo>
                    <a:pt x="301" y="1374"/>
                    <a:pt x="301" y="1374"/>
                    <a:pt x="301" y="1374"/>
                  </a:cubicBezTo>
                  <a:cubicBezTo>
                    <a:pt x="308" y="1374"/>
                    <a:pt x="308" y="1374"/>
                    <a:pt x="308" y="1374"/>
                  </a:cubicBezTo>
                  <a:cubicBezTo>
                    <a:pt x="308" y="1367"/>
                    <a:pt x="308" y="1367"/>
                    <a:pt x="308" y="1367"/>
                  </a:cubicBezTo>
                  <a:moveTo>
                    <a:pt x="322" y="1367"/>
                  </a:moveTo>
                  <a:cubicBezTo>
                    <a:pt x="315" y="1367"/>
                    <a:pt x="315" y="1367"/>
                    <a:pt x="315" y="1367"/>
                  </a:cubicBezTo>
                  <a:cubicBezTo>
                    <a:pt x="315" y="1374"/>
                    <a:pt x="315" y="1374"/>
                    <a:pt x="315" y="1374"/>
                  </a:cubicBezTo>
                  <a:cubicBezTo>
                    <a:pt x="322" y="1374"/>
                    <a:pt x="322" y="1374"/>
                    <a:pt x="322" y="1374"/>
                  </a:cubicBezTo>
                  <a:cubicBezTo>
                    <a:pt x="322" y="1367"/>
                    <a:pt x="322" y="1367"/>
                    <a:pt x="322" y="1367"/>
                  </a:cubicBezTo>
                  <a:moveTo>
                    <a:pt x="337" y="1367"/>
                  </a:moveTo>
                  <a:cubicBezTo>
                    <a:pt x="330" y="1367"/>
                    <a:pt x="330" y="1367"/>
                    <a:pt x="330" y="1367"/>
                  </a:cubicBezTo>
                  <a:cubicBezTo>
                    <a:pt x="330" y="1374"/>
                    <a:pt x="330" y="1374"/>
                    <a:pt x="330" y="1374"/>
                  </a:cubicBezTo>
                  <a:cubicBezTo>
                    <a:pt x="337" y="1374"/>
                    <a:pt x="337" y="1374"/>
                    <a:pt x="337" y="1374"/>
                  </a:cubicBezTo>
                  <a:cubicBezTo>
                    <a:pt x="337" y="1367"/>
                    <a:pt x="337" y="1367"/>
                    <a:pt x="337" y="1367"/>
                  </a:cubicBezTo>
                  <a:moveTo>
                    <a:pt x="352" y="1367"/>
                  </a:moveTo>
                  <a:cubicBezTo>
                    <a:pt x="345" y="1367"/>
                    <a:pt x="345" y="1367"/>
                    <a:pt x="345" y="1367"/>
                  </a:cubicBezTo>
                  <a:cubicBezTo>
                    <a:pt x="345" y="1374"/>
                    <a:pt x="345" y="1374"/>
                    <a:pt x="345" y="1374"/>
                  </a:cubicBezTo>
                  <a:cubicBezTo>
                    <a:pt x="352" y="1374"/>
                    <a:pt x="352" y="1374"/>
                    <a:pt x="352" y="1374"/>
                  </a:cubicBezTo>
                  <a:cubicBezTo>
                    <a:pt x="352" y="1367"/>
                    <a:pt x="352" y="1367"/>
                    <a:pt x="352" y="1367"/>
                  </a:cubicBezTo>
                  <a:moveTo>
                    <a:pt x="367" y="1367"/>
                  </a:moveTo>
                  <a:cubicBezTo>
                    <a:pt x="360" y="1367"/>
                    <a:pt x="360" y="1367"/>
                    <a:pt x="360" y="1367"/>
                  </a:cubicBezTo>
                  <a:cubicBezTo>
                    <a:pt x="360" y="1374"/>
                    <a:pt x="360" y="1374"/>
                    <a:pt x="360" y="1374"/>
                  </a:cubicBezTo>
                  <a:cubicBezTo>
                    <a:pt x="367" y="1374"/>
                    <a:pt x="367" y="1374"/>
                    <a:pt x="367" y="1374"/>
                  </a:cubicBezTo>
                  <a:cubicBezTo>
                    <a:pt x="367" y="1367"/>
                    <a:pt x="367" y="1367"/>
                    <a:pt x="367" y="1367"/>
                  </a:cubicBezTo>
                  <a:moveTo>
                    <a:pt x="381" y="1367"/>
                  </a:moveTo>
                  <a:cubicBezTo>
                    <a:pt x="374" y="1367"/>
                    <a:pt x="374" y="1367"/>
                    <a:pt x="374" y="1367"/>
                  </a:cubicBezTo>
                  <a:cubicBezTo>
                    <a:pt x="374" y="1374"/>
                    <a:pt x="374" y="1374"/>
                    <a:pt x="374" y="1374"/>
                  </a:cubicBezTo>
                  <a:cubicBezTo>
                    <a:pt x="381" y="1374"/>
                    <a:pt x="381" y="1374"/>
                    <a:pt x="381" y="1374"/>
                  </a:cubicBezTo>
                  <a:cubicBezTo>
                    <a:pt x="381" y="1367"/>
                    <a:pt x="381" y="1367"/>
                    <a:pt x="381" y="1367"/>
                  </a:cubicBezTo>
                  <a:moveTo>
                    <a:pt x="396" y="1367"/>
                  </a:moveTo>
                  <a:cubicBezTo>
                    <a:pt x="389" y="1367"/>
                    <a:pt x="389" y="1367"/>
                    <a:pt x="389" y="1367"/>
                  </a:cubicBezTo>
                  <a:cubicBezTo>
                    <a:pt x="389" y="1374"/>
                    <a:pt x="389" y="1374"/>
                    <a:pt x="389" y="1374"/>
                  </a:cubicBezTo>
                  <a:cubicBezTo>
                    <a:pt x="396" y="1374"/>
                    <a:pt x="396" y="1374"/>
                    <a:pt x="396" y="1374"/>
                  </a:cubicBezTo>
                  <a:cubicBezTo>
                    <a:pt x="396" y="1367"/>
                    <a:pt x="396" y="1367"/>
                    <a:pt x="396" y="1367"/>
                  </a:cubicBezTo>
                  <a:moveTo>
                    <a:pt x="411" y="1367"/>
                  </a:moveTo>
                  <a:cubicBezTo>
                    <a:pt x="404" y="1367"/>
                    <a:pt x="404" y="1367"/>
                    <a:pt x="404" y="1367"/>
                  </a:cubicBezTo>
                  <a:cubicBezTo>
                    <a:pt x="404" y="1374"/>
                    <a:pt x="404" y="1374"/>
                    <a:pt x="404" y="1374"/>
                  </a:cubicBezTo>
                  <a:cubicBezTo>
                    <a:pt x="411" y="1374"/>
                    <a:pt x="411" y="1374"/>
                    <a:pt x="411" y="1374"/>
                  </a:cubicBezTo>
                  <a:cubicBezTo>
                    <a:pt x="411" y="1367"/>
                    <a:pt x="411" y="1367"/>
                    <a:pt x="411" y="1367"/>
                  </a:cubicBezTo>
                  <a:moveTo>
                    <a:pt x="426" y="1367"/>
                  </a:moveTo>
                  <a:cubicBezTo>
                    <a:pt x="419" y="1367"/>
                    <a:pt x="419" y="1367"/>
                    <a:pt x="419" y="1367"/>
                  </a:cubicBezTo>
                  <a:cubicBezTo>
                    <a:pt x="419" y="1374"/>
                    <a:pt x="419" y="1374"/>
                    <a:pt x="419" y="1374"/>
                  </a:cubicBezTo>
                  <a:cubicBezTo>
                    <a:pt x="426" y="1374"/>
                    <a:pt x="426" y="1374"/>
                    <a:pt x="426" y="1374"/>
                  </a:cubicBezTo>
                  <a:cubicBezTo>
                    <a:pt x="426" y="1367"/>
                    <a:pt x="426" y="1367"/>
                    <a:pt x="426" y="1367"/>
                  </a:cubicBezTo>
                  <a:moveTo>
                    <a:pt x="440" y="1367"/>
                  </a:moveTo>
                  <a:cubicBezTo>
                    <a:pt x="433" y="1367"/>
                    <a:pt x="433" y="1367"/>
                    <a:pt x="433" y="1367"/>
                  </a:cubicBezTo>
                  <a:cubicBezTo>
                    <a:pt x="433" y="1374"/>
                    <a:pt x="433" y="1374"/>
                    <a:pt x="433" y="1374"/>
                  </a:cubicBezTo>
                  <a:cubicBezTo>
                    <a:pt x="440" y="1374"/>
                    <a:pt x="440" y="1374"/>
                    <a:pt x="440" y="1374"/>
                  </a:cubicBezTo>
                  <a:cubicBezTo>
                    <a:pt x="440" y="1367"/>
                    <a:pt x="440" y="1367"/>
                    <a:pt x="440" y="1367"/>
                  </a:cubicBezTo>
                  <a:moveTo>
                    <a:pt x="455" y="1367"/>
                  </a:moveTo>
                  <a:cubicBezTo>
                    <a:pt x="448" y="1367"/>
                    <a:pt x="448" y="1367"/>
                    <a:pt x="448" y="1367"/>
                  </a:cubicBezTo>
                  <a:cubicBezTo>
                    <a:pt x="448" y="1374"/>
                    <a:pt x="448" y="1374"/>
                    <a:pt x="448" y="1374"/>
                  </a:cubicBezTo>
                  <a:cubicBezTo>
                    <a:pt x="455" y="1374"/>
                    <a:pt x="455" y="1374"/>
                    <a:pt x="455" y="1374"/>
                  </a:cubicBezTo>
                  <a:cubicBezTo>
                    <a:pt x="455" y="1367"/>
                    <a:pt x="455" y="1367"/>
                    <a:pt x="455" y="1367"/>
                  </a:cubicBezTo>
                  <a:moveTo>
                    <a:pt x="470" y="1367"/>
                  </a:moveTo>
                  <a:cubicBezTo>
                    <a:pt x="463" y="1367"/>
                    <a:pt x="463" y="1367"/>
                    <a:pt x="463" y="1367"/>
                  </a:cubicBezTo>
                  <a:cubicBezTo>
                    <a:pt x="463" y="1374"/>
                    <a:pt x="463" y="1374"/>
                    <a:pt x="463" y="1374"/>
                  </a:cubicBezTo>
                  <a:cubicBezTo>
                    <a:pt x="470" y="1374"/>
                    <a:pt x="470" y="1374"/>
                    <a:pt x="470" y="1374"/>
                  </a:cubicBezTo>
                  <a:cubicBezTo>
                    <a:pt x="470" y="1367"/>
                    <a:pt x="470" y="1367"/>
                    <a:pt x="470" y="1367"/>
                  </a:cubicBezTo>
                  <a:moveTo>
                    <a:pt x="485" y="1367"/>
                  </a:moveTo>
                  <a:cubicBezTo>
                    <a:pt x="478" y="1367"/>
                    <a:pt x="478" y="1367"/>
                    <a:pt x="478" y="1367"/>
                  </a:cubicBezTo>
                  <a:cubicBezTo>
                    <a:pt x="478" y="1374"/>
                    <a:pt x="478" y="1374"/>
                    <a:pt x="478" y="1374"/>
                  </a:cubicBezTo>
                  <a:cubicBezTo>
                    <a:pt x="485" y="1374"/>
                    <a:pt x="485" y="1374"/>
                    <a:pt x="485" y="1374"/>
                  </a:cubicBezTo>
                  <a:cubicBezTo>
                    <a:pt x="485" y="1367"/>
                    <a:pt x="485" y="1367"/>
                    <a:pt x="485" y="1367"/>
                  </a:cubicBezTo>
                  <a:moveTo>
                    <a:pt x="249" y="1353"/>
                  </a:moveTo>
                  <a:cubicBezTo>
                    <a:pt x="242" y="1353"/>
                    <a:pt x="242" y="1353"/>
                    <a:pt x="242" y="1353"/>
                  </a:cubicBezTo>
                  <a:cubicBezTo>
                    <a:pt x="242" y="1360"/>
                    <a:pt x="242" y="1360"/>
                    <a:pt x="242" y="1360"/>
                  </a:cubicBezTo>
                  <a:cubicBezTo>
                    <a:pt x="249" y="1360"/>
                    <a:pt x="249" y="1360"/>
                    <a:pt x="249" y="1360"/>
                  </a:cubicBezTo>
                  <a:cubicBezTo>
                    <a:pt x="249" y="1353"/>
                    <a:pt x="249" y="1353"/>
                    <a:pt x="249" y="1353"/>
                  </a:cubicBezTo>
                  <a:moveTo>
                    <a:pt x="263" y="1353"/>
                  </a:moveTo>
                  <a:cubicBezTo>
                    <a:pt x="256" y="1353"/>
                    <a:pt x="256" y="1353"/>
                    <a:pt x="256" y="1353"/>
                  </a:cubicBezTo>
                  <a:cubicBezTo>
                    <a:pt x="256" y="1360"/>
                    <a:pt x="256" y="1360"/>
                    <a:pt x="256" y="1360"/>
                  </a:cubicBezTo>
                  <a:cubicBezTo>
                    <a:pt x="263" y="1360"/>
                    <a:pt x="263" y="1360"/>
                    <a:pt x="263" y="1360"/>
                  </a:cubicBezTo>
                  <a:cubicBezTo>
                    <a:pt x="263" y="1353"/>
                    <a:pt x="263" y="1353"/>
                    <a:pt x="263" y="1353"/>
                  </a:cubicBezTo>
                  <a:moveTo>
                    <a:pt x="278" y="1353"/>
                  </a:moveTo>
                  <a:cubicBezTo>
                    <a:pt x="271" y="1353"/>
                    <a:pt x="271" y="1353"/>
                    <a:pt x="271" y="1353"/>
                  </a:cubicBezTo>
                  <a:cubicBezTo>
                    <a:pt x="271" y="1360"/>
                    <a:pt x="271" y="1360"/>
                    <a:pt x="271" y="1360"/>
                  </a:cubicBezTo>
                  <a:cubicBezTo>
                    <a:pt x="278" y="1360"/>
                    <a:pt x="278" y="1360"/>
                    <a:pt x="278" y="1360"/>
                  </a:cubicBezTo>
                  <a:cubicBezTo>
                    <a:pt x="278" y="1353"/>
                    <a:pt x="278" y="1353"/>
                    <a:pt x="278" y="1353"/>
                  </a:cubicBezTo>
                  <a:moveTo>
                    <a:pt x="293" y="1353"/>
                  </a:moveTo>
                  <a:cubicBezTo>
                    <a:pt x="286" y="1353"/>
                    <a:pt x="286" y="1353"/>
                    <a:pt x="286" y="1353"/>
                  </a:cubicBezTo>
                  <a:cubicBezTo>
                    <a:pt x="286" y="1360"/>
                    <a:pt x="286" y="1360"/>
                    <a:pt x="286" y="1360"/>
                  </a:cubicBezTo>
                  <a:cubicBezTo>
                    <a:pt x="293" y="1360"/>
                    <a:pt x="293" y="1360"/>
                    <a:pt x="293" y="1360"/>
                  </a:cubicBezTo>
                  <a:cubicBezTo>
                    <a:pt x="293" y="1353"/>
                    <a:pt x="293" y="1353"/>
                    <a:pt x="293" y="1353"/>
                  </a:cubicBezTo>
                  <a:moveTo>
                    <a:pt x="308" y="1353"/>
                  </a:moveTo>
                  <a:cubicBezTo>
                    <a:pt x="301" y="1353"/>
                    <a:pt x="301" y="1353"/>
                    <a:pt x="301" y="1353"/>
                  </a:cubicBezTo>
                  <a:cubicBezTo>
                    <a:pt x="301" y="1360"/>
                    <a:pt x="301" y="1360"/>
                    <a:pt x="301" y="1360"/>
                  </a:cubicBezTo>
                  <a:cubicBezTo>
                    <a:pt x="308" y="1360"/>
                    <a:pt x="308" y="1360"/>
                    <a:pt x="308" y="1360"/>
                  </a:cubicBezTo>
                  <a:cubicBezTo>
                    <a:pt x="308" y="1353"/>
                    <a:pt x="308" y="1353"/>
                    <a:pt x="308" y="1353"/>
                  </a:cubicBezTo>
                  <a:moveTo>
                    <a:pt x="322" y="1353"/>
                  </a:moveTo>
                  <a:cubicBezTo>
                    <a:pt x="315" y="1353"/>
                    <a:pt x="315" y="1353"/>
                    <a:pt x="315" y="1353"/>
                  </a:cubicBezTo>
                  <a:cubicBezTo>
                    <a:pt x="315" y="1360"/>
                    <a:pt x="315" y="1360"/>
                    <a:pt x="315" y="1360"/>
                  </a:cubicBezTo>
                  <a:cubicBezTo>
                    <a:pt x="322" y="1360"/>
                    <a:pt x="322" y="1360"/>
                    <a:pt x="322" y="1360"/>
                  </a:cubicBezTo>
                  <a:cubicBezTo>
                    <a:pt x="322" y="1353"/>
                    <a:pt x="322" y="1353"/>
                    <a:pt x="322" y="1353"/>
                  </a:cubicBezTo>
                  <a:moveTo>
                    <a:pt x="337" y="1353"/>
                  </a:moveTo>
                  <a:cubicBezTo>
                    <a:pt x="330" y="1353"/>
                    <a:pt x="330" y="1353"/>
                    <a:pt x="330" y="1353"/>
                  </a:cubicBezTo>
                  <a:cubicBezTo>
                    <a:pt x="330" y="1360"/>
                    <a:pt x="330" y="1360"/>
                    <a:pt x="330" y="1360"/>
                  </a:cubicBezTo>
                  <a:cubicBezTo>
                    <a:pt x="337" y="1360"/>
                    <a:pt x="337" y="1360"/>
                    <a:pt x="337" y="1360"/>
                  </a:cubicBezTo>
                  <a:cubicBezTo>
                    <a:pt x="337" y="1353"/>
                    <a:pt x="337" y="1353"/>
                    <a:pt x="337" y="1353"/>
                  </a:cubicBezTo>
                  <a:moveTo>
                    <a:pt x="352" y="1353"/>
                  </a:moveTo>
                  <a:cubicBezTo>
                    <a:pt x="345" y="1353"/>
                    <a:pt x="345" y="1353"/>
                    <a:pt x="345" y="1353"/>
                  </a:cubicBezTo>
                  <a:cubicBezTo>
                    <a:pt x="345" y="1360"/>
                    <a:pt x="345" y="1360"/>
                    <a:pt x="345" y="1360"/>
                  </a:cubicBezTo>
                  <a:cubicBezTo>
                    <a:pt x="352" y="1360"/>
                    <a:pt x="352" y="1360"/>
                    <a:pt x="352" y="1360"/>
                  </a:cubicBezTo>
                  <a:cubicBezTo>
                    <a:pt x="352" y="1353"/>
                    <a:pt x="352" y="1353"/>
                    <a:pt x="352" y="1353"/>
                  </a:cubicBezTo>
                  <a:moveTo>
                    <a:pt x="367" y="1353"/>
                  </a:moveTo>
                  <a:cubicBezTo>
                    <a:pt x="360" y="1353"/>
                    <a:pt x="360" y="1353"/>
                    <a:pt x="360" y="1353"/>
                  </a:cubicBezTo>
                  <a:cubicBezTo>
                    <a:pt x="360" y="1360"/>
                    <a:pt x="360" y="1360"/>
                    <a:pt x="360" y="1360"/>
                  </a:cubicBezTo>
                  <a:cubicBezTo>
                    <a:pt x="367" y="1360"/>
                    <a:pt x="367" y="1360"/>
                    <a:pt x="367" y="1360"/>
                  </a:cubicBezTo>
                  <a:cubicBezTo>
                    <a:pt x="367" y="1353"/>
                    <a:pt x="367" y="1353"/>
                    <a:pt x="367" y="1353"/>
                  </a:cubicBezTo>
                  <a:moveTo>
                    <a:pt x="381" y="1353"/>
                  </a:moveTo>
                  <a:cubicBezTo>
                    <a:pt x="374" y="1353"/>
                    <a:pt x="374" y="1353"/>
                    <a:pt x="374" y="1353"/>
                  </a:cubicBezTo>
                  <a:cubicBezTo>
                    <a:pt x="374" y="1360"/>
                    <a:pt x="374" y="1360"/>
                    <a:pt x="374" y="1360"/>
                  </a:cubicBezTo>
                  <a:cubicBezTo>
                    <a:pt x="381" y="1360"/>
                    <a:pt x="381" y="1360"/>
                    <a:pt x="381" y="1360"/>
                  </a:cubicBezTo>
                  <a:cubicBezTo>
                    <a:pt x="381" y="1353"/>
                    <a:pt x="381" y="1353"/>
                    <a:pt x="381" y="1353"/>
                  </a:cubicBezTo>
                  <a:moveTo>
                    <a:pt x="396" y="1353"/>
                  </a:moveTo>
                  <a:cubicBezTo>
                    <a:pt x="389" y="1353"/>
                    <a:pt x="389" y="1353"/>
                    <a:pt x="389" y="1353"/>
                  </a:cubicBezTo>
                  <a:cubicBezTo>
                    <a:pt x="389" y="1360"/>
                    <a:pt x="389" y="1360"/>
                    <a:pt x="389" y="1360"/>
                  </a:cubicBezTo>
                  <a:cubicBezTo>
                    <a:pt x="396" y="1360"/>
                    <a:pt x="396" y="1360"/>
                    <a:pt x="396" y="1360"/>
                  </a:cubicBezTo>
                  <a:cubicBezTo>
                    <a:pt x="396" y="1353"/>
                    <a:pt x="396" y="1353"/>
                    <a:pt x="396" y="1353"/>
                  </a:cubicBezTo>
                  <a:moveTo>
                    <a:pt x="411" y="1353"/>
                  </a:moveTo>
                  <a:cubicBezTo>
                    <a:pt x="404" y="1353"/>
                    <a:pt x="404" y="1353"/>
                    <a:pt x="404" y="1353"/>
                  </a:cubicBezTo>
                  <a:cubicBezTo>
                    <a:pt x="404" y="1360"/>
                    <a:pt x="404" y="1360"/>
                    <a:pt x="404" y="1360"/>
                  </a:cubicBezTo>
                  <a:cubicBezTo>
                    <a:pt x="411" y="1360"/>
                    <a:pt x="411" y="1360"/>
                    <a:pt x="411" y="1360"/>
                  </a:cubicBezTo>
                  <a:cubicBezTo>
                    <a:pt x="411" y="1353"/>
                    <a:pt x="411" y="1353"/>
                    <a:pt x="411" y="1353"/>
                  </a:cubicBezTo>
                  <a:moveTo>
                    <a:pt x="426" y="1353"/>
                  </a:moveTo>
                  <a:cubicBezTo>
                    <a:pt x="419" y="1353"/>
                    <a:pt x="419" y="1353"/>
                    <a:pt x="419" y="1353"/>
                  </a:cubicBezTo>
                  <a:cubicBezTo>
                    <a:pt x="419" y="1360"/>
                    <a:pt x="419" y="1360"/>
                    <a:pt x="419" y="1360"/>
                  </a:cubicBezTo>
                  <a:cubicBezTo>
                    <a:pt x="426" y="1360"/>
                    <a:pt x="426" y="1360"/>
                    <a:pt x="426" y="1360"/>
                  </a:cubicBezTo>
                  <a:cubicBezTo>
                    <a:pt x="426" y="1353"/>
                    <a:pt x="426" y="1353"/>
                    <a:pt x="426" y="1353"/>
                  </a:cubicBezTo>
                  <a:moveTo>
                    <a:pt x="440" y="1353"/>
                  </a:moveTo>
                  <a:cubicBezTo>
                    <a:pt x="433" y="1353"/>
                    <a:pt x="433" y="1353"/>
                    <a:pt x="433" y="1353"/>
                  </a:cubicBezTo>
                  <a:cubicBezTo>
                    <a:pt x="433" y="1360"/>
                    <a:pt x="433" y="1360"/>
                    <a:pt x="433" y="1360"/>
                  </a:cubicBezTo>
                  <a:cubicBezTo>
                    <a:pt x="440" y="1360"/>
                    <a:pt x="440" y="1360"/>
                    <a:pt x="440" y="1360"/>
                  </a:cubicBezTo>
                  <a:cubicBezTo>
                    <a:pt x="440" y="1353"/>
                    <a:pt x="440" y="1353"/>
                    <a:pt x="440" y="1353"/>
                  </a:cubicBezTo>
                  <a:moveTo>
                    <a:pt x="455" y="1353"/>
                  </a:moveTo>
                  <a:cubicBezTo>
                    <a:pt x="448" y="1353"/>
                    <a:pt x="448" y="1353"/>
                    <a:pt x="448" y="1353"/>
                  </a:cubicBezTo>
                  <a:cubicBezTo>
                    <a:pt x="448" y="1360"/>
                    <a:pt x="448" y="1360"/>
                    <a:pt x="448" y="1360"/>
                  </a:cubicBezTo>
                  <a:cubicBezTo>
                    <a:pt x="455" y="1360"/>
                    <a:pt x="455" y="1360"/>
                    <a:pt x="455" y="1360"/>
                  </a:cubicBezTo>
                  <a:cubicBezTo>
                    <a:pt x="455" y="1353"/>
                    <a:pt x="455" y="1353"/>
                    <a:pt x="455" y="1353"/>
                  </a:cubicBezTo>
                  <a:moveTo>
                    <a:pt x="470" y="1353"/>
                  </a:moveTo>
                  <a:cubicBezTo>
                    <a:pt x="463" y="1353"/>
                    <a:pt x="463" y="1353"/>
                    <a:pt x="463" y="1353"/>
                  </a:cubicBezTo>
                  <a:cubicBezTo>
                    <a:pt x="463" y="1360"/>
                    <a:pt x="463" y="1360"/>
                    <a:pt x="463" y="1360"/>
                  </a:cubicBezTo>
                  <a:cubicBezTo>
                    <a:pt x="470" y="1360"/>
                    <a:pt x="470" y="1360"/>
                    <a:pt x="470" y="1360"/>
                  </a:cubicBezTo>
                  <a:cubicBezTo>
                    <a:pt x="470" y="1353"/>
                    <a:pt x="470" y="1353"/>
                    <a:pt x="470" y="1353"/>
                  </a:cubicBezTo>
                  <a:moveTo>
                    <a:pt x="485" y="1353"/>
                  </a:moveTo>
                  <a:cubicBezTo>
                    <a:pt x="478" y="1353"/>
                    <a:pt x="478" y="1353"/>
                    <a:pt x="478" y="1353"/>
                  </a:cubicBezTo>
                  <a:cubicBezTo>
                    <a:pt x="478" y="1360"/>
                    <a:pt x="478" y="1360"/>
                    <a:pt x="478" y="1360"/>
                  </a:cubicBezTo>
                  <a:cubicBezTo>
                    <a:pt x="485" y="1360"/>
                    <a:pt x="485" y="1360"/>
                    <a:pt x="485" y="1360"/>
                  </a:cubicBezTo>
                  <a:cubicBezTo>
                    <a:pt x="485" y="1353"/>
                    <a:pt x="485" y="1353"/>
                    <a:pt x="485" y="1353"/>
                  </a:cubicBezTo>
                  <a:moveTo>
                    <a:pt x="499" y="1353"/>
                  </a:moveTo>
                  <a:cubicBezTo>
                    <a:pt x="492" y="1353"/>
                    <a:pt x="492" y="1353"/>
                    <a:pt x="492" y="1353"/>
                  </a:cubicBezTo>
                  <a:cubicBezTo>
                    <a:pt x="492" y="1360"/>
                    <a:pt x="492" y="1360"/>
                    <a:pt x="492" y="1360"/>
                  </a:cubicBezTo>
                  <a:cubicBezTo>
                    <a:pt x="499" y="1360"/>
                    <a:pt x="499" y="1360"/>
                    <a:pt x="499" y="1360"/>
                  </a:cubicBezTo>
                  <a:cubicBezTo>
                    <a:pt x="499" y="1353"/>
                    <a:pt x="499" y="1353"/>
                    <a:pt x="499" y="1353"/>
                  </a:cubicBezTo>
                  <a:moveTo>
                    <a:pt x="234" y="1338"/>
                  </a:moveTo>
                  <a:cubicBezTo>
                    <a:pt x="227" y="1338"/>
                    <a:pt x="227" y="1338"/>
                    <a:pt x="227" y="1338"/>
                  </a:cubicBezTo>
                  <a:cubicBezTo>
                    <a:pt x="227" y="1345"/>
                    <a:pt x="227" y="1345"/>
                    <a:pt x="227" y="1345"/>
                  </a:cubicBezTo>
                  <a:cubicBezTo>
                    <a:pt x="234" y="1345"/>
                    <a:pt x="234" y="1345"/>
                    <a:pt x="234" y="1345"/>
                  </a:cubicBezTo>
                  <a:cubicBezTo>
                    <a:pt x="234" y="1338"/>
                    <a:pt x="234" y="1338"/>
                    <a:pt x="234" y="1338"/>
                  </a:cubicBezTo>
                  <a:moveTo>
                    <a:pt x="249" y="1338"/>
                  </a:moveTo>
                  <a:cubicBezTo>
                    <a:pt x="242" y="1338"/>
                    <a:pt x="242" y="1338"/>
                    <a:pt x="242" y="1338"/>
                  </a:cubicBezTo>
                  <a:cubicBezTo>
                    <a:pt x="242" y="1345"/>
                    <a:pt x="242" y="1345"/>
                    <a:pt x="242" y="1345"/>
                  </a:cubicBezTo>
                  <a:cubicBezTo>
                    <a:pt x="249" y="1345"/>
                    <a:pt x="249" y="1345"/>
                    <a:pt x="249" y="1345"/>
                  </a:cubicBezTo>
                  <a:cubicBezTo>
                    <a:pt x="249" y="1338"/>
                    <a:pt x="249" y="1338"/>
                    <a:pt x="249" y="1338"/>
                  </a:cubicBezTo>
                  <a:moveTo>
                    <a:pt x="263" y="1338"/>
                  </a:moveTo>
                  <a:cubicBezTo>
                    <a:pt x="256" y="1338"/>
                    <a:pt x="256" y="1338"/>
                    <a:pt x="256" y="1338"/>
                  </a:cubicBezTo>
                  <a:cubicBezTo>
                    <a:pt x="256" y="1345"/>
                    <a:pt x="256" y="1345"/>
                    <a:pt x="256" y="1345"/>
                  </a:cubicBezTo>
                  <a:cubicBezTo>
                    <a:pt x="263" y="1345"/>
                    <a:pt x="263" y="1345"/>
                    <a:pt x="263" y="1345"/>
                  </a:cubicBezTo>
                  <a:cubicBezTo>
                    <a:pt x="263" y="1338"/>
                    <a:pt x="263" y="1338"/>
                    <a:pt x="263" y="1338"/>
                  </a:cubicBezTo>
                  <a:moveTo>
                    <a:pt x="278" y="1338"/>
                  </a:moveTo>
                  <a:cubicBezTo>
                    <a:pt x="271" y="1338"/>
                    <a:pt x="271" y="1338"/>
                    <a:pt x="271" y="1338"/>
                  </a:cubicBezTo>
                  <a:cubicBezTo>
                    <a:pt x="271" y="1345"/>
                    <a:pt x="271" y="1345"/>
                    <a:pt x="271" y="1345"/>
                  </a:cubicBezTo>
                  <a:cubicBezTo>
                    <a:pt x="278" y="1345"/>
                    <a:pt x="278" y="1345"/>
                    <a:pt x="278" y="1345"/>
                  </a:cubicBezTo>
                  <a:cubicBezTo>
                    <a:pt x="278" y="1338"/>
                    <a:pt x="278" y="1338"/>
                    <a:pt x="278" y="1338"/>
                  </a:cubicBezTo>
                  <a:moveTo>
                    <a:pt x="293" y="1338"/>
                  </a:moveTo>
                  <a:cubicBezTo>
                    <a:pt x="286" y="1338"/>
                    <a:pt x="286" y="1338"/>
                    <a:pt x="286" y="1338"/>
                  </a:cubicBezTo>
                  <a:cubicBezTo>
                    <a:pt x="286" y="1345"/>
                    <a:pt x="286" y="1345"/>
                    <a:pt x="286" y="1345"/>
                  </a:cubicBezTo>
                  <a:cubicBezTo>
                    <a:pt x="293" y="1345"/>
                    <a:pt x="293" y="1345"/>
                    <a:pt x="293" y="1345"/>
                  </a:cubicBezTo>
                  <a:cubicBezTo>
                    <a:pt x="293" y="1338"/>
                    <a:pt x="293" y="1338"/>
                    <a:pt x="293" y="1338"/>
                  </a:cubicBezTo>
                  <a:moveTo>
                    <a:pt x="308" y="1338"/>
                  </a:moveTo>
                  <a:cubicBezTo>
                    <a:pt x="301" y="1338"/>
                    <a:pt x="301" y="1338"/>
                    <a:pt x="301" y="1338"/>
                  </a:cubicBezTo>
                  <a:cubicBezTo>
                    <a:pt x="301" y="1345"/>
                    <a:pt x="301" y="1345"/>
                    <a:pt x="301" y="1345"/>
                  </a:cubicBezTo>
                  <a:cubicBezTo>
                    <a:pt x="308" y="1345"/>
                    <a:pt x="308" y="1345"/>
                    <a:pt x="308" y="1345"/>
                  </a:cubicBezTo>
                  <a:cubicBezTo>
                    <a:pt x="308" y="1338"/>
                    <a:pt x="308" y="1338"/>
                    <a:pt x="308" y="1338"/>
                  </a:cubicBezTo>
                  <a:moveTo>
                    <a:pt x="322" y="1338"/>
                  </a:moveTo>
                  <a:cubicBezTo>
                    <a:pt x="315" y="1338"/>
                    <a:pt x="315" y="1338"/>
                    <a:pt x="315" y="1338"/>
                  </a:cubicBezTo>
                  <a:cubicBezTo>
                    <a:pt x="315" y="1345"/>
                    <a:pt x="315" y="1345"/>
                    <a:pt x="315" y="1345"/>
                  </a:cubicBezTo>
                  <a:cubicBezTo>
                    <a:pt x="322" y="1345"/>
                    <a:pt x="322" y="1345"/>
                    <a:pt x="322" y="1345"/>
                  </a:cubicBezTo>
                  <a:cubicBezTo>
                    <a:pt x="322" y="1338"/>
                    <a:pt x="322" y="1338"/>
                    <a:pt x="322" y="1338"/>
                  </a:cubicBezTo>
                  <a:moveTo>
                    <a:pt x="337" y="1338"/>
                  </a:moveTo>
                  <a:cubicBezTo>
                    <a:pt x="330" y="1338"/>
                    <a:pt x="330" y="1338"/>
                    <a:pt x="330" y="1338"/>
                  </a:cubicBezTo>
                  <a:cubicBezTo>
                    <a:pt x="330" y="1345"/>
                    <a:pt x="330" y="1345"/>
                    <a:pt x="330" y="1345"/>
                  </a:cubicBezTo>
                  <a:cubicBezTo>
                    <a:pt x="337" y="1345"/>
                    <a:pt x="337" y="1345"/>
                    <a:pt x="337" y="1345"/>
                  </a:cubicBezTo>
                  <a:cubicBezTo>
                    <a:pt x="337" y="1338"/>
                    <a:pt x="337" y="1338"/>
                    <a:pt x="337" y="1338"/>
                  </a:cubicBezTo>
                  <a:moveTo>
                    <a:pt x="352" y="1338"/>
                  </a:moveTo>
                  <a:cubicBezTo>
                    <a:pt x="345" y="1338"/>
                    <a:pt x="345" y="1338"/>
                    <a:pt x="345" y="1338"/>
                  </a:cubicBezTo>
                  <a:cubicBezTo>
                    <a:pt x="345" y="1345"/>
                    <a:pt x="345" y="1345"/>
                    <a:pt x="345" y="1345"/>
                  </a:cubicBezTo>
                  <a:cubicBezTo>
                    <a:pt x="352" y="1345"/>
                    <a:pt x="352" y="1345"/>
                    <a:pt x="352" y="1345"/>
                  </a:cubicBezTo>
                  <a:cubicBezTo>
                    <a:pt x="352" y="1338"/>
                    <a:pt x="352" y="1338"/>
                    <a:pt x="352" y="1338"/>
                  </a:cubicBezTo>
                  <a:moveTo>
                    <a:pt x="367" y="1338"/>
                  </a:moveTo>
                  <a:cubicBezTo>
                    <a:pt x="360" y="1338"/>
                    <a:pt x="360" y="1338"/>
                    <a:pt x="360" y="1338"/>
                  </a:cubicBezTo>
                  <a:cubicBezTo>
                    <a:pt x="360" y="1345"/>
                    <a:pt x="360" y="1345"/>
                    <a:pt x="360" y="1345"/>
                  </a:cubicBezTo>
                  <a:cubicBezTo>
                    <a:pt x="367" y="1345"/>
                    <a:pt x="367" y="1345"/>
                    <a:pt x="367" y="1345"/>
                  </a:cubicBezTo>
                  <a:cubicBezTo>
                    <a:pt x="367" y="1338"/>
                    <a:pt x="367" y="1338"/>
                    <a:pt x="367" y="1338"/>
                  </a:cubicBezTo>
                  <a:moveTo>
                    <a:pt x="381" y="1338"/>
                  </a:moveTo>
                  <a:cubicBezTo>
                    <a:pt x="374" y="1338"/>
                    <a:pt x="374" y="1338"/>
                    <a:pt x="374" y="1338"/>
                  </a:cubicBezTo>
                  <a:cubicBezTo>
                    <a:pt x="374" y="1345"/>
                    <a:pt x="374" y="1345"/>
                    <a:pt x="374" y="1345"/>
                  </a:cubicBezTo>
                  <a:cubicBezTo>
                    <a:pt x="381" y="1345"/>
                    <a:pt x="381" y="1345"/>
                    <a:pt x="381" y="1345"/>
                  </a:cubicBezTo>
                  <a:cubicBezTo>
                    <a:pt x="381" y="1338"/>
                    <a:pt x="381" y="1338"/>
                    <a:pt x="381" y="1338"/>
                  </a:cubicBezTo>
                  <a:moveTo>
                    <a:pt x="396" y="1338"/>
                  </a:moveTo>
                  <a:cubicBezTo>
                    <a:pt x="389" y="1338"/>
                    <a:pt x="389" y="1338"/>
                    <a:pt x="389" y="1338"/>
                  </a:cubicBezTo>
                  <a:cubicBezTo>
                    <a:pt x="389" y="1345"/>
                    <a:pt x="389" y="1345"/>
                    <a:pt x="389" y="1345"/>
                  </a:cubicBezTo>
                  <a:cubicBezTo>
                    <a:pt x="396" y="1345"/>
                    <a:pt x="396" y="1345"/>
                    <a:pt x="396" y="1345"/>
                  </a:cubicBezTo>
                  <a:cubicBezTo>
                    <a:pt x="396" y="1338"/>
                    <a:pt x="396" y="1338"/>
                    <a:pt x="396" y="1338"/>
                  </a:cubicBezTo>
                  <a:moveTo>
                    <a:pt x="411" y="1338"/>
                  </a:moveTo>
                  <a:cubicBezTo>
                    <a:pt x="404" y="1338"/>
                    <a:pt x="404" y="1338"/>
                    <a:pt x="404" y="1338"/>
                  </a:cubicBezTo>
                  <a:cubicBezTo>
                    <a:pt x="404" y="1345"/>
                    <a:pt x="404" y="1345"/>
                    <a:pt x="404" y="1345"/>
                  </a:cubicBezTo>
                  <a:cubicBezTo>
                    <a:pt x="411" y="1345"/>
                    <a:pt x="411" y="1345"/>
                    <a:pt x="411" y="1345"/>
                  </a:cubicBezTo>
                  <a:cubicBezTo>
                    <a:pt x="411" y="1338"/>
                    <a:pt x="411" y="1338"/>
                    <a:pt x="411" y="1338"/>
                  </a:cubicBezTo>
                  <a:moveTo>
                    <a:pt x="426" y="1338"/>
                  </a:moveTo>
                  <a:cubicBezTo>
                    <a:pt x="419" y="1338"/>
                    <a:pt x="419" y="1338"/>
                    <a:pt x="419" y="1338"/>
                  </a:cubicBezTo>
                  <a:cubicBezTo>
                    <a:pt x="419" y="1345"/>
                    <a:pt x="419" y="1345"/>
                    <a:pt x="419" y="1345"/>
                  </a:cubicBezTo>
                  <a:cubicBezTo>
                    <a:pt x="426" y="1345"/>
                    <a:pt x="426" y="1345"/>
                    <a:pt x="426" y="1345"/>
                  </a:cubicBezTo>
                  <a:cubicBezTo>
                    <a:pt x="426" y="1338"/>
                    <a:pt x="426" y="1338"/>
                    <a:pt x="426" y="1338"/>
                  </a:cubicBezTo>
                  <a:moveTo>
                    <a:pt x="440" y="1338"/>
                  </a:moveTo>
                  <a:cubicBezTo>
                    <a:pt x="433" y="1338"/>
                    <a:pt x="433" y="1338"/>
                    <a:pt x="433" y="1338"/>
                  </a:cubicBezTo>
                  <a:cubicBezTo>
                    <a:pt x="433" y="1345"/>
                    <a:pt x="433" y="1345"/>
                    <a:pt x="433" y="1345"/>
                  </a:cubicBezTo>
                  <a:cubicBezTo>
                    <a:pt x="440" y="1345"/>
                    <a:pt x="440" y="1345"/>
                    <a:pt x="440" y="1345"/>
                  </a:cubicBezTo>
                  <a:cubicBezTo>
                    <a:pt x="440" y="1338"/>
                    <a:pt x="440" y="1338"/>
                    <a:pt x="440" y="1338"/>
                  </a:cubicBezTo>
                  <a:moveTo>
                    <a:pt x="455" y="1338"/>
                  </a:moveTo>
                  <a:cubicBezTo>
                    <a:pt x="448" y="1338"/>
                    <a:pt x="448" y="1338"/>
                    <a:pt x="448" y="1338"/>
                  </a:cubicBezTo>
                  <a:cubicBezTo>
                    <a:pt x="448" y="1345"/>
                    <a:pt x="448" y="1345"/>
                    <a:pt x="448" y="1345"/>
                  </a:cubicBezTo>
                  <a:cubicBezTo>
                    <a:pt x="455" y="1345"/>
                    <a:pt x="455" y="1345"/>
                    <a:pt x="455" y="1345"/>
                  </a:cubicBezTo>
                  <a:cubicBezTo>
                    <a:pt x="455" y="1338"/>
                    <a:pt x="455" y="1338"/>
                    <a:pt x="455" y="1338"/>
                  </a:cubicBezTo>
                  <a:moveTo>
                    <a:pt x="470" y="1338"/>
                  </a:moveTo>
                  <a:cubicBezTo>
                    <a:pt x="463" y="1338"/>
                    <a:pt x="463" y="1338"/>
                    <a:pt x="463" y="1338"/>
                  </a:cubicBezTo>
                  <a:cubicBezTo>
                    <a:pt x="463" y="1345"/>
                    <a:pt x="463" y="1345"/>
                    <a:pt x="463" y="1345"/>
                  </a:cubicBezTo>
                  <a:cubicBezTo>
                    <a:pt x="470" y="1345"/>
                    <a:pt x="470" y="1345"/>
                    <a:pt x="470" y="1345"/>
                  </a:cubicBezTo>
                  <a:cubicBezTo>
                    <a:pt x="470" y="1338"/>
                    <a:pt x="470" y="1338"/>
                    <a:pt x="470" y="1338"/>
                  </a:cubicBezTo>
                  <a:moveTo>
                    <a:pt x="485" y="1338"/>
                  </a:moveTo>
                  <a:cubicBezTo>
                    <a:pt x="478" y="1338"/>
                    <a:pt x="478" y="1338"/>
                    <a:pt x="478" y="1338"/>
                  </a:cubicBezTo>
                  <a:cubicBezTo>
                    <a:pt x="478" y="1345"/>
                    <a:pt x="478" y="1345"/>
                    <a:pt x="478" y="1345"/>
                  </a:cubicBezTo>
                  <a:cubicBezTo>
                    <a:pt x="485" y="1345"/>
                    <a:pt x="485" y="1345"/>
                    <a:pt x="485" y="1345"/>
                  </a:cubicBezTo>
                  <a:cubicBezTo>
                    <a:pt x="485" y="1338"/>
                    <a:pt x="485" y="1338"/>
                    <a:pt x="485" y="1338"/>
                  </a:cubicBezTo>
                  <a:moveTo>
                    <a:pt x="499" y="1338"/>
                  </a:moveTo>
                  <a:cubicBezTo>
                    <a:pt x="492" y="1338"/>
                    <a:pt x="492" y="1338"/>
                    <a:pt x="492" y="1338"/>
                  </a:cubicBezTo>
                  <a:cubicBezTo>
                    <a:pt x="492" y="1345"/>
                    <a:pt x="492" y="1345"/>
                    <a:pt x="492" y="1345"/>
                  </a:cubicBezTo>
                  <a:cubicBezTo>
                    <a:pt x="499" y="1345"/>
                    <a:pt x="499" y="1345"/>
                    <a:pt x="499" y="1345"/>
                  </a:cubicBezTo>
                  <a:cubicBezTo>
                    <a:pt x="499" y="1338"/>
                    <a:pt x="499" y="1338"/>
                    <a:pt x="499" y="1338"/>
                  </a:cubicBezTo>
                  <a:moveTo>
                    <a:pt x="514" y="1338"/>
                  </a:moveTo>
                  <a:cubicBezTo>
                    <a:pt x="507" y="1338"/>
                    <a:pt x="507" y="1338"/>
                    <a:pt x="507" y="1338"/>
                  </a:cubicBezTo>
                  <a:cubicBezTo>
                    <a:pt x="507" y="1345"/>
                    <a:pt x="507" y="1345"/>
                    <a:pt x="507" y="1345"/>
                  </a:cubicBezTo>
                  <a:cubicBezTo>
                    <a:pt x="514" y="1345"/>
                    <a:pt x="514" y="1345"/>
                    <a:pt x="514" y="1345"/>
                  </a:cubicBezTo>
                  <a:cubicBezTo>
                    <a:pt x="514" y="1338"/>
                    <a:pt x="514" y="1338"/>
                    <a:pt x="514" y="1338"/>
                  </a:cubicBezTo>
                  <a:moveTo>
                    <a:pt x="219" y="1323"/>
                  </a:moveTo>
                  <a:cubicBezTo>
                    <a:pt x="212" y="1323"/>
                    <a:pt x="212" y="1323"/>
                    <a:pt x="212" y="1323"/>
                  </a:cubicBezTo>
                  <a:cubicBezTo>
                    <a:pt x="212" y="1330"/>
                    <a:pt x="212" y="1330"/>
                    <a:pt x="212" y="1330"/>
                  </a:cubicBezTo>
                  <a:cubicBezTo>
                    <a:pt x="219" y="1330"/>
                    <a:pt x="219" y="1330"/>
                    <a:pt x="219" y="1330"/>
                  </a:cubicBezTo>
                  <a:cubicBezTo>
                    <a:pt x="219" y="1323"/>
                    <a:pt x="219" y="1323"/>
                    <a:pt x="219" y="1323"/>
                  </a:cubicBezTo>
                  <a:moveTo>
                    <a:pt x="234" y="1323"/>
                  </a:moveTo>
                  <a:cubicBezTo>
                    <a:pt x="227" y="1323"/>
                    <a:pt x="227" y="1323"/>
                    <a:pt x="227" y="1323"/>
                  </a:cubicBezTo>
                  <a:cubicBezTo>
                    <a:pt x="227" y="1330"/>
                    <a:pt x="227" y="1330"/>
                    <a:pt x="227" y="1330"/>
                  </a:cubicBezTo>
                  <a:cubicBezTo>
                    <a:pt x="234" y="1330"/>
                    <a:pt x="234" y="1330"/>
                    <a:pt x="234" y="1330"/>
                  </a:cubicBezTo>
                  <a:cubicBezTo>
                    <a:pt x="234" y="1323"/>
                    <a:pt x="234" y="1323"/>
                    <a:pt x="234" y="1323"/>
                  </a:cubicBezTo>
                  <a:moveTo>
                    <a:pt x="249" y="1323"/>
                  </a:moveTo>
                  <a:cubicBezTo>
                    <a:pt x="242" y="1323"/>
                    <a:pt x="242" y="1323"/>
                    <a:pt x="242" y="1323"/>
                  </a:cubicBezTo>
                  <a:cubicBezTo>
                    <a:pt x="242" y="1330"/>
                    <a:pt x="242" y="1330"/>
                    <a:pt x="242" y="1330"/>
                  </a:cubicBezTo>
                  <a:cubicBezTo>
                    <a:pt x="249" y="1330"/>
                    <a:pt x="249" y="1330"/>
                    <a:pt x="249" y="1330"/>
                  </a:cubicBezTo>
                  <a:cubicBezTo>
                    <a:pt x="249" y="1323"/>
                    <a:pt x="249" y="1323"/>
                    <a:pt x="249" y="1323"/>
                  </a:cubicBezTo>
                  <a:moveTo>
                    <a:pt x="263" y="1323"/>
                  </a:moveTo>
                  <a:cubicBezTo>
                    <a:pt x="256" y="1323"/>
                    <a:pt x="256" y="1323"/>
                    <a:pt x="256" y="1323"/>
                  </a:cubicBezTo>
                  <a:cubicBezTo>
                    <a:pt x="256" y="1330"/>
                    <a:pt x="256" y="1330"/>
                    <a:pt x="256" y="1330"/>
                  </a:cubicBezTo>
                  <a:cubicBezTo>
                    <a:pt x="263" y="1330"/>
                    <a:pt x="263" y="1330"/>
                    <a:pt x="263" y="1330"/>
                  </a:cubicBezTo>
                  <a:cubicBezTo>
                    <a:pt x="263" y="1323"/>
                    <a:pt x="263" y="1323"/>
                    <a:pt x="263" y="1323"/>
                  </a:cubicBezTo>
                  <a:moveTo>
                    <a:pt x="278" y="1323"/>
                  </a:moveTo>
                  <a:cubicBezTo>
                    <a:pt x="271" y="1323"/>
                    <a:pt x="271" y="1323"/>
                    <a:pt x="271" y="1323"/>
                  </a:cubicBezTo>
                  <a:cubicBezTo>
                    <a:pt x="271" y="1330"/>
                    <a:pt x="271" y="1330"/>
                    <a:pt x="271" y="1330"/>
                  </a:cubicBezTo>
                  <a:cubicBezTo>
                    <a:pt x="278" y="1330"/>
                    <a:pt x="278" y="1330"/>
                    <a:pt x="278" y="1330"/>
                  </a:cubicBezTo>
                  <a:cubicBezTo>
                    <a:pt x="278" y="1323"/>
                    <a:pt x="278" y="1323"/>
                    <a:pt x="278" y="1323"/>
                  </a:cubicBezTo>
                  <a:moveTo>
                    <a:pt x="293" y="1323"/>
                  </a:moveTo>
                  <a:cubicBezTo>
                    <a:pt x="286" y="1323"/>
                    <a:pt x="286" y="1323"/>
                    <a:pt x="286" y="1323"/>
                  </a:cubicBezTo>
                  <a:cubicBezTo>
                    <a:pt x="286" y="1330"/>
                    <a:pt x="286" y="1330"/>
                    <a:pt x="286" y="1330"/>
                  </a:cubicBezTo>
                  <a:cubicBezTo>
                    <a:pt x="293" y="1330"/>
                    <a:pt x="293" y="1330"/>
                    <a:pt x="293" y="1330"/>
                  </a:cubicBezTo>
                  <a:cubicBezTo>
                    <a:pt x="293" y="1323"/>
                    <a:pt x="293" y="1323"/>
                    <a:pt x="293" y="1323"/>
                  </a:cubicBezTo>
                  <a:moveTo>
                    <a:pt x="308" y="1323"/>
                  </a:moveTo>
                  <a:cubicBezTo>
                    <a:pt x="301" y="1323"/>
                    <a:pt x="301" y="1323"/>
                    <a:pt x="301" y="1323"/>
                  </a:cubicBezTo>
                  <a:cubicBezTo>
                    <a:pt x="301" y="1330"/>
                    <a:pt x="301" y="1330"/>
                    <a:pt x="301" y="1330"/>
                  </a:cubicBezTo>
                  <a:cubicBezTo>
                    <a:pt x="308" y="1330"/>
                    <a:pt x="308" y="1330"/>
                    <a:pt x="308" y="1330"/>
                  </a:cubicBezTo>
                  <a:cubicBezTo>
                    <a:pt x="308" y="1323"/>
                    <a:pt x="308" y="1323"/>
                    <a:pt x="308" y="1323"/>
                  </a:cubicBezTo>
                  <a:moveTo>
                    <a:pt x="322" y="1323"/>
                  </a:moveTo>
                  <a:cubicBezTo>
                    <a:pt x="315" y="1323"/>
                    <a:pt x="315" y="1323"/>
                    <a:pt x="315" y="1323"/>
                  </a:cubicBezTo>
                  <a:cubicBezTo>
                    <a:pt x="315" y="1330"/>
                    <a:pt x="315" y="1330"/>
                    <a:pt x="315" y="1330"/>
                  </a:cubicBezTo>
                  <a:cubicBezTo>
                    <a:pt x="322" y="1330"/>
                    <a:pt x="322" y="1330"/>
                    <a:pt x="322" y="1330"/>
                  </a:cubicBezTo>
                  <a:cubicBezTo>
                    <a:pt x="322" y="1323"/>
                    <a:pt x="322" y="1323"/>
                    <a:pt x="322" y="1323"/>
                  </a:cubicBezTo>
                  <a:moveTo>
                    <a:pt x="337" y="1323"/>
                  </a:moveTo>
                  <a:cubicBezTo>
                    <a:pt x="330" y="1323"/>
                    <a:pt x="330" y="1323"/>
                    <a:pt x="330" y="1323"/>
                  </a:cubicBezTo>
                  <a:cubicBezTo>
                    <a:pt x="330" y="1330"/>
                    <a:pt x="330" y="1330"/>
                    <a:pt x="330" y="1330"/>
                  </a:cubicBezTo>
                  <a:cubicBezTo>
                    <a:pt x="337" y="1330"/>
                    <a:pt x="337" y="1330"/>
                    <a:pt x="337" y="1330"/>
                  </a:cubicBezTo>
                  <a:cubicBezTo>
                    <a:pt x="337" y="1323"/>
                    <a:pt x="337" y="1323"/>
                    <a:pt x="337" y="1323"/>
                  </a:cubicBezTo>
                  <a:moveTo>
                    <a:pt x="352" y="1323"/>
                  </a:moveTo>
                  <a:cubicBezTo>
                    <a:pt x="345" y="1323"/>
                    <a:pt x="345" y="1323"/>
                    <a:pt x="345" y="1323"/>
                  </a:cubicBezTo>
                  <a:cubicBezTo>
                    <a:pt x="345" y="1330"/>
                    <a:pt x="345" y="1330"/>
                    <a:pt x="345" y="1330"/>
                  </a:cubicBezTo>
                  <a:cubicBezTo>
                    <a:pt x="352" y="1330"/>
                    <a:pt x="352" y="1330"/>
                    <a:pt x="352" y="1330"/>
                  </a:cubicBezTo>
                  <a:cubicBezTo>
                    <a:pt x="352" y="1323"/>
                    <a:pt x="352" y="1323"/>
                    <a:pt x="352" y="1323"/>
                  </a:cubicBezTo>
                  <a:moveTo>
                    <a:pt x="367" y="1323"/>
                  </a:moveTo>
                  <a:cubicBezTo>
                    <a:pt x="360" y="1323"/>
                    <a:pt x="360" y="1323"/>
                    <a:pt x="360" y="1323"/>
                  </a:cubicBezTo>
                  <a:cubicBezTo>
                    <a:pt x="360" y="1330"/>
                    <a:pt x="360" y="1330"/>
                    <a:pt x="360" y="1330"/>
                  </a:cubicBezTo>
                  <a:cubicBezTo>
                    <a:pt x="367" y="1330"/>
                    <a:pt x="367" y="1330"/>
                    <a:pt x="367" y="1330"/>
                  </a:cubicBezTo>
                  <a:cubicBezTo>
                    <a:pt x="367" y="1323"/>
                    <a:pt x="367" y="1323"/>
                    <a:pt x="367" y="1323"/>
                  </a:cubicBezTo>
                  <a:moveTo>
                    <a:pt x="381" y="1323"/>
                  </a:moveTo>
                  <a:cubicBezTo>
                    <a:pt x="374" y="1323"/>
                    <a:pt x="374" y="1323"/>
                    <a:pt x="374" y="1323"/>
                  </a:cubicBezTo>
                  <a:cubicBezTo>
                    <a:pt x="374" y="1330"/>
                    <a:pt x="374" y="1330"/>
                    <a:pt x="374" y="1330"/>
                  </a:cubicBezTo>
                  <a:cubicBezTo>
                    <a:pt x="381" y="1330"/>
                    <a:pt x="381" y="1330"/>
                    <a:pt x="381" y="1330"/>
                  </a:cubicBezTo>
                  <a:cubicBezTo>
                    <a:pt x="381" y="1323"/>
                    <a:pt x="381" y="1323"/>
                    <a:pt x="381" y="1323"/>
                  </a:cubicBezTo>
                  <a:moveTo>
                    <a:pt x="396" y="1323"/>
                  </a:moveTo>
                  <a:cubicBezTo>
                    <a:pt x="389" y="1323"/>
                    <a:pt x="389" y="1323"/>
                    <a:pt x="389" y="1323"/>
                  </a:cubicBezTo>
                  <a:cubicBezTo>
                    <a:pt x="389" y="1330"/>
                    <a:pt x="389" y="1330"/>
                    <a:pt x="389" y="1330"/>
                  </a:cubicBezTo>
                  <a:cubicBezTo>
                    <a:pt x="396" y="1330"/>
                    <a:pt x="396" y="1330"/>
                    <a:pt x="396" y="1330"/>
                  </a:cubicBezTo>
                  <a:cubicBezTo>
                    <a:pt x="396" y="1323"/>
                    <a:pt x="396" y="1323"/>
                    <a:pt x="396" y="1323"/>
                  </a:cubicBezTo>
                  <a:moveTo>
                    <a:pt x="411" y="1323"/>
                  </a:moveTo>
                  <a:cubicBezTo>
                    <a:pt x="404" y="1323"/>
                    <a:pt x="404" y="1323"/>
                    <a:pt x="404" y="1323"/>
                  </a:cubicBezTo>
                  <a:cubicBezTo>
                    <a:pt x="404" y="1330"/>
                    <a:pt x="404" y="1330"/>
                    <a:pt x="404" y="1330"/>
                  </a:cubicBezTo>
                  <a:cubicBezTo>
                    <a:pt x="411" y="1330"/>
                    <a:pt x="411" y="1330"/>
                    <a:pt x="411" y="1330"/>
                  </a:cubicBezTo>
                  <a:cubicBezTo>
                    <a:pt x="411" y="1323"/>
                    <a:pt x="411" y="1323"/>
                    <a:pt x="411" y="1323"/>
                  </a:cubicBezTo>
                  <a:moveTo>
                    <a:pt x="426" y="1323"/>
                  </a:moveTo>
                  <a:cubicBezTo>
                    <a:pt x="419" y="1323"/>
                    <a:pt x="419" y="1323"/>
                    <a:pt x="419" y="1323"/>
                  </a:cubicBezTo>
                  <a:cubicBezTo>
                    <a:pt x="419" y="1330"/>
                    <a:pt x="419" y="1330"/>
                    <a:pt x="419" y="1330"/>
                  </a:cubicBezTo>
                  <a:cubicBezTo>
                    <a:pt x="426" y="1330"/>
                    <a:pt x="426" y="1330"/>
                    <a:pt x="426" y="1330"/>
                  </a:cubicBezTo>
                  <a:cubicBezTo>
                    <a:pt x="426" y="1323"/>
                    <a:pt x="426" y="1323"/>
                    <a:pt x="426" y="1323"/>
                  </a:cubicBezTo>
                  <a:moveTo>
                    <a:pt x="440" y="1323"/>
                  </a:moveTo>
                  <a:cubicBezTo>
                    <a:pt x="433" y="1323"/>
                    <a:pt x="433" y="1323"/>
                    <a:pt x="433" y="1323"/>
                  </a:cubicBezTo>
                  <a:cubicBezTo>
                    <a:pt x="433" y="1330"/>
                    <a:pt x="433" y="1330"/>
                    <a:pt x="433" y="1330"/>
                  </a:cubicBezTo>
                  <a:cubicBezTo>
                    <a:pt x="440" y="1330"/>
                    <a:pt x="440" y="1330"/>
                    <a:pt x="440" y="1330"/>
                  </a:cubicBezTo>
                  <a:cubicBezTo>
                    <a:pt x="440" y="1323"/>
                    <a:pt x="440" y="1323"/>
                    <a:pt x="440" y="1323"/>
                  </a:cubicBezTo>
                  <a:moveTo>
                    <a:pt x="455" y="1323"/>
                  </a:moveTo>
                  <a:cubicBezTo>
                    <a:pt x="448" y="1323"/>
                    <a:pt x="448" y="1323"/>
                    <a:pt x="448" y="1323"/>
                  </a:cubicBezTo>
                  <a:cubicBezTo>
                    <a:pt x="448" y="1330"/>
                    <a:pt x="448" y="1330"/>
                    <a:pt x="448" y="1330"/>
                  </a:cubicBezTo>
                  <a:cubicBezTo>
                    <a:pt x="455" y="1330"/>
                    <a:pt x="455" y="1330"/>
                    <a:pt x="455" y="1330"/>
                  </a:cubicBezTo>
                  <a:cubicBezTo>
                    <a:pt x="455" y="1323"/>
                    <a:pt x="455" y="1323"/>
                    <a:pt x="455" y="1323"/>
                  </a:cubicBezTo>
                  <a:moveTo>
                    <a:pt x="470" y="1323"/>
                  </a:moveTo>
                  <a:cubicBezTo>
                    <a:pt x="463" y="1323"/>
                    <a:pt x="463" y="1323"/>
                    <a:pt x="463" y="1323"/>
                  </a:cubicBezTo>
                  <a:cubicBezTo>
                    <a:pt x="463" y="1330"/>
                    <a:pt x="463" y="1330"/>
                    <a:pt x="463" y="1330"/>
                  </a:cubicBezTo>
                  <a:cubicBezTo>
                    <a:pt x="470" y="1330"/>
                    <a:pt x="470" y="1330"/>
                    <a:pt x="470" y="1330"/>
                  </a:cubicBezTo>
                  <a:cubicBezTo>
                    <a:pt x="470" y="1323"/>
                    <a:pt x="470" y="1323"/>
                    <a:pt x="470" y="1323"/>
                  </a:cubicBezTo>
                  <a:moveTo>
                    <a:pt x="485" y="1323"/>
                  </a:moveTo>
                  <a:cubicBezTo>
                    <a:pt x="478" y="1323"/>
                    <a:pt x="478" y="1323"/>
                    <a:pt x="478" y="1323"/>
                  </a:cubicBezTo>
                  <a:cubicBezTo>
                    <a:pt x="478" y="1330"/>
                    <a:pt x="478" y="1330"/>
                    <a:pt x="478" y="1330"/>
                  </a:cubicBezTo>
                  <a:cubicBezTo>
                    <a:pt x="485" y="1330"/>
                    <a:pt x="485" y="1330"/>
                    <a:pt x="485" y="1330"/>
                  </a:cubicBezTo>
                  <a:cubicBezTo>
                    <a:pt x="485" y="1323"/>
                    <a:pt x="485" y="1323"/>
                    <a:pt x="485" y="1323"/>
                  </a:cubicBezTo>
                  <a:moveTo>
                    <a:pt x="499" y="1323"/>
                  </a:moveTo>
                  <a:cubicBezTo>
                    <a:pt x="492" y="1323"/>
                    <a:pt x="492" y="1323"/>
                    <a:pt x="492" y="1323"/>
                  </a:cubicBezTo>
                  <a:cubicBezTo>
                    <a:pt x="492" y="1330"/>
                    <a:pt x="492" y="1330"/>
                    <a:pt x="492" y="1330"/>
                  </a:cubicBezTo>
                  <a:cubicBezTo>
                    <a:pt x="499" y="1330"/>
                    <a:pt x="499" y="1330"/>
                    <a:pt x="499" y="1330"/>
                  </a:cubicBezTo>
                  <a:cubicBezTo>
                    <a:pt x="499" y="1323"/>
                    <a:pt x="499" y="1323"/>
                    <a:pt x="499" y="1323"/>
                  </a:cubicBezTo>
                  <a:moveTo>
                    <a:pt x="514" y="1323"/>
                  </a:moveTo>
                  <a:cubicBezTo>
                    <a:pt x="507" y="1323"/>
                    <a:pt x="507" y="1323"/>
                    <a:pt x="507" y="1323"/>
                  </a:cubicBezTo>
                  <a:cubicBezTo>
                    <a:pt x="507" y="1330"/>
                    <a:pt x="507" y="1330"/>
                    <a:pt x="507" y="1330"/>
                  </a:cubicBezTo>
                  <a:cubicBezTo>
                    <a:pt x="514" y="1330"/>
                    <a:pt x="514" y="1330"/>
                    <a:pt x="514" y="1330"/>
                  </a:cubicBezTo>
                  <a:cubicBezTo>
                    <a:pt x="514" y="1323"/>
                    <a:pt x="514" y="1323"/>
                    <a:pt x="514" y="1323"/>
                  </a:cubicBezTo>
                  <a:moveTo>
                    <a:pt x="529" y="1323"/>
                  </a:moveTo>
                  <a:cubicBezTo>
                    <a:pt x="522" y="1323"/>
                    <a:pt x="522" y="1323"/>
                    <a:pt x="522" y="1323"/>
                  </a:cubicBezTo>
                  <a:cubicBezTo>
                    <a:pt x="522" y="1330"/>
                    <a:pt x="522" y="1330"/>
                    <a:pt x="522" y="1330"/>
                  </a:cubicBezTo>
                  <a:cubicBezTo>
                    <a:pt x="529" y="1330"/>
                    <a:pt x="529" y="1330"/>
                    <a:pt x="529" y="1330"/>
                  </a:cubicBezTo>
                  <a:cubicBezTo>
                    <a:pt x="529" y="1323"/>
                    <a:pt x="529" y="1323"/>
                    <a:pt x="529" y="1323"/>
                  </a:cubicBezTo>
                  <a:moveTo>
                    <a:pt x="219" y="1308"/>
                  </a:moveTo>
                  <a:cubicBezTo>
                    <a:pt x="212" y="1308"/>
                    <a:pt x="212" y="1308"/>
                    <a:pt x="212" y="1308"/>
                  </a:cubicBezTo>
                  <a:cubicBezTo>
                    <a:pt x="212" y="1315"/>
                    <a:pt x="212" y="1315"/>
                    <a:pt x="212" y="1315"/>
                  </a:cubicBezTo>
                  <a:cubicBezTo>
                    <a:pt x="219" y="1315"/>
                    <a:pt x="219" y="1315"/>
                    <a:pt x="219" y="1315"/>
                  </a:cubicBezTo>
                  <a:cubicBezTo>
                    <a:pt x="219" y="1308"/>
                    <a:pt x="219" y="1308"/>
                    <a:pt x="219" y="1308"/>
                  </a:cubicBezTo>
                  <a:moveTo>
                    <a:pt x="234" y="1308"/>
                  </a:moveTo>
                  <a:cubicBezTo>
                    <a:pt x="227" y="1308"/>
                    <a:pt x="227" y="1308"/>
                    <a:pt x="227" y="1308"/>
                  </a:cubicBezTo>
                  <a:cubicBezTo>
                    <a:pt x="227" y="1315"/>
                    <a:pt x="227" y="1315"/>
                    <a:pt x="227" y="1315"/>
                  </a:cubicBezTo>
                  <a:cubicBezTo>
                    <a:pt x="234" y="1315"/>
                    <a:pt x="234" y="1315"/>
                    <a:pt x="234" y="1315"/>
                  </a:cubicBezTo>
                  <a:cubicBezTo>
                    <a:pt x="234" y="1308"/>
                    <a:pt x="234" y="1308"/>
                    <a:pt x="234" y="1308"/>
                  </a:cubicBezTo>
                  <a:moveTo>
                    <a:pt x="249" y="1308"/>
                  </a:moveTo>
                  <a:cubicBezTo>
                    <a:pt x="242" y="1308"/>
                    <a:pt x="242" y="1308"/>
                    <a:pt x="242" y="1308"/>
                  </a:cubicBezTo>
                  <a:cubicBezTo>
                    <a:pt x="242" y="1315"/>
                    <a:pt x="242" y="1315"/>
                    <a:pt x="242" y="1315"/>
                  </a:cubicBezTo>
                  <a:cubicBezTo>
                    <a:pt x="249" y="1315"/>
                    <a:pt x="249" y="1315"/>
                    <a:pt x="249" y="1315"/>
                  </a:cubicBezTo>
                  <a:cubicBezTo>
                    <a:pt x="249" y="1308"/>
                    <a:pt x="249" y="1308"/>
                    <a:pt x="249" y="1308"/>
                  </a:cubicBezTo>
                  <a:moveTo>
                    <a:pt x="263" y="1308"/>
                  </a:moveTo>
                  <a:cubicBezTo>
                    <a:pt x="256" y="1308"/>
                    <a:pt x="256" y="1308"/>
                    <a:pt x="256" y="1308"/>
                  </a:cubicBezTo>
                  <a:cubicBezTo>
                    <a:pt x="256" y="1315"/>
                    <a:pt x="256" y="1315"/>
                    <a:pt x="256" y="1315"/>
                  </a:cubicBezTo>
                  <a:cubicBezTo>
                    <a:pt x="263" y="1315"/>
                    <a:pt x="263" y="1315"/>
                    <a:pt x="263" y="1315"/>
                  </a:cubicBezTo>
                  <a:cubicBezTo>
                    <a:pt x="263" y="1308"/>
                    <a:pt x="263" y="1308"/>
                    <a:pt x="263" y="1308"/>
                  </a:cubicBezTo>
                  <a:moveTo>
                    <a:pt x="278" y="1308"/>
                  </a:moveTo>
                  <a:cubicBezTo>
                    <a:pt x="271" y="1308"/>
                    <a:pt x="271" y="1308"/>
                    <a:pt x="271" y="1308"/>
                  </a:cubicBezTo>
                  <a:cubicBezTo>
                    <a:pt x="271" y="1315"/>
                    <a:pt x="271" y="1315"/>
                    <a:pt x="271" y="1315"/>
                  </a:cubicBezTo>
                  <a:cubicBezTo>
                    <a:pt x="278" y="1315"/>
                    <a:pt x="278" y="1315"/>
                    <a:pt x="278" y="1315"/>
                  </a:cubicBezTo>
                  <a:cubicBezTo>
                    <a:pt x="278" y="1308"/>
                    <a:pt x="278" y="1308"/>
                    <a:pt x="278" y="1308"/>
                  </a:cubicBezTo>
                  <a:moveTo>
                    <a:pt x="293" y="1308"/>
                  </a:moveTo>
                  <a:cubicBezTo>
                    <a:pt x="286" y="1308"/>
                    <a:pt x="286" y="1308"/>
                    <a:pt x="286" y="1308"/>
                  </a:cubicBezTo>
                  <a:cubicBezTo>
                    <a:pt x="286" y="1315"/>
                    <a:pt x="286" y="1315"/>
                    <a:pt x="286" y="1315"/>
                  </a:cubicBezTo>
                  <a:cubicBezTo>
                    <a:pt x="293" y="1315"/>
                    <a:pt x="293" y="1315"/>
                    <a:pt x="293" y="1315"/>
                  </a:cubicBezTo>
                  <a:cubicBezTo>
                    <a:pt x="293" y="1308"/>
                    <a:pt x="293" y="1308"/>
                    <a:pt x="293" y="1308"/>
                  </a:cubicBezTo>
                  <a:moveTo>
                    <a:pt x="308" y="1308"/>
                  </a:moveTo>
                  <a:cubicBezTo>
                    <a:pt x="301" y="1308"/>
                    <a:pt x="301" y="1308"/>
                    <a:pt x="301" y="1308"/>
                  </a:cubicBezTo>
                  <a:cubicBezTo>
                    <a:pt x="301" y="1315"/>
                    <a:pt x="301" y="1315"/>
                    <a:pt x="301" y="1315"/>
                  </a:cubicBezTo>
                  <a:cubicBezTo>
                    <a:pt x="308" y="1315"/>
                    <a:pt x="308" y="1315"/>
                    <a:pt x="308" y="1315"/>
                  </a:cubicBezTo>
                  <a:cubicBezTo>
                    <a:pt x="308" y="1308"/>
                    <a:pt x="308" y="1308"/>
                    <a:pt x="308" y="1308"/>
                  </a:cubicBezTo>
                  <a:moveTo>
                    <a:pt x="322" y="1308"/>
                  </a:moveTo>
                  <a:cubicBezTo>
                    <a:pt x="315" y="1308"/>
                    <a:pt x="315" y="1308"/>
                    <a:pt x="315" y="1308"/>
                  </a:cubicBezTo>
                  <a:cubicBezTo>
                    <a:pt x="315" y="1315"/>
                    <a:pt x="315" y="1315"/>
                    <a:pt x="315" y="1315"/>
                  </a:cubicBezTo>
                  <a:cubicBezTo>
                    <a:pt x="322" y="1315"/>
                    <a:pt x="322" y="1315"/>
                    <a:pt x="322" y="1315"/>
                  </a:cubicBezTo>
                  <a:cubicBezTo>
                    <a:pt x="322" y="1308"/>
                    <a:pt x="322" y="1308"/>
                    <a:pt x="322" y="1308"/>
                  </a:cubicBezTo>
                  <a:moveTo>
                    <a:pt x="337" y="1308"/>
                  </a:moveTo>
                  <a:cubicBezTo>
                    <a:pt x="330" y="1308"/>
                    <a:pt x="330" y="1308"/>
                    <a:pt x="330" y="1308"/>
                  </a:cubicBezTo>
                  <a:cubicBezTo>
                    <a:pt x="330" y="1315"/>
                    <a:pt x="330" y="1315"/>
                    <a:pt x="330" y="1315"/>
                  </a:cubicBezTo>
                  <a:cubicBezTo>
                    <a:pt x="337" y="1315"/>
                    <a:pt x="337" y="1315"/>
                    <a:pt x="337" y="1315"/>
                  </a:cubicBezTo>
                  <a:cubicBezTo>
                    <a:pt x="337" y="1308"/>
                    <a:pt x="337" y="1308"/>
                    <a:pt x="337" y="1308"/>
                  </a:cubicBezTo>
                  <a:moveTo>
                    <a:pt x="352" y="1308"/>
                  </a:moveTo>
                  <a:cubicBezTo>
                    <a:pt x="345" y="1308"/>
                    <a:pt x="345" y="1308"/>
                    <a:pt x="345" y="1308"/>
                  </a:cubicBezTo>
                  <a:cubicBezTo>
                    <a:pt x="345" y="1315"/>
                    <a:pt x="345" y="1315"/>
                    <a:pt x="345" y="1315"/>
                  </a:cubicBezTo>
                  <a:cubicBezTo>
                    <a:pt x="352" y="1315"/>
                    <a:pt x="352" y="1315"/>
                    <a:pt x="352" y="1315"/>
                  </a:cubicBezTo>
                  <a:cubicBezTo>
                    <a:pt x="352" y="1308"/>
                    <a:pt x="352" y="1308"/>
                    <a:pt x="352" y="1308"/>
                  </a:cubicBezTo>
                  <a:moveTo>
                    <a:pt x="367" y="1308"/>
                  </a:moveTo>
                  <a:cubicBezTo>
                    <a:pt x="360" y="1308"/>
                    <a:pt x="360" y="1308"/>
                    <a:pt x="360" y="1308"/>
                  </a:cubicBezTo>
                  <a:cubicBezTo>
                    <a:pt x="360" y="1315"/>
                    <a:pt x="360" y="1315"/>
                    <a:pt x="360" y="1315"/>
                  </a:cubicBezTo>
                  <a:cubicBezTo>
                    <a:pt x="367" y="1315"/>
                    <a:pt x="367" y="1315"/>
                    <a:pt x="367" y="1315"/>
                  </a:cubicBezTo>
                  <a:cubicBezTo>
                    <a:pt x="367" y="1308"/>
                    <a:pt x="367" y="1308"/>
                    <a:pt x="367" y="1308"/>
                  </a:cubicBezTo>
                  <a:moveTo>
                    <a:pt x="381" y="1308"/>
                  </a:moveTo>
                  <a:cubicBezTo>
                    <a:pt x="374" y="1308"/>
                    <a:pt x="374" y="1308"/>
                    <a:pt x="374" y="1308"/>
                  </a:cubicBezTo>
                  <a:cubicBezTo>
                    <a:pt x="374" y="1315"/>
                    <a:pt x="374" y="1315"/>
                    <a:pt x="374" y="1315"/>
                  </a:cubicBezTo>
                  <a:cubicBezTo>
                    <a:pt x="381" y="1315"/>
                    <a:pt x="381" y="1315"/>
                    <a:pt x="381" y="1315"/>
                  </a:cubicBezTo>
                  <a:cubicBezTo>
                    <a:pt x="381" y="1308"/>
                    <a:pt x="381" y="1308"/>
                    <a:pt x="381" y="1308"/>
                  </a:cubicBezTo>
                  <a:moveTo>
                    <a:pt x="396" y="1308"/>
                  </a:moveTo>
                  <a:cubicBezTo>
                    <a:pt x="389" y="1308"/>
                    <a:pt x="389" y="1308"/>
                    <a:pt x="389" y="1308"/>
                  </a:cubicBezTo>
                  <a:cubicBezTo>
                    <a:pt x="389" y="1315"/>
                    <a:pt x="389" y="1315"/>
                    <a:pt x="389" y="1315"/>
                  </a:cubicBezTo>
                  <a:cubicBezTo>
                    <a:pt x="396" y="1315"/>
                    <a:pt x="396" y="1315"/>
                    <a:pt x="396" y="1315"/>
                  </a:cubicBezTo>
                  <a:cubicBezTo>
                    <a:pt x="396" y="1308"/>
                    <a:pt x="396" y="1308"/>
                    <a:pt x="396" y="1308"/>
                  </a:cubicBezTo>
                  <a:moveTo>
                    <a:pt x="411" y="1308"/>
                  </a:moveTo>
                  <a:cubicBezTo>
                    <a:pt x="404" y="1308"/>
                    <a:pt x="404" y="1308"/>
                    <a:pt x="404" y="1308"/>
                  </a:cubicBezTo>
                  <a:cubicBezTo>
                    <a:pt x="404" y="1315"/>
                    <a:pt x="404" y="1315"/>
                    <a:pt x="404" y="1315"/>
                  </a:cubicBezTo>
                  <a:cubicBezTo>
                    <a:pt x="411" y="1315"/>
                    <a:pt x="411" y="1315"/>
                    <a:pt x="411" y="1315"/>
                  </a:cubicBezTo>
                  <a:cubicBezTo>
                    <a:pt x="411" y="1308"/>
                    <a:pt x="411" y="1308"/>
                    <a:pt x="411" y="1308"/>
                  </a:cubicBezTo>
                  <a:moveTo>
                    <a:pt x="426" y="1308"/>
                  </a:moveTo>
                  <a:cubicBezTo>
                    <a:pt x="419" y="1308"/>
                    <a:pt x="419" y="1308"/>
                    <a:pt x="419" y="1308"/>
                  </a:cubicBezTo>
                  <a:cubicBezTo>
                    <a:pt x="419" y="1315"/>
                    <a:pt x="419" y="1315"/>
                    <a:pt x="419" y="1315"/>
                  </a:cubicBezTo>
                  <a:cubicBezTo>
                    <a:pt x="426" y="1315"/>
                    <a:pt x="426" y="1315"/>
                    <a:pt x="426" y="1315"/>
                  </a:cubicBezTo>
                  <a:cubicBezTo>
                    <a:pt x="426" y="1308"/>
                    <a:pt x="426" y="1308"/>
                    <a:pt x="426" y="1308"/>
                  </a:cubicBezTo>
                  <a:moveTo>
                    <a:pt x="440" y="1308"/>
                  </a:moveTo>
                  <a:cubicBezTo>
                    <a:pt x="433" y="1308"/>
                    <a:pt x="433" y="1308"/>
                    <a:pt x="433" y="1308"/>
                  </a:cubicBezTo>
                  <a:cubicBezTo>
                    <a:pt x="433" y="1315"/>
                    <a:pt x="433" y="1315"/>
                    <a:pt x="433" y="1315"/>
                  </a:cubicBezTo>
                  <a:cubicBezTo>
                    <a:pt x="440" y="1315"/>
                    <a:pt x="440" y="1315"/>
                    <a:pt x="440" y="1315"/>
                  </a:cubicBezTo>
                  <a:cubicBezTo>
                    <a:pt x="440" y="1308"/>
                    <a:pt x="440" y="1308"/>
                    <a:pt x="440" y="1308"/>
                  </a:cubicBezTo>
                  <a:moveTo>
                    <a:pt x="455" y="1308"/>
                  </a:moveTo>
                  <a:cubicBezTo>
                    <a:pt x="448" y="1308"/>
                    <a:pt x="448" y="1308"/>
                    <a:pt x="448" y="1308"/>
                  </a:cubicBezTo>
                  <a:cubicBezTo>
                    <a:pt x="448" y="1315"/>
                    <a:pt x="448" y="1315"/>
                    <a:pt x="448" y="1315"/>
                  </a:cubicBezTo>
                  <a:cubicBezTo>
                    <a:pt x="455" y="1315"/>
                    <a:pt x="455" y="1315"/>
                    <a:pt x="455" y="1315"/>
                  </a:cubicBezTo>
                  <a:cubicBezTo>
                    <a:pt x="455" y="1308"/>
                    <a:pt x="455" y="1308"/>
                    <a:pt x="455" y="1308"/>
                  </a:cubicBezTo>
                  <a:moveTo>
                    <a:pt x="470" y="1308"/>
                  </a:moveTo>
                  <a:cubicBezTo>
                    <a:pt x="463" y="1308"/>
                    <a:pt x="463" y="1308"/>
                    <a:pt x="463" y="1308"/>
                  </a:cubicBezTo>
                  <a:cubicBezTo>
                    <a:pt x="463" y="1315"/>
                    <a:pt x="463" y="1315"/>
                    <a:pt x="463" y="1315"/>
                  </a:cubicBezTo>
                  <a:cubicBezTo>
                    <a:pt x="470" y="1315"/>
                    <a:pt x="470" y="1315"/>
                    <a:pt x="470" y="1315"/>
                  </a:cubicBezTo>
                  <a:cubicBezTo>
                    <a:pt x="470" y="1308"/>
                    <a:pt x="470" y="1308"/>
                    <a:pt x="470" y="1308"/>
                  </a:cubicBezTo>
                  <a:moveTo>
                    <a:pt x="485" y="1308"/>
                  </a:moveTo>
                  <a:cubicBezTo>
                    <a:pt x="478" y="1308"/>
                    <a:pt x="478" y="1308"/>
                    <a:pt x="478" y="1308"/>
                  </a:cubicBezTo>
                  <a:cubicBezTo>
                    <a:pt x="478" y="1315"/>
                    <a:pt x="478" y="1315"/>
                    <a:pt x="478" y="1315"/>
                  </a:cubicBezTo>
                  <a:cubicBezTo>
                    <a:pt x="485" y="1315"/>
                    <a:pt x="485" y="1315"/>
                    <a:pt x="485" y="1315"/>
                  </a:cubicBezTo>
                  <a:cubicBezTo>
                    <a:pt x="485" y="1308"/>
                    <a:pt x="485" y="1308"/>
                    <a:pt x="485" y="1308"/>
                  </a:cubicBezTo>
                  <a:moveTo>
                    <a:pt x="499" y="1308"/>
                  </a:moveTo>
                  <a:cubicBezTo>
                    <a:pt x="492" y="1308"/>
                    <a:pt x="492" y="1308"/>
                    <a:pt x="492" y="1308"/>
                  </a:cubicBezTo>
                  <a:cubicBezTo>
                    <a:pt x="492" y="1315"/>
                    <a:pt x="492" y="1315"/>
                    <a:pt x="492" y="1315"/>
                  </a:cubicBezTo>
                  <a:cubicBezTo>
                    <a:pt x="499" y="1315"/>
                    <a:pt x="499" y="1315"/>
                    <a:pt x="499" y="1315"/>
                  </a:cubicBezTo>
                  <a:cubicBezTo>
                    <a:pt x="499" y="1308"/>
                    <a:pt x="499" y="1308"/>
                    <a:pt x="499" y="1308"/>
                  </a:cubicBezTo>
                  <a:moveTo>
                    <a:pt x="514" y="1308"/>
                  </a:moveTo>
                  <a:cubicBezTo>
                    <a:pt x="507" y="1308"/>
                    <a:pt x="507" y="1308"/>
                    <a:pt x="507" y="1308"/>
                  </a:cubicBezTo>
                  <a:cubicBezTo>
                    <a:pt x="507" y="1315"/>
                    <a:pt x="507" y="1315"/>
                    <a:pt x="507" y="1315"/>
                  </a:cubicBezTo>
                  <a:cubicBezTo>
                    <a:pt x="514" y="1315"/>
                    <a:pt x="514" y="1315"/>
                    <a:pt x="514" y="1315"/>
                  </a:cubicBezTo>
                  <a:cubicBezTo>
                    <a:pt x="514" y="1308"/>
                    <a:pt x="514" y="1308"/>
                    <a:pt x="514" y="1308"/>
                  </a:cubicBezTo>
                  <a:moveTo>
                    <a:pt x="529" y="1308"/>
                  </a:moveTo>
                  <a:cubicBezTo>
                    <a:pt x="522" y="1308"/>
                    <a:pt x="522" y="1308"/>
                    <a:pt x="522" y="1308"/>
                  </a:cubicBezTo>
                  <a:cubicBezTo>
                    <a:pt x="522" y="1315"/>
                    <a:pt x="522" y="1315"/>
                    <a:pt x="522" y="1315"/>
                  </a:cubicBezTo>
                  <a:cubicBezTo>
                    <a:pt x="529" y="1315"/>
                    <a:pt x="529" y="1315"/>
                    <a:pt x="529" y="1315"/>
                  </a:cubicBezTo>
                  <a:cubicBezTo>
                    <a:pt x="529" y="1308"/>
                    <a:pt x="529" y="1308"/>
                    <a:pt x="529" y="1308"/>
                  </a:cubicBezTo>
                  <a:moveTo>
                    <a:pt x="204" y="1294"/>
                  </a:moveTo>
                  <a:cubicBezTo>
                    <a:pt x="197" y="1294"/>
                    <a:pt x="197" y="1294"/>
                    <a:pt x="197" y="1294"/>
                  </a:cubicBezTo>
                  <a:cubicBezTo>
                    <a:pt x="197" y="1301"/>
                    <a:pt x="197" y="1301"/>
                    <a:pt x="197" y="1301"/>
                  </a:cubicBezTo>
                  <a:cubicBezTo>
                    <a:pt x="204" y="1301"/>
                    <a:pt x="204" y="1301"/>
                    <a:pt x="204" y="1301"/>
                  </a:cubicBezTo>
                  <a:cubicBezTo>
                    <a:pt x="204" y="1294"/>
                    <a:pt x="204" y="1294"/>
                    <a:pt x="204" y="1294"/>
                  </a:cubicBezTo>
                  <a:moveTo>
                    <a:pt x="219" y="1294"/>
                  </a:moveTo>
                  <a:cubicBezTo>
                    <a:pt x="212" y="1294"/>
                    <a:pt x="212" y="1294"/>
                    <a:pt x="212" y="1294"/>
                  </a:cubicBezTo>
                  <a:cubicBezTo>
                    <a:pt x="212" y="1301"/>
                    <a:pt x="212" y="1301"/>
                    <a:pt x="212" y="1301"/>
                  </a:cubicBezTo>
                  <a:cubicBezTo>
                    <a:pt x="219" y="1301"/>
                    <a:pt x="219" y="1301"/>
                    <a:pt x="219" y="1301"/>
                  </a:cubicBezTo>
                  <a:cubicBezTo>
                    <a:pt x="219" y="1294"/>
                    <a:pt x="219" y="1294"/>
                    <a:pt x="219" y="1294"/>
                  </a:cubicBezTo>
                  <a:moveTo>
                    <a:pt x="234" y="1294"/>
                  </a:moveTo>
                  <a:cubicBezTo>
                    <a:pt x="227" y="1294"/>
                    <a:pt x="227" y="1294"/>
                    <a:pt x="227" y="1294"/>
                  </a:cubicBezTo>
                  <a:cubicBezTo>
                    <a:pt x="227" y="1301"/>
                    <a:pt x="227" y="1301"/>
                    <a:pt x="227" y="1301"/>
                  </a:cubicBezTo>
                  <a:cubicBezTo>
                    <a:pt x="234" y="1301"/>
                    <a:pt x="234" y="1301"/>
                    <a:pt x="234" y="1301"/>
                  </a:cubicBezTo>
                  <a:cubicBezTo>
                    <a:pt x="234" y="1294"/>
                    <a:pt x="234" y="1294"/>
                    <a:pt x="234" y="1294"/>
                  </a:cubicBezTo>
                  <a:moveTo>
                    <a:pt x="249" y="1294"/>
                  </a:moveTo>
                  <a:cubicBezTo>
                    <a:pt x="242" y="1294"/>
                    <a:pt x="242" y="1294"/>
                    <a:pt x="242" y="1294"/>
                  </a:cubicBezTo>
                  <a:cubicBezTo>
                    <a:pt x="242" y="1301"/>
                    <a:pt x="242" y="1301"/>
                    <a:pt x="242" y="1301"/>
                  </a:cubicBezTo>
                  <a:cubicBezTo>
                    <a:pt x="249" y="1301"/>
                    <a:pt x="249" y="1301"/>
                    <a:pt x="249" y="1301"/>
                  </a:cubicBezTo>
                  <a:cubicBezTo>
                    <a:pt x="249" y="1294"/>
                    <a:pt x="249" y="1294"/>
                    <a:pt x="249" y="1294"/>
                  </a:cubicBezTo>
                  <a:moveTo>
                    <a:pt x="263" y="1294"/>
                  </a:moveTo>
                  <a:cubicBezTo>
                    <a:pt x="256" y="1294"/>
                    <a:pt x="256" y="1294"/>
                    <a:pt x="256" y="1294"/>
                  </a:cubicBezTo>
                  <a:cubicBezTo>
                    <a:pt x="256" y="1301"/>
                    <a:pt x="256" y="1301"/>
                    <a:pt x="256" y="1301"/>
                  </a:cubicBezTo>
                  <a:cubicBezTo>
                    <a:pt x="263" y="1301"/>
                    <a:pt x="263" y="1301"/>
                    <a:pt x="263" y="1301"/>
                  </a:cubicBezTo>
                  <a:cubicBezTo>
                    <a:pt x="263" y="1294"/>
                    <a:pt x="263" y="1294"/>
                    <a:pt x="263" y="1294"/>
                  </a:cubicBezTo>
                  <a:moveTo>
                    <a:pt x="278" y="1294"/>
                  </a:moveTo>
                  <a:cubicBezTo>
                    <a:pt x="271" y="1294"/>
                    <a:pt x="271" y="1294"/>
                    <a:pt x="271" y="1294"/>
                  </a:cubicBezTo>
                  <a:cubicBezTo>
                    <a:pt x="271" y="1301"/>
                    <a:pt x="271" y="1301"/>
                    <a:pt x="271" y="1301"/>
                  </a:cubicBezTo>
                  <a:cubicBezTo>
                    <a:pt x="278" y="1301"/>
                    <a:pt x="278" y="1301"/>
                    <a:pt x="278" y="1301"/>
                  </a:cubicBezTo>
                  <a:cubicBezTo>
                    <a:pt x="278" y="1294"/>
                    <a:pt x="278" y="1294"/>
                    <a:pt x="278" y="1294"/>
                  </a:cubicBezTo>
                  <a:moveTo>
                    <a:pt x="293" y="1294"/>
                  </a:moveTo>
                  <a:cubicBezTo>
                    <a:pt x="286" y="1294"/>
                    <a:pt x="286" y="1294"/>
                    <a:pt x="286" y="1294"/>
                  </a:cubicBezTo>
                  <a:cubicBezTo>
                    <a:pt x="286" y="1301"/>
                    <a:pt x="286" y="1301"/>
                    <a:pt x="286" y="1301"/>
                  </a:cubicBezTo>
                  <a:cubicBezTo>
                    <a:pt x="293" y="1301"/>
                    <a:pt x="293" y="1301"/>
                    <a:pt x="293" y="1301"/>
                  </a:cubicBezTo>
                  <a:cubicBezTo>
                    <a:pt x="293" y="1294"/>
                    <a:pt x="293" y="1294"/>
                    <a:pt x="293" y="1294"/>
                  </a:cubicBezTo>
                  <a:moveTo>
                    <a:pt x="308" y="1294"/>
                  </a:moveTo>
                  <a:cubicBezTo>
                    <a:pt x="301" y="1294"/>
                    <a:pt x="301" y="1294"/>
                    <a:pt x="301" y="1294"/>
                  </a:cubicBezTo>
                  <a:cubicBezTo>
                    <a:pt x="301" y="1301"/>
                    <a:pt x="301" y="1301"/>
                    <a:pt x="301" y="1301"/>
                  </a:cubicBezTo>
                  <a:cubicBezTo>
                    <a:pt x="308" y="1301"/>
                    <a:pt x="308" y="1301"/>
                    <a:pt x="308" y="1301"/>
                  </a:cubicBezTo>
                  <a:cubicBezTo>
                    <a:pt x="308" y="1294"/>
                    <a:pt x="308" y="1294"/>
                    <a:pt x="308" y="1294"/>
                  </a:cubicBezTo>
                  <a:moveTo>
                    <a:pt x="322" y="1294"/>
                  </a:moveTo>
                  <a:cubicBezTo>
                    <a:pt x="315" y="1294"/>
                    <a:pt x="315" y="1294"/>
                    <a:pt x="315" y="1294"/>
                  </a:cubicBezTo>
                  <a:cubicBezTo>
                    <a:pt x="315" y="1301"/>
                    <a:pt x="315" y="1301"/>
                    <a:pt x="315" y="1301"/>
                  </a:cubicBezTo>
                  <a:cubicBezTo>
                    <a:pt x="322" y="1301"/>
                    <a:pt x="322" y="1301"/>
                    <a:pt x="322" y="1301"/>
                  </a:cubicBezTo>
                  <a:cubicBezTo>
                    <a:pt x="322" y="1294"/>
                    <a:pt x="322" y="1294"/>
                    <a:pt x="322" y="1294"/>
                  </a:cubicBezTo>
                  <a:moveTo>
                    <a:pt x="337" y="1294"/>
                  </a:moveTo>
                  <a:cubicBezTo>
                    <a:pt x="330" y="1294"/>
                    <a:pt x="330" y="1294"/>
                    <a:pt x="330" y="1294"/>
                  </a:cubicBezTo>
                  <a:cubicBezTo>
                    <a:pt x="330" y="1301"/>
                    <a:pt x="330" y="1301"/>
                    <a:pt x="330" y="1301"/>
                  </a:cubicBezTo>
                  <a:cubicBezTo>
                    <a:pt x="337" y="1301"/>
                    <a:pt x="337" y="1301"/>
                    <a:pt x="337" y="1301"/>
                  </a:cubicBezTo>
                  <a:cubicBezTo>
                    <a:pt x="337" y="1294"/>
                    <a:pt x="337" y="1294"/>
                    <a:pt x="337" y="1294"/>
                  </a:cubicBezTo>
                  <a:moveTo>
                    <a:pt x="352" y="1294"/>
                  </a:moveTo>
                  <a:cubicBezTo>
                    <a:pt x="345" y="1294"/>
                    <a:pt x="345" y="1294"/>
                    <a:pt x="345" y="1294"/>
                  </a:cubicBezTo>
                  <a:cubicBezTo>
                    <a:pt x="345" y="1301"/>
                    <a:pt x="345" y="1301"/>
                    <a:pt x="345" y="1301"/>
                  </a:cubicBezTo>
                  <a:cubicBezTo>
                    <a:pt x="352" y="1301"/>
                    <a:pt x="352" y="1301"/>
                    <a:pt x="352" y="1301"/>
                  </a:cubicBezTo>
                  <a:cubicBezTo>
                    <a:pt x="352" y="1294"/>
                    <a:pt x="352" y="1294"/>
                    <a:pt x="352" y="1294"/>
                  </a:cubicBezTo>
                  <a:moveTo>
                    <a:pt x="367" y="1294"/>
                  </a:moveTo>
                  <a:cubicBezTo>
                    <a:pt x="360" y="1294"/>
                    <a:pt x="360" y="1294"/>
                    <a:pt x="360" y="1294"/>
                  </a:cubicBezTo>
                  <a:cubicBezTo>
                    <a:pt x="360" y="1301"/>
                    <a:pt x="360" y="1301"/>
                    <a:pt x="360" y="1301"/>
                  </a:cubicBezTo>
                  <a:cubicBezTo>
                    <a:pt x="367" y="1301"/>
                    <a:pt x="367" y="1301"/>
                    <a:pt x="367" y="1301"/>
                  </a:cubicBezTo>
                  <a:cubicBezTo>
                    <a:pt x="367" y="1294"/>
                    <a:pt x="367" y="1294"/>
                    <a:pt x="367" y="1294"/>
                  </a:cubicBezTo>
                  <a:moveTo>
                    <a:pt x="381" y="1294"/>
                  </a:moveTo>
                  <a:cubicBezTo>
                    <a:pt x="374" y="1294"/>
                    <a:pt x="374" y="1294"/>
                    <a:pt x="374" y="1294"/>
                  </a:cubicBezTo>
                  <a:cubicBezTo>
                    <a:pt x="374" y="1301"/>
                    <a:pt x="374" y="1301"/>
                    <a:pt x="374" y="1301"/>
                  </a:cubicBezTo>
                  <a:cubicBezTo>
                    <a:pt x="381" y="1301"/>
                    <a:pt x="381" y="1301"/>
                    <a:pt x="381" y="1301"/>
                  </a:cubicBezTo>
                  <a:cubicBezTo>
                    <a:pt x="381" y="1294"/>
                    <a:pt x="381" y="1294"/>
                    <a:pt x="381" y="1294"/>
                  </a:cubicBezTo>
                  <a:moveTo>
                    <a:pt x="396" y="1294"/>
                  </a:moveTo>
                  <a:cubicBezTo>
                    <a:pt x="389" y="1294"/>
                    <a:pt x="389" y="1294"/>
                    <a:pt x="389" y="1294"/>
                  </a:cubicBezTo>
                  <a:cubicBezTo>
                    <a:pt x="389" y="1301"/>
                    <a:pt x="389" y="1301"/>
                    <a:pt x="389" y="1301"/>
                  </a:cubicBezTo>
                  <a:cubicBezTo>
                    <a:pt x="396" y="1301"/>
                    <a:pt x="396" y="1301"/>
                    <a:pt x="396" y="1301"/>
                  </a:cubicBezTo>
                  <a:cubicBezTo>
                    <a:pt x="396" y="1294"/>
                    <a:pt x="396" y="1294"/>
                    <a:pt x="396" y="1294"/>
                  </a:cubicBezTo>
                  <a:moveTo>
                    <a:pt x="411" y="1294"/>
                  </a:moveTo>
                  <a:cubicBezTo>
                    <a:pt x="404" y="1294"/>
                    <a:pt x="404" y="1294"/>
                    <a:pt x="404" y="1294"/>
                  </a:cubicBezTo>
                  <a:cubicBezTo>
                    <a:pt x="404" y="1301"/>
                    <a:pt x="404" y="1301"/>
                    <a:pt x="404" y="1301"/>
                  </a:cubicBezTo>
                  <a:cubicBezTo>
                    <a:pt x="411" y="1301"/>
                    <a:pt x="411" y="1301"/>
                    <a:pt x="411" y="1301"/>
                  </a:cubicBezTo>
                  <a:cubicBezTo>
                    <a:pt x="411" y="1294"/>
                    <a:pt x="411" y="1294"/>
                    <a:pt x="411" y="1294"/>
                  </a:cubicBezTo>
                  <a:moveTo>
                    <a:pt x="426" y="1294"/>
                  </a:moveTo>
                  <a:cubicBezTo>
                    <a:pt x="419" y="1294"/>
                    <a:pt x="419" y="1294"/>
                    <a:pt x="419" y="1294"/>
                  </a:cubicBezTo>
                  <a:cubicBezTo>
                    <a:pt x="419" y="1301"/>
                    <a:pt x="419" y="1301"/>
                    <a:pt x="419" y="1301"/>
                  </a:cubicBezTo>
                  <a:cubicBezTo>
                    <a:pt x="426" y="1301"/>
                    <a:pt x="426" y="1301"/>
                    <a:pt x="426" y="1301"/>
                  </a:cubicBezTo>
                  <a:cubicBezTo>
                    <a:pt x="426" y="1294"/>
                    <a:pt x="426" y="1294"/>
                    <a:pt x="426" y="1294"/>
                  </a:cubicBezTo>
                  <a:moveTo>
                    <a:pt x="440" y="1294"/>
                  </a:moveTo>
                  <a:cubicBezTo>
                    <a:pt x="433" y="1294"/>
                    <a:pt x="433" y="1294"/>
                    <a:pt x="433" y="1294"/>
                  </a:cubicBezTo>
                  <a:cubicBezTo>
                    <a:pt x="433" y="1301"/>
                    <a:pt x="433" y="1301"/>
                    <a:pt x="433" y="1301"/>
                  </a:cubicBezTo>
                  <a:cubicBezTo>
                    <a:pt x="440" y="1301"/>
                    <a:pt x="440" y="1301"/>
                    <a:pt x="440" y="1301"/>
                  </a:cubicBezTo>
                  <a:cubicBezTo>
                    <a:pt x="440" y="1294"/>
                    <a:pt x="440" y="1294"/>
                    <a:pt x="440" y="1294"/>
                  </a:cubicBezTo>
                  <a:moveTo>
                    <a:pt x="455" y="1294"/>
                  </a:moveTo>
                  <a:cubicBezTo>
                    <a:pt x="448" y="1294"/>
                    <a:pt x="448" y="1294"/>
                    <a:pt x="448" y="1294"/>
                  </a:cubicBezTo>
                  <a:cubicBezTo>
                    <a:pt x="448" y="1301"/>
                    <a:pt x="448" y="1301"/>
                    <a:pt x="448" y="1301"/>
                  </a:cubicBezTo>
                  <a:cubicBezTo>
                    <a:pt x="455" y="1301"/>
                    <a:pt x="455" y="1301"/>
                    <a:pt x="455" y="1301"/>
                  </a:cubicBezTo>
                  <a:cubicBezTo>
                    <a:pt x="455" y="1294"/>
                    <a:pt x="455" y="1294"/>
                    <a:pt x="455" y="1294"/>
                  </a:cubicBezTo>
                  <a:moveTo>
                    <a:pt x="470" y="1294"/>
                  </a:moveTo>
                  <a:cubicBezTo>
                    <a:pt x="463" y="1294"/>
                    <a:pt x="463" y="1294"/>
                    <a:pt x="463" y="1294"/>
                  </a:cubicBezTo>
                  <a:cubicBezTo>
                    <a:pt x="463" y="1301"/>
                    <a:pt x="463" y="1301"/>
                    <a:pt x="463" y="1301"/>
                  </a:cubicBezTo>
                  <a:cubicBezTo>
                    <a:pt x="470" y="1301"/>
                    <a:pt x="470" y="1301"/>
                    <a:pt x="470" y="1301"/>
                  </a:cubicBezTo>
                  <a:cubicBezTo>
                    <a:pt x="470" y="1294"/>
                    <a:pt x="470" y="1294"/>
                    <a:pt x="470" y="1294"/>
                  </a:cubicBezTo>
                  <a:moveTo>
                    <a:pt x="485" y="1294"/>
                  </a:moveTo>
                  <a:cubicBezTo>
                    <a:pt x="478" y="1294"/>
                    <a:pt x="478" y="1294"/>
                    <a:pt x="478" y="1294"/>
                  </a:cubicBezTo>
                  <a:cubicBezTo>
                    <a:pt x="478" y="1301"/>
                    <a:pt x="478" y="1301"/>
                    <a:pt x="478" y="1301"/>
                  </a:cubicBezTo>
                  <a:cubicBezTo>
                    <a:pt x="485" y="1301"/>
                    <a:pt x="485" y="1301"/>
                    <a:pt x="485" y="1301"/>
                  </a:cubicBezTo>
                  <a:cubicBezTo>
                    <a:pt x="485" y="1294"/>
                    <a:pt x="485" y="1294"/>
                    <a:pt x="485" y="1294"/>
                  </a:cubicBezTo>
                  <a:moveTo>
                    <a:pt x="499" y="1294"/>
                  </a:moveTo>
                  <a:cubicBezTo>
                    <a:pt x="492" y="1294"/>
                    <a:pt x="492" y="1294"/>
                    <a:pt x="492" y="1294"/>
                  </a:cubicBezTo>
                  <a:cubicBezTo>
                    <a:pt x="492" y="1301"/>
                    <a:pt x="492" y="1301"/>
                    <a:pt x="492" y="1301"/>
                  </a:cubicBezTo>
                  <a:cubicBezTo>
                    <a:pt x="499" y="1301"/>
                    <a:pt x="499" y="1301"/>
                    <a:pt x="499" y="1301"/>
                  </a:cubicBezTo>
                  <a:cubicBezTo>
                    <a:pt x="499" y="1294"/>
                    <a:pt x="499" y="1294"/>
                    <a:pt x="499" y="1294"/>
                  </a:cubicBezTo>
                  <a:moveTo>
                    <a:pt x="514" y="1294"/>
                  </a:moveTo>
                  <a:cubicBezTo>
                    <a:pt x="507" y="1294"/>
                    <a:pt x="507" y="1294"/>
                    <a:pt x="507" y="1294"/>
                  </a:cubicBezTo>
                  <a:cubicBezTo>
                    <a:pt x="507" y="1301"/>
                    <a:pt x="507" y="1301"/>
                    <a:pt x="507" y="1301"/>
                  </a:cubicBezTo>
                  <a:cubicBezTo>
                    <a:pt x="514" y="1301"/>
                    <a:pt x="514" y="1301"/>
                    <a:pt x="514" y="1301"/>
                  </a:cubicBezTo>
                  <a:cubicBezTo>
                    <a:pt x="514" y="1294"/>
                    <a:pt x="514" y="1294"/>
                    <a:pt x="514" y="1294"/>
                  </a:cubicBezTo>
                  <a:moveTo>
                    <a:pt x="529" y="1294"/>
                  </a:moveTo>
                  <a:cubicBezTo>
                    <a:pt x="522" y="1294"/>
                    <a:pt x="522" y="1294"/>
                    <a:pt x="522" y="1294"/>
                  </a:cubicBezTo>
                  <a:cubicBezTo>
                    <a:pt x="522" y="1301"/>
                    <a:pt x="522" y="1301"/>
                    <a:pt x="522" y="1301"/>
                  </a:cubicBezTo>
                  <a:cubicBezTo>
                    <a:pt x="529" y="1301"/>
                    <a:pt x="529" y="1301"/>
                    <a:pt x="529" y="1301"/>
                  </a:cubicBezTo>
                  <a:cubicBezTo>
                    <a:pt x="529" y="1294"/>
                    <a:pt x="529" y="1294"/>
                    <a:pt x="529" y="1294"/>
                  </a:cubicBezTo>
                  <a:moveTo>
                    <a:pt x="544" y="1294"/>
                  </a:moveTo>
                  <a:cubicBezTo>
                    <a:pt x="537" y="1294"/>
                    <a:pt x="537" y="1294"/>
                    <a:pt x="537" y="1294"/>
                  </a:cubicBezTo>
                  <a:cubicBezTo>
                    <a:pt x="537" y="1301"/>
                    <a:pt x="537" y="1301"/>
                    <a:pt x="537" y="1301"/>
                  </a:cubicBezTo>
                  <a:cubicBezTo>
                    <a:pt x="544" y="1301"/>
                    <a:pt x="544" y="1301"/>
                    <a:pt x="544" y="1301"/>
                  </a:cubicBezTo>
                  <a:cubicBezTo>
                    <a:pt x="544" y="1294"/>
                    <a:pt x="544" y="1294"/>
                    <a:pt x="544" y="1294"/>
                  </a:cubicBezTo>
                  <a:moveTo>
                    <a:pt x="204" y="1279"/>
                  </a:moveTo>
                  <a:cubicBezTo>
                    <a:pt x="197" y="1279"/>
                    <a:pt x="197" y="1279"/>
                    <a:pt x="197" y="1279"/>
                  </a:cubicBezTo>
                  <a:cubicBezTo>
                    <a:pt x="197" y="1286"/>
                    <a:pt x="197" y="1286"/>
                    <a:pt x="197" y="1286"/>
                  </a:cubicBezTo>
                  <a:cubicBezTo>
                    <a:pt x="204" y="1286"/>
                    <a:pt x="204" y="1286"/>
                    <a:pt x="204" y="1286"/>
                  </a:cubicBezTo>
                  <a:cubicBezTo>
                    <a:pt x="204" y="1279"/>
                    <a:pt x="204" y="1279"/>
                    <a:pt x="204" y="1279"/>
                  </a:cubicBezTo>
                  <a:moveTo>
                    <a:pt x="219" y="1279"/>
                  </a:moveTo>
                  <a:cubicBezTo>
                    <a:pt x="212" y="1279"/>
                    <a:pt x="212" y="1279"/>
                    <a:pt x="212" y="1279"/>
                  </a:cubicBezTo>
                  <a:cubicBezTo>
                    <a:pt x="212" y="1286"/>
                    <a:pt x="212" y="1286"/>
                    <a:pt x="212" y="1286"/>
                  </a:cubicBezTo>
                  <a:cubicBezTo>
                    <a:pt x="219" y="1286"/>
                    <a:pt x="219" y="1286"/>
                    <a:pt x="219" y="1286"/>
                  </a:cubicBezTo>
                  <a:cubicBezTo>
                    <a:pt x="219" y="1279"/>
                    <a:pt x="219" y="1279"/>
                    <a:pt x="219" y="1279"/>
                  </a:cubicBezTo>
                  <a:moveTo>
                    <a:pt x="234" y="1279"/>
                  </a:moveTo>
                  <a:cubicBezTo>
                    <a:pt x="227" y="1279"/>
                    <a:pt x="227" y="1279"/>
                    <a:pt x="227" y="1279"/>
                  </a:cubicBezTo>
                  <a:cubicBezTo>
                    <a:pt x="227" y="1286"/>
                    <a:pt x="227" y="1286"/>
                    <a:pt x="227" y="1286"/>
                  </a:cubicBezTo>
                  <a:cubicBezTo>
                    <a:pt x="234" y="1286"/>
                    <a:pt x="234" y="1286"/>
                    <a:pt x="234" y="1286"/>
                  </a:cubicBezTo>
                  <a:cubicBezTo>
                    <a:pt x="234" y="1279"/>
                    <a:pt x="234" y="1279"/>
                    <a:pt x="234" y="1279"/>
                  </a:cubicBezTo>
                  <a:moveTo>
                    <a:pt x="249" y="1279"/>
                  </a:moveTo>
                  <a:cubicBezTo>
                    <a:pt x="242" y="1279"/>
                    <a:pt x="242" y="1279"/>
                    <a:pt x="242" y="1279"/>
                  </a:cubicBezTo>
                  <a:cubicBezTo>
                    <a:pt x="242" y="1286"/>
                    <a:pt x="242" y="1286"/>
                    <a:pt x="242" y="1286"/>
                  </a:cubicBezTo>
                  <a:cubicBezTo>
                    <a:pt x="249" y="1286"/>
                    <a:pt x="249" y="1286"/>
                    <a:pt x="249" y="1286"/>
                  </a:cubicBezTo>
                  <a:cubicBezTo>
                    <a:pt x="249" y="1279"/>
                    <a:pt x="249" y="1279"/>
                    <a:pt x="249" y="1279"/>
                  </a:cubicBezTo>
                  <a:moveTo>
                    <a:pt x="263" y="1279"/>
                  </a:moveTo>
                  <a:cubicBezTo>
                    <a:pt x="256" y="1279"/>
                    <a:pt x="256" y="1279"/>
                    <a:pt x="256" y="1279"/>
                  </a:cubicBezTo>
                  <a:cubicBezTo>
                    <a:pt x="256" y="1286"/>
                    <a:pt x="256" y="1286"/>
                    <a:pt x="256" y="1286"/>
                  </a:cubicBezTo>
                  <a:cubicBezTo>
                    <a:pt x="263" y="1286"/>
                    <a:pt x="263" y="1286"/>
                    <a:pt x="263" y="1286"/>
                  </a:cubicBezTo>
                  <a:cubicBezTo>
                    <a:pt x="263" y="1279"/>
                    <a:pt x="263" y="1279"/>
                    <a:pt x="263" y="1279"/>
                  </a:cubicBezTo>
                  <a:moveTo>
                    <a:pt x="278" y="1279"/>
                  </a:moveTo>
                  <a:cubicBezTo>
                    <a:pt x="271" y="1279"/>
                    <a:pt x="271" y="1279"/>
                    <a:pt x="271" y="1279"/>
                  </a:cubicBezTo>
                  <a:cubicBezTo>
                    <a:pt x="271" y="1286"/>
                    <a:pt x="271" y="1286"/>
                    <a:pt x="271" y="1286"/>
                  </a:cubicBezTo>
                  <a:cubicBezTo>
                    <a:pt x="278" y="1286"/>
                    <a:pt x="278" y="1286"/>
                    <a:pt x="278" y="1286"/>
                  </a:cubicBezTo>
                  <a:cubicBezTo>
                    <a:pt x="278" y="1279"/>
                    <a:pt x="278" y="1279"/>
                    <a:pt x="278" y="1279"/>
                  </a:cubicBezTo>
                  <a:moveTo>
                    <a:pt x="293" y="1279"/>
                  </a:moveTo>
                  <a:cubicBezTo>
                    <a:pt x="286" y="1279"/>
                    <a:pt x="286" y="1279"/>
                    <a:pt x="286" y="1279"/>
                  </a:cubicBezTo>
                  <a:cubicBezTo>
                    <a:pt x="286" y="1286"/>
                    <a:pt x="286" y="1286"/>
                    <a:pt x="286" y="1286"/>
                  </a:cubicBezTo>
                  <a:cubicBezTo>
                    <a:pt x="293" y="1286"/>
                    <a:pt x="293" y="1286"/>
                    <a:pt x="293" y="1286"/>
                  </a:cubicBezTo>
                  <a:cubicBezTo>
                    <a:pt x="293" y="1279"/>
                    <a:pt x="293" y="1279"/>
                    <a:pt x="293" y="1279"/>
                  </a:cubicBezTo>
                  <a:moveTo>
                    <a:pt x="308" y="1279"/>
                  </a:moveTo>
                  <a:cubicBezTo>
                    <a:pt x="301" y="1279"/>
                    <a:pt x="301" y="1279"/>
                    <a:pt x="301" y="1279"/>
                  </a:cubicBezTo>
                  <a:cubicBezTo>
                    <a:pt x="301" y="1286"/>
                    <a:pt x="301" y="1286"/>
                    <a:pt x="301" y="1286"/>
                  </a:cubicBezTo>
                  <a:cubicBezTo>
                    <a:pt x="308" y="1286"/>
                    <a:pt x="308" y="1286"/>
                    <a:pt x="308" y="1286"/>
                  </a:cubicBezTo>
                  <a:cubicBezTo>
                    <a:pt x="308" y="1279"/>
                    <a:pt x="308" y="1279"/>
                    <a:pt x="308" y="1279"/>
                  </a:cubicBezTo>
                  <a:moveTo>
                    <a:pt x="322" y="1279"/>
                  </a:moveTo>
                  <a:cubicBezTo>
                    <a:pt x="315" y="1279"/>
                    <a:pt x="315" y="1279"/>
                    <a:pt x="315" y="1279"/>
                  </a:cubicBezTo>
                  <a:cubicBezTo>
                    <a:pt x="315" y="1286"/>
                    <a:pt x="315" y="1286"/>
                    <a:pt x="315" y="1286"/>
                  </a:cubicBezTo>
                  <a:cubicBezTo>
                    <a:pt x="322" y="1286"/>
                    <a:pt x="322" y="1286"/>
                    <a:pt x="322" y="1286"/>
                  </a:cubicBezTo>
                  <a:cubicBezTo>
                    <a:pt x="322" y="1279"/>
                    <a:pt x="322" y="1279"/>
                    <a:pt x="322" y="1279"/>
                  </a:cubicBezTo>
                  <a:moveTo>
                    <a:pt x="337" y="1279"/>
                  </a:moveTo>
                  <a:cubicBezTo>
                    <a:pt x="330" y="1279"/>
                    <a:pt x="330" y="1279"/>
                    <a:pt x="330" y="1279"/>
                  </a:cubicBezTo>
                  <a:cubicBezTo>
                    <a:pt x="330" y="1286"/>
                    <a:pt x="330" y="1286"/>
                    <a:pt x="330" y="1286"/>
                  </a:cubicBezTo>
                  <a:cubicBezTo>
                    <a:pt x="337" y="1286"/>
                    <a:pt x="337" y="1286"/>
                    <a:pt x="337" y="1286"/>
                  </a:cubicBezTo>
                  <a:cubicBezTo>
                    <a:pt x="337" y="1279"/>
                    <a:pt x="337" y="1279"/>
                    <a:pt x="337" y="1279"/>
                  </a:cubicBezTo>
                  <a:moveTo>
                    <a:pt x="352" y="1279"/>
                  </a:moveTo>
                  <a:cubicBezTo>
                    <a:pt x="345" y="1279"/>
                    <a:pt x="345" y="1279"/>
                    <a:pt x="345" y="1279"/>
                  </a:cubicBezTo>
                  <a:cubicBezTo>
                    <a:pt x="345" y="1286"/>
                    <a:pt x="345" y="1286"/>
                    <a:pt x="345" y="1286"/>
                  </a:cubicBezTo>
                  <a:cubicBezTo>
                    <a:pt x="352" y="1286"/>
                    <a:pt x="352" y="1286"/>
                    <a:pt x="352" y="1286"/>
                  </a:cubicBezTo>
                  <a:cubicBezTo>
                    <a:pt x="352" y="1279"/>
                    <a:pt x="352" y="1279"/>
                    <a:pt x="352" y="1279"/>
                  </a:cubicBezTo>
                  <a:moveTo>
                    <a:pt x="367" y="1279"/>
                  </a:moveTo>
                  <a:cubicBezTo>
                    <a:pt x="360" y="1279"/>
                    <a:pt x="360" y="1279"/>
                    <a:pt x="360" y="1279"/>
                  </a:cubicBezTo>
                  <a:cubicBezTo>
                    <a:pt x="360" y="1286"/>
                    <a:pt x="360" y="1286"/>
                    <a:pt x="360" y="1286"/>
                  </a:cubicBezTo>
                  <a:cubicBezTo>
                    <a:pt x="367" y="1286"/>
                    <a:pt x="367" y="1286"/>
                    <a:pt x="367" y="1286"/>
                  </a:cubicBezTo>
                  <a:cubicBezTo>
                    <a:pt x="367" y="1279"/>
                    <a:pt x="367" y="1279"/>
                    <a:pt x="367" y="1279"/>
                  </a:cubicBezTo>
                  <a:moveTo>
                    <a:pt x="381" y="1279"/>
                  </a:moveTo>
                  <a:cubicBezTo>
                    <a:pt x="374" y="1279"/>
                    <a:pt x="374" y="1279"/>
                    <a:pt x="374" y="1279"/>
                  </a:cubicBezTo>
                  <a:cubicBezTo>
                    <a:pt x="374" y="1286"/>
                    <a:pt x="374" y="1286"/>
                    <a:pt x="374" y="1286"/>
                  </a:cubicBezTo>
                  <a:cubicBezTo>
                    <a:pt x="381" y="1286"/>
                    <a:pt x="381" y="1286"/>
                    <a:pt x="381" y="1286"/>
                  </a:cubicBezTo>
                  <a:cubicBezTo>
                    <a:pt x="381" y="1279"/>
                    <a:pt x="381" y="1279"/>
                    <a:pt x="381" y="1279"/>
                  </a:cubicBezTo>
                  <a:moveTo>
                    <a:pt x="396" y="1279"/>
                  </a:moveTo>
                  <a:cubicBezTo>
                    <a:pt x="389" y="1279"/>
                    <a:pt x="389" y="1279"/>
                    <a:pt x="389" y="1279"/>
                  </a:cubicBezTo>
                  <a:cubicBezTo>
                    <a:pt x="389" y="1286"/>
                    <a:pt x="389" y="1286"/>
                    <a:pt x="389" y="1286"/>
                  </a:cubicBezTo>
                  <a:cubicBezTo>
                    <a:pt x="396" y="1286"/>
                    <a:pt x="396" y="1286"/>
                    <a:pt x="396" y="1286"/>
                  </a:cubicBezTo>
                  <a:cubicBezTo>
                    <a:pt x="396" y="1279"/>
                    <a:pt x="396" y="1279"/>
                    <a:pt x="396" y="1279"/>
                  </a:cubicBezTo>
                  <a:moveTo>
                    <a:pt x="411" y="1279"/>
                  </a:moveTo>
                  <a:cubicBezTo>
                    <a:pt x="404" y="1279"/>
                    <a:pt x="404" y="1279"/>
                    <a:pt x="404" y="1279"/>
                  </a:cubicBezTo>
                  <a:cubicBezTo>
                    <a:pt x="404" y="1286"/>
                    <a:pt x="404" y="1286"/>
                    <a:pt x="404" y="1286"/>
                  </a:cubicBezTo>
                  <a:cubicBezTo>
                    <a:pt x="411" y="1286"/>
                    <a:pt x="411" y="1286"/>
                    <a:pt x="411" y="1286"/>
                  </a:cubicBezTo>
                  <a:cubicBezTo>
                    <a:pt x="411" y="1279"/>
                    <a:pt x="411" y="1279"/>
                    <a:pt x="411" y="1279"/>
                  </a:cubicBezTo>
                  <a:moveTo>
                    <a:pt x="426" y="1279"/>
                  </a:moveTo>
                  <a:cubicBezTo>
                    <a:pt x="419" y="1279"/>
                    <a:pt x="419" y="1279"/>
                    <a:pt x="419" y="1279"/>
                  </a:cubicBezTo>
                  <a:cubicBezTo>
                    <a:pt x="419" y="1286"/>
                    <a:pt x="419" y="1286"/>
                    <a:pt x="419" y="1286"/>
                  </a:cubicBezTo>
                  <a:cubicBezTo>
                    <a:pt x="426" y="1286"/>
                    <a:pt x="426" y="1286"/>
                    <a:pt x="426" y="1286"/>
                  </a:cubicBezTo>
                  <a:cubicBezTo>
                    <a:pt x="426" y="1279"/>
                    <a:pt x="426" y="1279"/>
                    <a:pt x="426" y="1279"/>
                  </a:cubicBezTo>
                  <a:moveTo>
                    <a:pt x="440" y="1279"/>
                  </a:moveTo>
                  <a:cubicBezTo>
                    <a:pt x="433" y="1279"/>
                    <a:pt x="433" y="1279"/>
                    <a:pt x="433" y="1279"/>
                  </a:cubicBezTo>
                  <a:cubicBezTo>
                    <a:pt x="433" y="1286"/>
                    <a:pt x="433" y="1286"/>
                    <a:pt x="433" y="1286"/>
                  </a:cubicBezTo>
                  <a:cubicBezTo>
                    <a:pt x="440" y="1286"/>
                    <a:pt x="440" y="1286"/>
                    <a:pt x="440" y="1286"/>
                  </a:cubicBezTo>
                  <a:cubicBezTo>
                    <a:pt x="440" y="1279"/>
                    <a:pt x="440" y="1279"/>
                    <a:pt x="440" y="1279"/>
                  </a:cubicBezTo>
                  <a:moveTo>
                    <a:pt x="455" y="1279"/>
                  </a:moveTo>
                  <a:cubicBezTo>
                    <a:pt x="448" y="1279"/>
                    <a:pt x="448" y="1279"/>
                    <a:pt x="448" y="1279"/>
                  </a:cubicBezTo>
                  <a:cubicBezTo>
                    <a:pt x="448" y="1286"/>
                    <a:pt x="448" y="1286"/>
                    <a:pt x="448" y="1286"/>
                  </a:cubicBezTo>
                  <a:cubicBezTo>
                    <a:pt x="455" y="1286"/>
                    <a:pt x="455" y="1286"/>
                    <a:pt x="455" y="1286"/>
                  </a:cubicBezTo>
                  <a:cubicBezTo>
                    <a:pt x="455" y="1279"/>
                    <a:pt x="455" y="1279"/>
                    <a:pt x="455" y="1279"/>
                  </a:cubicBezTo>
                  <a:moveTo>
                    <a:pt x="470" y="1279"/>
                  </a:moveTo>
                  <a:cubicBezTo>
                    <a:pt x="463" y="1279"/>
                    <a:pt x="463" y="1279"/>
                    <a:pt x="463" y="1279"/>
                  </a:cubicBezTo>
                  <a:cubicBezTo>
                    <a:pt x="463" y="1286"/>
                    <a:pt x="463" y="1286"/>
                    <a:pt x="463" y="1286"/>
                  </a:cubicBezTo>
                  <a:cubicBezTo>
                    <a:pt x="470" y="1286"/>
                    <a:pt x="470" y="1286"/>
                    <a:pt x="470" y="1286"/>
                  </a:cubicBezTo>
                  <a:cubicBezTo>
                    <a:pt x="470" y="1279"/>
                    <a:pt x="470" y="1279"/>
                    <a:pt x="470" y="1279"/>
                  </a:cubicBezTo>
                  <a:moveTo>
                    <a:pt x="485" y="1279"/>
                  </a:moveTo>
                  <a:cubicBezTo>
                    <a:pt x="478" y="1279"/>
                    <a:pt x="478" y="1279"/>
                    <a:pt x="478" y="1279"/>
                  </a:cubicBezTo>
                  <a:cubicBezTo>
                    <a:pt x="478" y="1286"/>
                    <a:pt x="478" y="1286"/>
                    <a:pt x="478" y="1286"/>
                  </a:cubicBezTo>
                  <a:cubicBezTo>
                    <a:pt x="485" y="1286"/>
                    <a:pt x="485" y="1286"/>
                    <a:pt x="485" y="1286"/>
                  </a:cubicBezTo>
                  <a:cubicBezTo>
                    <a:pt x="485" y="1279"/>
                    <a:pt x="485" y="1279"/>
                    <a:pt x="485" y="1279"/>
                  </a:cubicBezTo>
                  <a:moveTo>
                    <a:pt x="499" y="1279"/>
                  </a:moveTo>
                  <a:cubicBezTo>
                    <a:pt x="492" y="1279"/>
                    <a:pt x="492" y="1279"/>
                    <a:pt x="492" y="1279"/>
                  </a:cubicBezTo>
                  <a:cubicBezTo>
                    <a:pt x="492" y="1286"/>
                    <a:pt x="492" y="1286"/>
                    <a:pt x="492" y="1286"/>
                  </a:cubicBezTo>
                  <a:cubicBezTo>
                    <a:pt x="499" y="1286"/>
                    <a:pt x="499" y="1286"/>
                    <a:pt x="499" y="1286"/>
                  </a:cubicBezTo>
                  <a:cubicBezTo>
                    <a:pt x="499" y="1279"/>
                    <a:pt x="499" y="1279"/>
                    <a:pt x="499" y="1279"/>
                  </a:cubicBezTo>
                  <a:moveTo>
                    <a:pt x="514" y="1279"/>
                  </a:moveTo>
                  <a:cubicBezTo>
                    <a:pt x="507" y="1279"/>
                    <a:pt x="507" y="1279"/>
                    <a:pt x="507" y="1279"/>
                  </a:cubicBezTo>
                  <a:cubicBezTo>
                    <a:pt x="507" y="1286"/>
                    <a:pt x="507" y="1286"/>
                    <a:pt x="507" y="1286"/>
                  </a:cubicBezTo>
                  <a:cubicBezTo>
                    <a:pt x="514" y="1286"/>
                    <a:pt x="514" y="1286"/>
                    <a:pt x="514" y="1286"/>
                  </a:cubicBezTo>
                  <a:cubicBezTo>
                    <a:pt x="514" y="1279"/>
                    <a:pt x="514" y="1279"/>
                    <a:pt x="514" y="1279"/>
                  </a:cubicBezTo>
                  <a:moveTo>
                    <a:pt x="529" y="1279"/>
                  </a:moveTo>
                  <a:cubicBezTo>
                    <a:pt x="522" y="1279"/>
                    <a:pt x="522" y="1279"/>
                    <a:pt x="522" y="1279"/>
                  </a:cubicBezTo>
                  <a:cubicBezTo>
                    <a:pt x="522" y="1286"/>
                    <a:pt x="522" y="1286"/>
                    <a:pt x="522" y="1286"/>
                  </a:cubicBezTo>
                  <a:cubicBezTo>
                    <a:pt x="529" y="1286"/>
                    <a:pt x="529" y="1286"/>
                    <a:pt x="529" y="1286"/>
                  </a:cubicBezTo>
                  <a:cubicBezTo>
                    <a:pt x="529" y="1279"/>
                    <a:pt x="529" y="1279"/>
                    <a:pt x="529" y="1279"/>
                  </a:cubicBezTo>
                  <a:moveTo>
                    <a:pt x="544" y="1279"/>
                  </a:moveTo>
                  <a:cubicBezTo>
                    <a:pt x="537" y="1279"/>
                    <a:pt x="537" y="1279"/>
                    <a:pt x="537" y="1279"/>
                  </a:cubicBezTo>
                  <a:cubicBezTo>
                    <a:pt x="537" y="1286"/>
                    <a:pt x="537" y="1286"/>
                    <a:pt x="537" y="1286"/>
                  </a:cubicBezTo>
                  <a:cubicBezTo>
                    <a:pt x="544" y="1286"/>
                    <a:pt x="544" y="1286"/>
                    <a:pt x="544" y="1286"/>
                  </a:cubicBezTo>
                  <a:cubicBezTo>
                    <a:pt x="544" y="1279"/>
                    <a:pt x="544" y="1279"/>
                    <a:pt x="544" y="1279"/>
                  </a:cubicBezTo>
                  <a:moveTo>
                    <a:pt x="204" y="1264"/>
                  </a:moveTo>
                  <a:cubicBezTo>
                    <a:pt x="197" y="1264"/>
                    <a:pt x="197" y="1264"/>
                    <a:pt x="197" y="1264"/>
                  </a:cubicBezTo>
                  <a:cubicBezTo>
                    <a:pt x="197" y="1271"/>
                    <a:pt x="197" y="1271"/>
                    <a:pt x="197" y="1271"/>
                  </a:cubicBezTo>
                  <a:cubicBezTo>
                    <a:pt x="204" y="1271"/>
                    <a:pt x="204" y="1271"/>
                    <a:pt x="204" y="1271"/>
                  </a:cubicBezTo>
                  <a:cubicBezTo>
                    <a:pt x="204" y="1264"/>
                    <a:pt x="204" y="1264"/>
                    <a:pt x="204" y="1264"/>
                  </a:cubicBezTo>
                  <a:moveTo>
                    <a:pt x="219" y="1264"/>
                  </a:moveTo>
                  <a:cubicBezTo>
                    <a:pt x="212" y="1264"/>
                    <a:pt x="212" y="1264"/>
                    <a:pt x="212" y="1264"/>
                  </a:cubicBezTo>
                  <a:cubicBezTo>
                    <a:pt x="212" y="1271"/>
                    <a:pt x="212" y="1271"/>
                    <a:pt x="212" y="1271"/>
                  </a:cubicBezTo>
                  <a:cubicBezTo>
                    <a:pt x="219" y="1271"/>
                    <a:pt x="219" y="1271"/>
                    <a:pt x="219" y="1271"/>
                  </a:cubicBezTo>
                  <a:cubicBezTo>
                    <a:pt x="219" y="1264"/>
                    <a:pt x="219" y="1264"/>
                    <a:pt x="219" y="1264"/>
                  </a:cubicBezTo>
                  <a:moveTo>
                    <a:pt x="234" y="1264"/>
                  </a:moveTo>
                  <a:cubicBezTo>
                    <a:pt x="227" y="1264"/>
                    <a:pt x="227" y="1264"/>
                    <a:pt x="227" y="1264"/>
                  </a:cubicBezTo>
                  <a:cubicBezTo>
                    <a:pt x="227" y="1271"/>
                    <a:pt x="227" y="1271"/>
                    <a:pt x="227" y="1271"/>
                  </a:cubicBezTo>
                  <a:cubicBezTo>
                    <a:pt x="234" y="1271"/>
                    <a:pt x="234" y="1271"/>
                    <a:pt x="234" y="1271"/>
                  </a:cubicBezTo>
                  <a:cubicBezTo>
                    <a:pt x="234" y="1264"/>
                    <a:pt x="234" y="1264"/>
                    <a:pt x="234" y="1264"/>
                  </a:cubicBezTo>
                  <a:moveTo>
                    <a:pt x="249" y="1264"/>
                  </a:moveTo>
                  <a:cubicBezTo>
                    <a:pt x="242" y="1264"/>
                    <a:pt x="242" y="1264"/>
                    <a:pt x="242" y="1264"/>
                  </a:cubicBezTo>
                  <a:cubicBezTo>
                    <a:pt x="242" y="1271"/>
                    <a:pt x="242" y="1271"/>
                    <a:pt x="242" y="1271"/>
                  </a:cubicBezTo>
                  <a:cubicBezTo>
                    <a:pt x="249" y="1271"/>
                    <a:pt x="249" y="1271"/>
                    <a:pt x="249" y="1271"/>
                  </a:cubicBezTo>
                  <a:cubicBezTo>
                    <a:pt x="249" y="1264"/>
                    <a:pt x="249" y="1264"/>
                    <a:pt x="249" y="1264"/>
                  </a:cubicBezTo>
                  <a:moveTo>
                    <a:pt x="263" y="1264"/>
                  </a:moveTo>
                  <a:cubicBezTo>
                    <a:pt x="256" y="1264"/>
                    <a:pt x="256" y="1264"/>
                    <a:pt x="256" y="1264"/>
                  </a:cubicBezTo>
                  <a:cubicBezTo>
                    <a:pt x="256" y="1271"/>
                    <a:pt x="256" y="1271"/>
                    <a:pt x="256" y="1271"/>
                  </a:cubicBezTo>
                  <a:cubicBezTo>
                    <a:pt x="263" y="1271"/>
                    <a:pt x="263" y="1271"/>
                    <a:pt x="263" y="1271"/>
                  </a:cubicBezTo>
                  <a:cubicBezTo>
                    <a:pt x="263" y="1264"/>
                    <a:pt x="263" y="1264"/>
                    <a:pt x="263" y="1264"/>
                  </a:cubicBezTo>
                  <a:moveTo>
                    <a:pt x="278" y="1264"/>
                  </a:moveTo>
                  <a:cubicBezTo>
                    <a:pt x="271" y="1264"/>
                    <a:pt x="271" y="1264"/>
                    <a:pt x="271" y="1264"/>
                  </a:cubicBezTo>
                  <a:cubicBezTo>
                    <a:pt x="271" y="1271"/>
                    <a:pt x="271" y="1271"/>
                    <a:pt x="271" y="1271"/>
                  </a:cubicBezTo>
                  <a:cubicBezTo>
                    <a:pt x="278" y="1271"/>
                    <a:pt x="278" y="1271"/>
                    <a:pt x="278" y="1271"/>
                  </a:cubicBezTo>
                  <a:cubicBezTo>
                    <a:pt x="278" y="1264"/>
                    <a:pt x="278" y="1264"/>
                    <a:pt x="278" y="1264"/>
                  </a:cubicBezTo>
                  <a:moveTo>
                    <a:pt x="293" y="1264"/>
                  </a:moveTo>
                  <a:cubicBezTo>
                    <a:pt x="286" y="1264"/>
                    <a:pt x="286" y="1264"/>
                    <a:pt x="286" y="1264"/>
                  </a:cubicBezTo>
                  <a:cubicBezTo>
                    <a:pt x="286" y="1271"/>
                    <a:pt x="286" y="1271"/>
                    <a:pt x="286" y="1271"/>
                  </a:cubicBezTo>
                  <a:cubicBezTo>
                    <a:pt x="293" y="1271"/>
                    <a:pt x="293" y="1271"/>
                    <a:pt x="293" y="1271"/>
                  </a:cubicBezTo>
                  <a:cubicBezTo>
                    <a:pt x="293" y="1264"/>
                    <a:pt x="293" y="1264"/>
                    <a:pt x="293" y="1264"/>
                  </a:cubicBezTo>
                  <a:moveTo>
                    <a:pt x="308" y="1264"/>
                  </a:moveTo>
                  <a:cubicBezTo>
                    <a:pt x="301" y="1264"/>
                    <a:pt x="301" y="1264"/>
                    <a:pt x="301" y="1264"/>
                  </a:cubicBezTo>
                  <a:cubicBezTo>
                    <a:pt x="301" y="1271"/>
                    <a:pt x="301" y="1271"/>
                    <a:pt x="301" y="1271"/>
                  </a:cubicBezTo>
                  <a:cubicBezTo>
                    <a:pt x="308" y="1271"/>
                    <a:pt x="308" y="1271"/>
                    <a:pt x="308" y="1271"/>
                  </a:cubicBezTo>
                  <a:cubicBezTo>
                    <a:pt x="308" y="1264"/>
                    <a:pt x="308" y="1264"/>
                    <a:pt x="308" y="1264"/>
                  </a:cubicBezTo>
                  <a:moveTo>
                    <a:pt x="322" y="1264"/>
                  </a:moveTo>
                  <a:cubicBezTo>
                    <a:pt x="315" y="1264"/>
                    <a:pt x="315" y="1264"/>
                    <a:pt x="315" y="1264"/>
                  </a:cubicBezTo>
                  <a:cubicBezTo>
                    <a:pt x="315" y="1271"/>
                    <a:pt x="315" y="1271"/>
                    <a:pt x="315" y="1271"/>
                  </a:cubicBezTo>
                  <a:cubicBezTo>
                    <a:pt x="322" y="1271"/>
                    <a:pt x="322" y="1271"/>
                    <a:pt x="322" y="1271"/>
                  </a:cubicBezTo>
                  <a:cubicBezTo>
                    <a:pt x="322" y="1264"/>
                    <a:pt x="322" y="1264"/>
                    <a:pt x="322" y="1264"/>
                  </a:cubicBezTo>
                  <a:moveTo>
                    <a:pt x="337" y="1264"/>
                  </a:moveTo>
                  <a:cubicBezTo>
                    <a:pt x="330" y="1264"/>
                    <a:pt x="330" y="1264"/>
                    <a:pt x="330" y="1264"/>
                  </a:cubicBezTo>
                  <a:cubicBezTo>
                    <a:pt x="330" y="1271"/>
                    <a:pt x="330" y="1271"/>
                    <a:pt x="330" y="1271"/>
                  </a:cubicBezTo>
                  <a:cubicBezTo>
                    <a:pt x="337" y="1271"/>
                    <a:pt x="337" y="1271"/>
                    <a:pt x="337" y="1271"/>
                  </a:cubicBezTo>
                  <a:cubicBezTo>
                    <a:pt x="337" y="1264"/>
                    <a:pt x="337" y="1264"/>
                    <a:pt x="337" y="1264"/>
                  </a:cubicBezTo>
                  <a:moveTo>
                    <a:pt x="352" y="1264"/>
                  </a:moveTo>
                  <a:cubicBezTo>
                    <a:pt x="345" y="1264"/>
                    <a:pt x="345" y="1264"/>
                    <a:pt x="345" y="1264"/>
                  </a:cubicBezTo>
                  <a:cubicBezTo>
                    <a:pt x="345" y="1271"/>
                    <a:pt x="345" y="1271"/>
                    <a:pt x="345" y="1271"/>
                  </a:cubicBezTo>
                  <a:cubicBezTo>
                    <a:pt x="352" y="1271"/>
                    <a:pt x="352" y="1271"/>
                    <a:pt x="352" y="1271"/>
                  </a:cubicBezTo>
                  <a:cubicBezTo>
                    <a:pt x="352" y="1264"/>
                    <a:pt x="352" y="1264"/>
                    <a:pt x="352" y="1264"/>
                  </a:cubicBezTo>
                  <a:moveTo>
                    <a:pt x="367" y="1264"/>
                  </a:moveTo>
                  <a:cubicBezTo>
                    <a:pt x="360" y="1264"/>
                    <a:pt x="360" y="1264"/>
                    <a:pt x="360" y="1264"/>
                  </a:cubicBezTo>
                  <a:cubicBezTo>
                    <a:pt x="360" y="1271"/>
                    <a:pt x="360" y="1271"/>
                    <a:pt x="360" y="1271"/>
                  </a:cubicBezTo>
                  <a:cubicBezTo>
                    <a:pt x="367" y="1271"/>
                    <a:pt x="367" y="1271"/>
                    <a:pt x="367" y="1271"/>
                  </a:cubicBezTo>
                  <a:cubicBezTo>
                    <a:pt x="367" y="1264"/>
                    <a:pt x="367" y="1264"/>
                    <a:pt x="367" y="1264"/>
                  </a:cubicBezTo>
                  <a:moveTo>
                    <a:pt x="381" y="1264"/>
                  </a:moveTo>
                  <a:cubicBezTo>
                    <a:pt x="374" y="1264"/>
                    <a:pt x="374" y="1264"/>
                    <a:pt x="374" y="1264"/>
                  </a:cubicBezTo>
                  <a:cubicBezTo>
                    <a:pt x="374" y="1271"/>
                    <a:pt x="374" y="1271"/>
                    <a:pt x="374" y="1271"/>
                  </a:cubicBezTo>
                  <a:cubicBezTo>
                    <a:pt x="381" y="1271"/>
                    <a:pt x="381" y="1271"/>
                    <a:pt x="381" y="1271"/>
                  </a:cubicBezTo>
                  <a:cubicBezTo>
                    <a:pt x="381" y="1264"/>
                    <a:pt x="381" y="1264"/>
                    <a:pt x="381" y="1264"/>
                  </a:cubicBezTo>
                  <a:moveTo>
                    <a:pt x="396" y="1264"/>
                  </a:moveTo>
                  <a:cubicBezTo>
                    <a:pt x="389" y="1264"/>
                    <a:pt x="389" y="1264"/>
                    <a:pt x="389" y="1264"/>
                  </a:cubicBezTo>
                  <a:cubicBezTo>
                    <a:pt x="389" y="1271"/>
                    <a:pt x="389" y="1271"/>
                    <a:pt x="389" y="1271"/>
                  </a:cubicBezTo>
                  <a:cubicBezTo>
                    <a:pt x="396" y="1271"/>
                    <a:pt x="396" y="1271"/>
                    <a:pt x="396" y="1271"/>
                  </a:cubicBezTo>
                  <a:cubicBezTo>
                    <a:pt x="396" y="1264"/>
                    <a:pt x="396" y="1264"/>
                    <a:pt x="396" y="1264"/>
                  </a:cubicBezTo>
                  <a:moveTo>
                    <a:pt x="411" y="1264"/>
                  </a:moveTo>
                  <a:cubicBezTo>
                    <a:pt x="404" y="1264"/>
                    <a:pt x="404" y="1264"/>
                    <a:pt x="404" y="1264"/>
                  </a:cubicBezTo>
                  <a:cubicBezTo>
                    <a:pt x="404" y="1271"/>
                    <a:pt x="404" y="1271"/>
                    <a:pt x="404" y="1271"/>
                  </a:cubicBezTo>
                  <a:cubicBezTo>
                    <a:pt x="411" y="1271"/>
                    <a:pt x="411" y="1271"/>
                    <a:pt x="411" y="1271"/>
                  </a:cubicBezTo>
                  <a:cubicBezTo>
                    <a:pt x="411" y="1264"/>
                    <a:pt x="411" y="1264"/>
                    <a:pt x="411" y="1264"/>
                  </a:cubicBezTo>
                  <a:moveTo>
                    <a:pt x="426" y="1264"/>
                  </a:moveTo>
                  <a:cubicBezTo>
                    <a:pt x="419" y="1264"/>
                    <a:pt x="419" y="1264"/>
                    <a:pt x="419" y="1264"/>
                  </a:cubicBezTo>
                  <a:cubicBezTo>
                    <a:pt x="419" y="1271"/>
                    <a:pt x="419" y="1271"/>
                    <a:pt x="419" y="1271"/>
                  </a:cubicBezTo>
                  <a:cubicBezTo>
                    <a:pt x="426" y="1271"/>
                    <a:pt x="426" y="1271"/>
                    <a:pt x="426" y="1271"/>
                  </a:cubicBezTo>
                  <a:cubicBezTo>
                    <a:pt x="426" y="1264"/>
                    <a:pt x="426" y="1264"/>
                    <a:pt x="426" y="1264"/>
                  </a:cubicBezTo>
                  <a:moveTo>
                    <a:pt x="440" y="1264"/>
                  </a:moveTo>
                  <a:cubicBezTo>
                    <a:pt x="433" y="1264"/>
                    <a:pt x="433" y="1264"/>
                    <a:pt x="433" y="1264"/>
                  </a:cubicBezTo>
                  <a:cubicBezTo>
                    <a:pt x="433" y="1271"/>
                    <a:pt x="433" y="1271"/>
                    <a:pt x="433" y="1271"/>
                  </a:cubicBezTo>
                  <a:cubicBezTo>
                    <a:pt x="440" y="1271"/>
                    <a:pt x="440" y="1271"/>
                    <a:pt x="440" y="1271"/>
                  </a:cubicBezTo>
                  <a:cubicBezTo>
                    <a:pt x="440" y="1264"/>
                    <a:pt x="440" y="1264"/>
                    <a:pt x="440" y="1264"/>
                  </a:cubicBezTo>
                  <a:moveTo>
                    <a:pt x="455" y="1264"/>
                  </a:moveTo>
                  <a:cubicBezTo>
                    <a:pt x="448" y="1264"/>
                    <a:pt x="448" y="1264"/>
                    <a:pt x="448" y="1264"/>
                  </a:cubicBezTo>
                  <a:cubicBezTo>
                    <a:pt x="448" y="1271"/>
                    <a:pt x="448" y="1271"/>
                    <a:pt x="448" y="1271"/>
                  </a:cubicBezTo>
                  <a:cubicBezTo>
                    <a:pt x="455" y="1271"/>
                    <a:pt x="455" y="1271"/>
                    <a:pt x="455" y="1271"/>
                  </a:cubicBezTo>
                  <a:cubicBezTo>
                    <a:pt x="455" y="1264"/>
                    <a:pt x="455" y="1264"/>
                    <a:pt x="455" y="1264"/>
                  </a:cubicBezTo>
                  <a:moveTo>
                    <a:pt x="470" y="1264"/>
                  </a:moveTo>
                  <a:cubicBezTo>
                    <a:pt x="463" y="1264"/>
                    <a:pt x="463" y="1264"/>
                    <a:pt x="463" y="1264"/>
                  </a:cubicBezTo>
                  <a:cubicBezTo>
                    <a:pt x="463" y="1271"/>
                    <a:pt x="463" y="1271"/>
                    <a:pt x="463" y="1271"/>
                  </a:cubicBezTo>
                  <a:cubicBezTo>
                    <a:pt x="470" y="1271"/>
                    <a:pt x="470" y="1271"/>
                    <a:pt x="470" y="1271"/>
                  </a:cubicBezTo>
                  <a:cubicBezTo>
                    <a:pt x="470" y="1264"/>
                    <a:pt x="470" y="1264"/>
                    <a:pt x="470" y="1264"/>
                  </a:cubicBezTo>
                  <a:moveTo>
                    <a:pt x="485" y="1264"/>
                  </a:moveTo>
                  <a:cubicBezTo>
                    <a:pt x="478" y="1264"/>
                    <a:pt x="478" y="1264"/>
                    <a:pt x="478" y="1264"/>
                  </a:cubicBezTo>
                  <a:cubicBezTo>
                    <a:pt x="478" y="1271"/>
                    <a:pt x="478" y="1271"/>
                    <a:pt x="478" y="1271"/>
                  </a:cubicBezTo>
                  <a:cubicBezTo>
                    <a:pt x="485" y="1271"/>
                    <a:pt x="485" y="1271"/>
                    <a:pt x="485" y="1271"/>
                  </a:cubicBezTo>
                  <a:cubicBezTo>
                    <a:pt x="485" y="1264"/>
                    <a:pt x="485" y="1264"/>
                    <a:pt x="485" y="1264"/>
                  </a:cubicBezTo>
                  <a:moveTo>
                    <a:pt x="499" y="1264"/>
                  </a:moveTo>
                  <a:cubicBezTo>
                    <a:pt x="492" y="1264"/>
                    <a:pt x="492" y="1264"/>
                    <a:pt x="492" y="1264"/>
                  </a:cubicBezTo>
                  <a:cubicBezTo>
                    <a:pt x="492" y="1271"/>
                    <a:pt x="492" y="1271"/>
                    <a:pt x="492" y="1271"/>
                  </a:cubicBezTo>
                  <a:cubicBezTo>
                    <a:pt x="499" y="1271"/>
                    <a:pt x="499" y="1271"/>
                    <a:pt x="499" y="1271"/>
                  </a:cubicBezTo>
                  <a:cubicBezTo>
                    <a:pt x="499" y="1264"/>
                    <a:pt x="499" y="1264"/>
                    <a:pt x="499" y="1264"/>
                  </a:cubicBezTo>
                  <a:moveTo>
                    <a:pt x="514" y="1264"/>
                  </a:moveTo>
                  <a:cubicBezTo>
                    <a:pt x="507" y="1264"/>
                    <a:pt x="507" y="1264"/>
                    <a:pt x="507" y="1264"/>
                  </a:cubicBezTo>
                  <a:cubicBezTo>
                    <a:pt x="507" y="1271"/>
                    <a:pt x="507" y="1271"/>
                    <a:pt x="507" y="1271"/>
                  </a:cubicBezTo>
                  <a:cubicBezTo>
                    <a:pt x="514" y="1271"/>
                    <a:pt x="514" y="1271"/>
                    <a:pt x="514" y="1271"/>
                  </a:cubicBezTo>
                  <a:cubicBezTo>
                    <a:pt x="514" y="1264"/>
                    <a:pt x="514" y="1264"/>
                    <a:pt x="514" y="1264"/>
                  </a:cubicBezTo>
                  <a:moveTo>
                    <a:pt x="529" y="1264"/>
                  </a:moveTo>
                  <a:cubicBezTo>
                    <a:pt x="522" y="1264"/>
                    <a:pt x="522" y="1264"/>
                    <a:pt x="522" y="1264"/>
                  </a:cubicBezTo>
                  <a:cubicBezTo>
                    <a:pt x="522" y="1271"/>
                    <a:pt x="522" y="1271"/>
                    <a:pt x="522" y="1271"/>
                  </a:cubicBezTo>
                  <a:cubicBezTo>
                    <a:pt x="529" y="1271"/>
                    <a:pt x="529" y="1271"/>
                    <a:pt x="529" y="1271"/>
                  </a:cubicBezTo>
                  <a:cubicBezTo>
                    <a:pt x="529" y="1264"/>
                    <a:pt x="529" y="1264"/>
                    <a:pt x="529" y="1264"/>
                  </a:cubicBezTo>
                  <a:moveTo>
                    <a:pt x="544" y="1264"/>
                  </a:moveTo>
                  <a:cubicBezTo>
                    <a:pt x="537" y="1264"/>
                    <a:pt x="537" y="1264"/>
                    <a:pt x="537" y="1264"/>
                  </a:cubicBezTo>
                  <a:cubicBezTo>
                    <a:pt x="537" y="1271"/>
                    <a:pt x="537" y="1271"/>
                    <a:pt x="537" y="1271"/>
                  </a:cubicBezTo>
                  <a:cubicBezTo>
                    <a:pt x="544" y="1271"/>
                    <a:pt x="544" y="1271"/>
                    <a:pt x="544" y="1271"/>
                  </a:cubicBezTo>
                  <a:cubicBezTo>
                    <a:pt x="544" y="1264"/>
                    <a:pt x="544" y="1264"/>
                    <a:pt x="544" y="1264"/>
                  </a:cubicBezTo>
                  <a:moveTo>
                    <a:pt x="190" y="1249"/>
                  </a:moveTo>
                  <a:cubicBezTo>
                    <a:pt x="183" y="1249"/>
                    <a:pt x="183" y="1249"/>
                    <a:pt x="183" y="1249"/>
                  </a:cubicBezTo>
                  <a:cubicBezTo>
                    <a:pt x="183" y="1256"/>
                    <a:pt x="183" y="1256"/>
                    <a:pt x="183" y="1256"/>
                  </a:cubicBezTo>
                  <a:cubicBezTo>
                    <a:pt x="190" y="1256"/>
                    <a:pt x="190" y="1256"/>
                    <a:pt x="190" y="1256"/>
                  </a:cubicBezTo>
                  <a:cubicBezTo>
                    <a:pt x="190" y="1249"/>
                    <a:pt x="190" y="1249"/>
                    <a:pt x="190" y="1249"/>
                  </a:cubicBezTo>
                  <a:moveTo>
                    <a:pt x="204" y="1249"/>
                  </a:moveTo>
                  <a:cubicBezTo>
                    <a:pt x="197" y="1249"/>
                    <a:pt x="197" y="1249"/>
                    <a:pt x="197" y="1249"/>
                  </a:cubicBezTo>
                  <a:cubicBezTo>
                    <a:pt x="197" y="1256"/>
                    <a:pt x="197" y="1256"/>
                    <a:pt x="197" y="1256"/>
                  </a:cubicBezTo>
                  <a:cubicBezTo>
                    <a:pt x="204" y="1256"/>
                    <a:pt x="204" y="1256"/>
                    <a:pt x="204" y="1256"/>
                  </a:cubicBezTo>
                  <a:cubicBezTo>
                    <a:pt x="204" y="1249"/>
                    <a:pt x="204" y="1249"/>
                    <a:pt x="204" y="1249"/>
                  </a:cubicBezTo>
                  <a:moveTo>
                    <a:pt x="219" y="1249"/>
                  </a:moveTo>
                  <a:cubicBezTo>
                    <a:pt x="212" y="1249"/>
                    <a:pt x="212" y="1249"/>
                    <a:pt x="212" y="1249"/>
                  </a:cubicBezTo>
                  <a:cubicBezTo>
                    <a:pt x="212" y="1256"/>
                    <a:pt x="212" y="1256"/>
                    <a:pt x="212" y="1256"/>
                  </a:cubicBezTo>
                  <a:cubicBezTo>
                    <a:pt x="219" y="1256"/>
                    <a:pt x="219" y="1256"/>
                    <a:pt x="219" y="1256"/>
                  </a:cubicBezTo>
                  <a:cubicBezTo>
                    <a:pt x="219" y="1249"/>
                    <a:pt x="219" y="1249"/>
                    <a:pt x="219" y="1249"/>
                  </a:cubicBezTo>
                  <a:moveTo>
                    <a:pt x="234" y="1249"/>
                  </a:moveTo>
                  <a:cubicBezTo>
                    <a:pt x="227" y="1249"/>
                    <a:pt x="227" y="1249"/>
                    <a:pt x="227" y="1249"/>
                  </a:cubicBezTo>
                  <a:cubicBezTo>
                    <a:pt x="227" y="1256"/>
                    <a:pt x="227" y="1256"/>
                    <a:pt x="227" y="1256"/>
                  </a:cubicBezTo>
                  <a:cubicBezTo>
                    <a:pt x="234" y="1256"/>
                    <a:pt x="234" y="1256"/>
                    <a:pt x="234" y="1256"/>
                  </a:cubicBezTo>
                  <a:cubicBezTo>
                    <a:pt x="234" y="1249"/>
                    <a:pt x="234" y="1249"/>
                    <a:pt x="234" y="1249"/>
                  </a:cubicBezTo>
                  <a:moveTo>
                    <a:pt x="249" y="1249"/>
                  </a:moveTo>
                  <a:cubicBezTo>
                    <a:pt x="242" y="1249"/>
                    <a:pt x="242" y="1249"/>
                    <a:pt x="242" y="1249"/>
                  </a:cubicBezTo>
                  <a:cubicBezTo>
                    <a:pt x="242" y="1256"/>
                    <a:pt x="242" y="1256"/>
                    <a:pt x="242" y="1256"/>
                  </a:cubicBezTo>
                  <a:cubicBezTo>
                    <a:pt x="249" y="1256"/>
                    <a:pt x="249" y="1256"/>
                    <a:pt x="249" y="1256"/>
                  </a:cubicBezTo>
                  <a:cubicBezTo>
                    <a:pt x="249" y="1249"/>
                    <a:pt x="249" y="1249"/>
                    <a:pt x="249" y="1249"/>
                  </a:cubicBezTo>
                  <a:moveTo>
                    <a:pt x="263" y="1249"/>
                  </a:moveTo>
                  <a:cubicBezTo>
                    <a:pt x="256" y="1249"/>
                    <a:pt x="256" y="1249"/>
                    <a:pt x="256" y="1249"/>
                  </a:cubicBezTo>
                  <a:cubicBezTo>
                    <a:pt x="256" y="1256"/>
                    <a:pt x="256" y="1256"/>
                    <a:pt x="256" y="1256"/>
                  </a:cubicBezTo>
                  <a:cubicBezTo>
                    <a:pt x="263" y="1256"/>
                    <a:pt x="263" y="1256"/>
                    <a:pt x="263" y="1256"/>
                  </a:cubicBezTo>
                  <a:cubicBezTo>
                    <a:pt x="263" y="1249"/>
                    <a:pt x="263" y="1249"/>
                    <a:pt x="263" y="1249"/>
                  </a:cubicBezTo>
                  <a:moveTo>
                    <a:pt x="278" y="1249"/>
                  </a:moveTo>
                  <a:cubicBezTo>
                    <a:pt x="271" y="1249"/>
                    <a:pt x="271" y="1249"/>
                    <a:pt x="271" y="1249"/>
                  </a:cubicBezTo>
                  <a:cubicBezTo>
                    <a:pt x="271" y="1256"/>
                    <a:pt x="271" y="1256"/>
                    <a:pt x="271" y="1256"/>
                  </a:cubicBezTo>
                  <a:cubicBezTo>
                    <a:pt x="278" y="1256"/>
                    <a:pt x="278" y="1256"/>
                    <a:pt x="278" y="1256"/>
                  </a:cubicBezTo>
                  <a:cubicBezTo>
                    <a:pt x="278" y="1249"/>
                    <a:pt x="278" y="1249"/>
                    <a:pt x="278" y="1249"/>
                  </a:cubicBezTo>
                  <a:moveTo>
                    <a:pt x="293" y="1249"/>
                  </a:moveTo>
                  <a:cubicBezTo>
                    <a:pt x="286" y="1249"/>
                    <a:pt x="286" y="1249"/>
                    <a:pt x="286" y="1249"/>
                  </a:cubicBezTo>
                  <a:cubicBezTo>
                    <a:pt x="286" y="1256"/>
                    <a:pt x="286" y="1256"/>
                    <a:pt x="286" y="1256"/>
                  </a:cubicBezTo>
                  <a:cubicBezTo>
                    <a:pt x="293" y="1256"/>
                    <a:pt x="293" y="1256"/>
                    <a:pt x="293" y="1256"/>
                  </a:cubicBezTo>
                  <a:cubicBezTo>
                    <a:pt x="293" y="1249"/>
                    <a:pt x="293" y="1249"/>
                    <a:pt x="293" y="1249"/>
                  </a:cubicBezTo>
                  <a:moveTo>
                    <a:pt x="308" y="1249"/>
                  </a:moveTo>
                  <a:cubicBezTo>
                    <a:pt x="301" y="1249"/>
                    <a:pt x="301" y="1249"/>
                    <a:pt x="301" y="1249"/>
                  </a:cubicBezTo>
                  <a:cubicBezTo>
                    <a:pt x="301" y="1256"/>
                    <a:pt x="301" y="1256"/>
                    <a:pt x="301" y="1256"/>
                  </a:cubicBezTo>
                  <a:cubicBezTo>
                    <a:pt x="308" y="1256"/>
                    <a:pt x="308" y="1256"/>
                    <a:pt x="308" y="1256"/>
                  </a:cubicBezTo>
                  <a:cubicBezTo>
                    <a:pt x="308" y="1249"/>
                    <a:pt x="308" y="1249"/>
                    <a:pt x="308" y="1249"/>
                  </a:cubicBezTo>
                  <a:moveTo>
                    <a:pt x="322" y="1249"/>
                  </a:moveTo>
                  <a:cubicBezTo>
                    <a:pt x="315" y="1249"/>
                    <a:pt x="315" y="1249"/>
                    <a:pt x="315" y="1249"/>
                  </a:cubicBezTo>
                  <a:cubicBezTo>
                    <a:pt x="315" y="1256"/>
                    <a:pt x="315" y="1256"/>
                    <a:pt x="315" y="1256"/>
                  </a:cubicBezTo>
                  <a:cubicBezTo>
                    <a:pt x="322" y="1256"/>
                    <a:pt x="322" y="1256"/>
                    <a:pt x="322" y="1256"/>
                  </a:cubicBezTo>
                  <a:cubicBezTo>
                    <a:pt x="322" y="1249"/>
                    <a:pt x="322" y="1249"/>
                    <a:pt x="322" y="1249"/>
                  </a:cubicBezTo>
                  <a:moveTo>
                    <a:pt x="337" y="1249"/>
                  </a:moveTo>
                  <a:cubicBezTo>
                    <a:pt x="330" y="1249"/>
                    <a:pt x="330" y="1249"/>
                    <a:pt x="330" y="1249"/>
                  </a:cubicBezTo>
                  <a:cubicBezTo>
                    <a:pt x="330" y="1256"/>
                    <a:pt x="330" y="1256"/>
                    <a:pt x="330" y="1256"/>
                  </a:cubicBezTo>
                  <a:cubicBezTo>
                    <a:pt x="337" y="1256"/>
                    <a:pt x="337" y="1256"/>
                    <a:pt x="337" y="1256"/>
                  </a:cubicBezTo>
                  <a:cubicBezTo>
                    <a:pt x="337" y="1249"/>
                    <a:pt x="337" y="1249"/>
                    <a:pt x="337" y="1249"/>
                  </a:cubicBezTo>
                  <a:moveTo>
                    <a:pt x="352" y="1249"/>
                  </a:moveTo>
                  <a:cubicBezTo>
                    <a:pt x="345" y="1249"/>
                    <a:pt x="345" y="1249"/>
                    <a:pt x="345" y="1249"/>
                  </a:cubicBezTo>
                  <a:cubicBezTo>
                    <a:pt x="345" y="1256"/>
                    <a:pt x="345" y="1256"/>
                    <a:pt x="345" y="1256"/>
                  </a:cubicBezTo>
                  <a:cubicBezTo>
                    <a:pt x="352" y="1256"/>
                    <a:pt x="352" y="1256"/>
                    <a:pt x="352" y="1256"/>
                  </a:cubicBezTo>
                  <a:cubicBezTo>
                    <a:pt x="352" y="1249"/>
                    <a:pt x="352" y="1249"/>
                    <a:pt x="352" y="1249"/>
                  </a:cubicBezTo>
                  <a:moveTo>
                    <a:pt x="367" y="1249"/>
                  </a:moveTo>
                  <a:cubicBezTo>
                    <a:pt x="360" y="1249"/>
                    <a:pt x="360" y="1249"/>
                    <a:pt x="360" y="1249"/>
                  </a:cubicBezTo>
                  <a:cubicBezTo>
                    <a:pt x="360" y="1256"/>
                    <a:pt x="360" y="1256"/>
                    <a:pt x="360" y="1256"/>
                  </a:cubicBezTo>
                  <a:cubicBezTo>
                    <a:pt x="367" y="1256"/>
                    <a:pt x="367" y="1256"/>
                    <a:pt x="367" y="1256"/>
                  </a:cubicBezTo>
                  <a:cubicBezTo>
                    <a:pt x="367" y="1249"/>
                    <a:pt x="367" y="1249"/>
                    <a:pt x="367" y="1249"/>
                  </a:cubicBezTo>
                  <a:moveTo>
                    <a:pt x="381" y="1249"/>
                  </a:moveTo>
                  <a:cubicBezTo>
                    <a:pt x="374" y="1249"/>
                    <a:pt x="374" y="1249"/>
                    <a:pt x="374" y="1249"/>
                  </a:cubicBezTo>
                  <a:cubicBezTo>
                    <a:pt x="374" y="1256"/>
                    <a:pt x="374" y="1256"/>
                    <a:pt x="374" y="1256"/>
                  </a:cubicBezTo>
                  <a:cubicBezTo>
                    <a:pt x="381" y="1256"/>
                    <a:pt x="381" y="1256"/>
                    <a:pt x="381" y="1256"/>
                  </a:cubicBezTo>
                  <a:cubicBezTo>
                    <a:pt x="381" y="1249"/>
                    <a:pt x="381" y="1249"/>
                    <a:pt x="381" y="1249"/>
                  </a:cubicBezTo>
                  <a:moveTo>
                    <a:pt x="396" y="1249"/>
                  </a:moveTo>
                  <a:cubicBezTo>
                    <a:pt x="389" y="1249"/>
                    <a:pt x="389" y="1249"/>
                    <a:pt x="389" y="1249"/>
                  </a:cubicBezTo>
                  <a:cubicBezTo>
                    <a:pt x="389" y="1256"/>
                    <a:pt x="389" y="1256"/>
                    <a:pt x="389" y="1256"/>
                  </a:cubicBezTo>
                  <a:cubicBezTo>
                    <a:pt x="396" y="1256"/>
                    <a:pt x="396" y="1256"/>
                    <a:pt x="396" y="1256"/>
                  </a:cubicBezTo>
                  <a:cubicBezTo>
                    <a:pt x="396" y="1249"/>
                    <a:pt x="396" y="1249"/>
                    <a:pt x="396" y="1249"/>
                  </a:cubicBezTo>
                  <a:moveTo>
                    <a:pt x="411" y="1249"/>
                  </a:moveTo>
                  <a:cubicBezTo>
                    <a:pt x="404" y="1249"/>
                    <a:pt x="404" y="1249"/>
                    <a:pt x="404" y="1249"/>
                  </a:cubicBezTo>
                  <a:cubicBezTo>
                    <a:pt x="404" y="1256"/>
                    <a:pt x="404" y="1256"/>
                    <a:pt x="404" y="1256"/>
                  </a:cubicBezTo>
                  <a:cubicBezTo>
                    <a:pt x="411" y="1256"/>
                    <a:pt x="411" y="1256"/>
                    <a:pt x="411" y="1256"/>
                  </a:cubicBezTo>
                  <a:cubicBezTo>
                    <a:pt x="411" y="1249"/>
                    <a:pt x="411" y="1249"/>
                    <a:pt x="411" y="1249"/>
                  </a:cubicBezTo>
                  <a:moveTo>
                    <a:pt x="426" y="1249"/>
                  </a:moveTo>
                  <a:cubicBezTo>
                    <a:pt x="419" y="1249"/>
                    <a:pt x="419" y="1249"/>
                    <a:pt x="419" y="1249"/>
                  </a:cubicBezTo>
                  <a:cubicBezTo>
                    <a:pt x="419" y="1256"/>
                    <a:pt x="419" y="1256"/>
                    <a:pt x="419" y="1256"/>
                  </a:cubicBezTo>
                  <a:cubicBezTo>
                    <a:pt x="426" y="1256"/>
                    <a:pt x="426" y="1256"/>
                    <a:pt x="426" y="1256"/>
                  </a:cubicBezTo>
                  <a:cubicBezTo>
                    <a:pt x="426" y="1249"/>
                    <a:pt x="426" y="1249"/>
                    <a:pt x="426" y="1249"/>
                  </a:cubicBezTo>
                  <a:moveTo>
                    <a:pt x="440" y="1249"/>
                  </a:moveTo>
                  <a:cubicBezTo>
                    <a:pt x="433" y="1249"/>
                    <a:pt x="433" y="1249"/>
                    <a:pt x="433" y="1249"/>
                  </a:cubicBezTo>
                  <a:cubicBezTo>
                    <a:pt x="433" y="1256"/>
                    <a:pt x="433" y="1256"/>
                    <a:pt x="433" y="1256"/>
                  </a:cubicBezTo>
                  <a:cubicBezTo>
                    <a:pt x="440" y="1256"/>
                    <a:pt x="440" y="1256"/>
                    <a:pt x="440" y="1256"/>
                  </a:cubicBezTo>
                  <a:cubicBezTo>
                    <a:pt x="440" y="1249"/>
                    <a:pt x="440" y="1249"/>
                    <a:pt x="440" y="1249"/>
                  </a:cubicBezTo>
                  <a:moveTo>
                    <a:pt x="455" y="1249"/>
                  </a:moveTo>
                  <a:cubicBezTo>
                    <a:pt x="448" y="1249"/>
                    <a:pt x="448" y="1249"/>
                    <a:pt x="448" y="1249"/>
                  </a:cubicBezTo>
                  <a:cubicBezTo>
                    <a:pt x="448" y="1256"/>
                    <a:pt x="448" y="1256"/>
                    <a:pt x="448" y="1256"/>
                  </a:cubicBezTo>
                  <a:cubicBezTo>
                    <a:pt x="455" y="1256"/>
                    <a:pt x="455" y="1256"/>
                    <a:pt x="455" y="1256"/>
                  </a:cubicBezTo>
                  <a:cubicBezTo>
                    <a:pt x="455" y="1249"/>
                    <a:pt x="455" y="1249"/>
                    <a:pt x="455" y="1249"/>
                  </a:cubicBezTo>
                  <a:moveTo>
                    <a:pt x="470" y="1249"/>
                  </a:moveTo>
                  <a:cubicBezTo>
                    <a:pt x="463" y="1249"/>
                    <a:pt x="463" y="1249"/>
                    <a:pt x="463" y="1249"/>
                  </a:cubicBezTo>
                  <a:cubicBezTo>
                    <a:pt x="463" y="1256"/>
                    <a:pt x="463" y="1256"/>
                    <a:pt x="463" y="1256"/>
                  </a:cubicBezTo>
                  <a:cubicBezTo>
                    <a:pt x="470" y="1256"/>
                    <a:pt x="470" y="1256"/>
                    <a:pt x="470" y="1256"/>
                  </a:cubicBezTo>
                  <a:cubicBezTo>
                    <a:pt x="470" y="1249"/>
                    <a:pt x="470" y="1249"/>
                    <a:pt x="470" y="1249"/>
                  </a:cubicBezTo>
                  <a:moveTo>
                    <a:pt x="485" y="1249"/>
                  </a:moveTo>
                  <a:cubicBezTo>
                    <a:pt x="478" y="1249"/>
                    <a:pt x="478" y="1249"/>
                    <a:pt x="478" y="1249"/>
                  </a:cubicBezTo>
                  <a:cubicBezTo>
                    <a:pt x="478" y="1256"/>
                    <a:pt x="478" y="1256"/>
                    <a:pt x="478" y="1256"/>
                  </a:cubicBezTo>
                  <a:cubicBezTo>
                    <a:pt x="485" y="1256"/>
                    <a:pt x="485" y="1256"/>
                    <a:pt x="485" y="1256"/>
                  </a:cubicBezTo>
                  <a:cubicBezTo>
                    <a:pt x="485" y="1249"/>
                    <a:pt x="485" y="1249"/>
                    <a:pt x="485" y="1249"/>
                  </a:cubicBezTo>
                  <a:moveTo>
                    <a:pt x="499" y="1249"/>
                  </a:moveTo>
                  <a:cubicBezTo>
                    <a:pt x="492" y="1249"/>
                    <a:pt x="492" y="1249"/>
                    <a:pt x="492" y="1249"/>
                  </a:cubicBezTo>
                  <a:cubicBezTo>
                    <a:pt x="492" y="1256"/>
                    <a:pt x="492" y="1256"/>
                    <a:pt x="492" y="1256"/>
                  </a:cubicBezTo>
                  <a:cubicBezTo>
                    <a:pt x="499" y="1256"/>
                    <a:pt x="499" y="1256"/>
                    <a:pt x="499" y="1256"/>
                  </a:cubicBezTo>
                  <a:cubicBezTo>
                    <a:pt x="499" y="1249"/>
                    <a:pt x="499" y="1249"/>
                    <a:pt x="499" y="1249"/>
                  </a:cubicBezTo>
                  <a:moveTo>
                    <a:pt x="514" y="1249"/>
                  </a:moveTo>
                  <a:cubicBezTo>
                    <a:pt x="507" y="1249"/>
                    <a:pt x="507" y="1249"/>
                    <a:pt x="507" y="1249"/>
                  </a:cubicBezTo>
                  <a:cubicBezTo>
                    <a:pt x="507" y="1256"/>
                    <a:pt x="507" y="1256"/>
                    <a:pt x="507" y="1256"/>
                  </a:cubicBezTo>
                  <a:cubicBezTo>
                    <a:pt x="514" y="1256"/>
                    <a:pt x="514" y="1256"/>
                    <a:pt x="514" y="1256"/>
                  </a:cubicBezTo>
                  <a:cubicBezTo>
                    <a:pt x="514" y="1249"/>
                    <a:pt x="514" y="1249"/>
                    <a:pt x="514" y="1249"/>
                  </a:cubicBezTo>
                  <a:moveTo>
                    <a:pt x="529" y="1249"/>
                  </a:moveTo>
                  <a:cubicBezTo>
                    <a:pt x="522" y="1249"/>
                    <a:pt x="522" y="1249"/>
                    <a:pt x="522" y="1249"/>
                  </a:cubicBezTo>
                  <a:cubicBezTo>
                    <a:pt x="522" y="1256"/>
                    <a:pt x="522" y="1256"/>
                    <a:pt x="522" y="1256"/>
                  </a:cubicBezTo>
                  <a:cubicBezTo>
                    <a:pt x="529" y="1256"/>
                    <a:pt x="529" y="1256"/>
                    <a:pt x="529" y="1256"/>
                  </a:cubicBezTo>
                  <a:cubicBezTo>
                    <a:pt x="529" y="1249"/>
                    <a:pt x="529" y="1249"/>
                    <a:pt x="529" y="1249"/>
                  </a:cubicBezTo>
                  <a:moveTo>
                    <a:pt x="544" y="1249"/>
                  </a:moveTo>
                  <a:cubicBezTo>
                    <a:pt x="537" y="1249"/>
                    <a:pt x="537" y="1249"/>
                    <a:pt x="537" y="1249"/>
                  </a:cubicBezTo>
                  <a:cubicBezTo>
                    <a:pt x="537" y="1256"/>
                    <a:pt x="537" y="1256"/>
                    <a:pt x="537" y="1256"/>
                  </a:cubicBezTo>
                  <a:cubicBezTo>
                    <a:pt x="544" y="1256"/>
                    <a:pt x="544" y="1256"/>
                    <a:pt x="544" y="1256"/>
                  </a:cubicBezTo>
                  <a:cubicBezTo>
                    <a:pt x="544" y="1249"/>
                    <a:pt x="544" y="1249"/>
                    <a:pt x="544" y="1249"/>
                  </a:cubicBezTo>
                  <a:moveTo>
                    <a:pt x="558" y="1249"/>
                  </a:moveTo>
                  <a:cubicBezTo>
                    <a:pt x="551" y="1249"/>
                    <a:pt x="551" y="1249"/>
                    <a:pt x="551" y="1249"/>
                  </a:cubicBezTo>
                  <a:cubicBezTo>
                    <a:pt x="551" y="1256"/>
                    <a:pt x="551" y="1256"/>
                    <a:pt x="551" y="1256"/>
                  </a:cubicBezTo>
                  <a:cubicBezTo>
                    <a:pt x="558" y="1256"/>
                    <a:pt x="558" y="1256"/>
                    <a:pt x="558" y="1256"/>
                  </a:cubicBezTo>
                  <a:cubicBezTo>
                    <a:pt x="558" y="1249"/>
                    <a:pt x="558" y="1249"/>
                    <a:pt x="558" y="1249"/>
                  </a:cubicBezTo>
                  <a:moveTo>
                    <a:pt x="190" y="1235"/>
                  </a:moveTo>
                  <a:cubicBezTo>
                    <a:pt x="183" y="1235"/>
                    <a:pt x="183" y="1235"/>
                    <a:pt x="183" y="1235"/>
                  </a:cubicBezTo>
                  <a:cubicBezTo>
                    <a:pt x="183" y="1242"/>
                    <a:pt x="183" y="1242"/>
                    <a:pt x="183" y="1242"/>
                  </a:cubicBezTo>
                  <a:cubicBezTo>
                    <a:pt x="190" y="1242"/>
                    <a:pt x="190" y="1242"/>
                    <a:pt x="190" y="1242"/>
                  </a:cubicBezTo>
                  <a:cubicBezTo>
                    <a:pt x="190" y="1235"/>
                    <a:pt x="190" y="1235"/>
                    <a:pt x="190" y="1235"/>
                  </a:cubicBezTo>
                  <a:moveTo>
                    <a:pt x="204" y="1235"/>
                  </a:moveTo>
                  <a:cubicBezTo>
                    <a:pt x="197" y="1235"/>
                    <a:pt x="197" y="1235"/>
                    <a:pt x="197" y="1235"/>
                  </a:cubicBezTo>
                  <a:cubicBezTo>
                    <a:pt x="197" y="1242"/>
                    <a:pt x="197" y="1242"/>
                    <a:pt x="197" y="1242"/>
                  </a:cubicBezTo>
                  <a:cubicBezTo>
                    <a:pt x="204" y="1242"/>
                    <a:pt x="204" y="1242"/>
                    <a:pt x="204" y="1242"/>
                  </a:cubicBezTo>
                  <a:cubicBezTo>
                    <a:pt x="204" y="1235"/>
                    <a:pt x="204" y="1235"/>
                    <a:pt x="204" y="1235"/>
                  </a:cubicBezTo>
                  <a:moveTo>
                    <a:pt x="219" y="1235"/>
                  </a:moveTo>
                  <a:cubicBezTo>
                    <a:pt x="212" y="1235"/>
                    <a:pt x="212" y="1235"/>
                    <a:pt x="212" y="1235"/>
                  </a:cubicBezTo>
                  <a:cubicBezTo>
                    <a:pt x="212" y="1242"/>
                    <a:pt x="212" y="1242"/>
                    <a:pt x="212" y="1242"/>
                  </a:cubicBezTo>
                  <a:cubicBezTo>
                    <a:pt x="219" y="1242"/>
                    <a:pt x="219" y="1242"/>
                    <a:pt x="219" y="1242"/>
                  </a:cubicBezTo>
                  <a:cubicBezTo>
                    <a:pt x="219" y="1235"/>
                    <a:pt x="219" y="1235"/>
                    <a:pt x="219" y="1235"/>
                  </a:cubicBezTo>
                  <a:moveTo>
                    <a:pt x="234" y="1235"/>
                  </a:moveTo>
                  <a:cubicBezTo>
                    <a:pt x="227" y="1235"/>
                    <a:pt x="227" y="1235"/>
                    <a:pt x="227" y="1235"/>
                  </a:cubicBezTo>
                  <a:cubicBezTo>
                    <a:pt x="227" y="1242"/>
                    <a:pt x="227" y="1242"/>
                    <a:pt x="227" y="1242"/>
                  </a:cubicBezTo>
                  <a:cubicBezTo>
                    <a:pt x="234" y="1242"/>
                    <a:pt x="234" y="1242"/>
                    <a:pt x="234" y="1242"/>
                  </a:cubicBezTo>
                  <a:cubicBezTo>
                    <a:pt x="234" y="1235"/>
                    <a:pt x="234" y="1235"/>
                    <a:pt x="234" y="1235"/>
                  </a:cubicBezTo>
                  <a:moveTo>
                    <a:pt x="249" y="1235"/>
                  </a:moveTo>
                  <a:cubicBezTo>
                    <a:pt x="242" y="1235"/>
                    <a:pt x="242" y="1235"/>
                    <a:pt x="242" y="1235"/>
                  </a:cubicBezTo>
                  <a:cubicBezTo>
                    <a:pt x="242" y="1242"/>
                    <a:pt x="242" y="1242"/>
                    <a:pt x="242" y="1242"/>
                  </a:cubicBezTo>
                  <a:cubicBezTo>
                    <a:pt x="249" y="1242"/>
                    <a:pt x="249" y="1242"/>
                    <a:pt x="249" y="1242"/>
                  </a:cubicBezTo>
                  <a:cubicBezTo>
                    <a:pt x="249" y="1235"/>
                    <a:pt x="249" y="1235"/>
                    <a:pt x="249" y="1235"/>
                  </a:cubicBezTo>
                  <a:moveTo>
                    <a:pt x="263" y="1235"/>
                  </a:moveTo>
                  <a:cubicBezTo>
                    <a:pt x="256" y="1235"/>
                    <a:pt x="256" y="1235"/>
                    <a:pt x="256" y="1235"/>
                  </a:cubicBezTo>
                  <a:cubicBezTo>
                    <a:pt x="256" y="1242"/>
                    <a:pt x="256" y="1242"/>
                    <a:pt x="256" y="1242"/>
                  </a:cubicBezTo>
                  <a:cubicBezTo>
                    <a:pt x="263" y="1242"/>
                    <a:pt x="263" y="1242"/>
                    <a:pt x="263" y="1242"/>
                  </a:cubicBezTo>
                  <a:cubicBezTo>
                    <a:pt x="263" y="1235"/>
                    <a:pt x="263" y="1235"/>
                    <a:pt x="263" y="1235"/>
                  </a:cubicBezTo>
                  <a:moveTo>
                    <a:pt x="278" y="1235"/>
                  </a:moveTo>
                  <a:cubicBezTo>
                    <a:pt x="271" y="1235"/>
                    <a:pt x="271" y="1235"/>
                    <a:pt x="271" y="1235"/>
                  </a:cubicBezTo>
                  <a:cubicBezTo>
                    <a:pt x="271" y="1242"/>
                    <a:pt x="271" y="1242"/>
                    <a:pt x="271" y="1242"/>
                  </a:cubicBezTo>
                  <a:cubicBezTo>
                    <a:pt x="278" y="1242"/>
                    <a:pt x="278" y="1242"/>
                    <a:pt x="278" y="1242"/>
                  </a:cubicBezTo>
                  <a:cubicBezTo>
                    <a:pt x="278" y="1235"/>
                    <a:pt x="278" y="1235"/>
                    <a:pt x="278" y="1235"/>
                  </a:cubicBezTo>
                  <a:moveTo>
                    <a:pt x="293" y="1235"/>
                  </a:moveTo>
                  <a:cubicBezTo>
                    <a:pt x="286" y="1235"/>
                    <a:pt x="286" y="1235"/>
                    <a:pt x="286" y="1235"/>
                  </a:cubicBezTo>
                  <a:cubicBezTo>
                    <a:pt x="286" y="1242"/>
                    <a:pt x="286" y="1242"/>
                    <a:pt x="286" y="1242"/>
                  </a:cubicBezTo>
                  <a:cubicBezTo>
                    <a:pt x="293" y="1242"/>
                    <a:pt x="293" y="1242"/>
                    <a:pt x="293" y="1242"/>
                  </a:cubicBezTo>
                  <a:cubicBezTo>
                    <a:pt x="293" y="1235"/>
                    <a:pt x="293" y="1235"/>
                    <a:pt x="293" y="1235"/>
                  </a:cubicBezTo>
                  <a:moveTo>
                    <a:pt x="308" y="1235"/>
                  </a:moveTo>
                  <a:cubicBezTo>
                    <a:pt x="301" y="1235"/>
                    <a:pt x="301" y="1235"/>
                    <a:pt x="301" y="1235"/>
                  </a:cubicBezTo>
                  <a:cubicBezTo>
                    <a:pt x="301" y="1242"/>
                    <a:pt x="301" y="1242"/>
                    <a:pt x="301" y="1242"/>
                  </a:cubicBezTo>
                  <a:cubicBezTo>
                    <a:pt x="308" y="1242"/>
                    <a:pt x="308" y="1242"/>
                    <a:pt x="308" y="1242"/>
                  </a:cubicBezTo>
                  <a:cubicBezTo>
                    <a:pt x="308" y="1235"/>
                    <a:pt x="308" y="1235"/>
                    <a:pt x="308" y="1235"/>
                  </a:cubicBezTo>
                  <a:moveTo>
                    <a:pt x="322" y="1235"/>
                  </a:moveTo>
                  <a:cubicBezTo>
                    <a:pt x="315" y="1235"/>
                    <a:pt x="315" y="1235"/>
                    <a:pt x="315" y="1235"/>
                  </a:cubicBezTo>
                  <a:cubicBezTo>
                    <a:pt x="315" y="1242"/>
                    <a:pt x="315" y="1242"/>
                    <a:pt x="315" y="1242"/>
                  </a:cubicBezTo>
                  <a:cubicBezTo>
                    <a:pt x="322" y="1242"/>
                    <a:pt x="322" y="1242"/>
                    <a:pt x="322" y="1242"/>
                  </a:cubicBezTo>
                  <a:cubicBezTo>
                    <a:pt x="322" y="1235"/>
                    <a:pt x="322" y="1235"/>
                    <a:pt x="322" y="1235"/>
                  </a:cubicBezTo>
                  <a:moveTo>
                    <a:pt x="337" y="1235"/>
                  </a:moveTo>
                  <a:cubicBezTo>
                    <a:pt x="330" y="1235"/>
                    <a:pt x="330" y="1235"/>
                    <a:pt x="330" y="1235"/>
                  </a:cubicBezTo>
                  <a:cubicBezTo>
                    <a:pt x="330" y="1242"/>
                    <a:pt x="330" y="1242"/>
                    <a:pt x="330" y="1242"/>
                  </a:cubicBezTo>
                  <a:cubicBezTo>
                    <a:pt x="337" y="1242"/>
                    <a:pt x="337" y="1242"/>
                    <a:pt x="337" y="1242"/>
                  </a:cubicBezTo>
                  <a:cubicBezTo>
                    <a:pt x="337" y="1235"/>
                    <a:pt x="337" y="1235"/>
                    <a:pt x="337" y="1235"/>
                  </a:cubicBezTo>
                  <a:moveTo>
                    <a:pt x="352" y="1235"/>
                  </a:moveTo>
                  <a:cubicBezTo>
                    <a:pt x="345" y="1235"/>
                    <a:pt x="345" y="1235"/>
                    <a:pt x="345" y="1235"/>
                  </a:cubicBezTo>
                  <a:cubicBezTo>
                    <a:pt x="345" y="1242"/>
                    <a:pt x="345" y="1242"/>
                    <a:pt x="345" y="1242"/>
                  </a:cubicBezTo>
                  <a:cubicBezTo>
                    <a:pt x="352" y="1242"/>
                    <a:pt x="352" y="1242"/>
                    <a:pt x="352" y="1242"/>
                  </a:cubicBezTo>
                  <a:cubicBezTo>
                    <a:pt x="352" y="1235"/>
                    <a:pt x="352" y="1235"/>
                    <a:pt x="352" y="1235"/>
                  </a:cubicBezTo>
                  <a:moveTo>
                    <a:pt x="367" y="1235"/>
                  </a:moveTo>
                  <a:cubicBezTo>
                    <a:pt x="360" y="1235"/>
                    <a:pt x="360" y="1235"/>
                    <a:pt x="360" y="1235"/>
                  </a:cubicBezTo>
                  <a:cubicBezTo>
                    <a:pt x="360" y="1242"/>
                    <a:pt x="360" y="1242"/>
                    <a:pt x="360" y="1242"/>
                  </a:cubicBezTo>
                  <a:cubicBezTo>
                    <a:pt x="367" y="1242"/>
                    <a:pt x="367" y="1242"/>
                    <a:pt x="367" y="1242"/>
                  </a:cubicBezTo>
                  <a:cubicBezTo>
                    <a:pt x="367" y="1235"/>
                    <a:pt x="367" y="1235"/>
                    <a:pt x="367" y="1235"/>
                  </a:cubicBezTo>
                  <a:moveTo>
                    <a:pt x="381" y="1235"/>
                  </a:moveTo>
                  <a:cubicBezTo>
                    <a:pt x="374" y="1235"/>
                    <a:pt x="374" y="1235"/>
                    <a:pt x="374" y="1235"/>
                  </a:cubicBezTo>
                  <a:cubicBezTo>
                    <a:pt x="374" y="1242"/>
                    <a:pt x="374" y="1242"/>
                    <a:pt x="374" y="1242"/>
                  </a:cubicBezTo>
                  <a:cubicBezTo>
                    <a:pt x="381" y="1242"/>
                    <a:pt x="381" y="1242"/>
                    <a:pt x="381" y="1242"/>
                  </a:cubicBezTo>
                  <a:cubicBezTo>
                    <a:pt x="381" y="1235"/>
                    <a:pt x="381" y="1235"/>
                    <a:pt x="381" y="1235"/>
                  </a:cubicBezTo>
                  <a:moveTo>
                    <a:pt x="396" y="1235"/>
                  </a:moveTo>
                  <a:cubicBezTo>
                    <a:pt x="389" y="1235"/>
                    <a:pt x="389" y="1235"/>
                    <a:pt x="389" y="1235"/>
                  </a:cubicBezTo>
                  <a:cubicBezTo>
                    <a:pt x="389" y="1242"/>
                    <a:pt x="389" y="1242"/>
                    <a:pt x="389" y="1242"/>
                  </a:cubicBezTo>
                  <a:cubicBezTo>
                    <a:pt x="396" y="1242"/>
                    <a:pt x="396" y="1242"/>
                    <a:pt x="396" y="1242"/>
                  </a:cubicBezTo>
                  <a:cubicBezTo>
                    <a:pt x="396" y="1235"/>
                    <a:pt x="396" y="1235"/>
                    <a:pt x="396" y="1235"/>
                  </a:cubicBezTo>
                  <a:moveTo>
                    <a:pt x="411" y="1235"/>
                  </a:moveTo>
                  <a:cubicBezTo>
                    <a:pt x="404" y="1235"/>
                    <a:pt x="404" y="1235"/>
                    <a:pt x="404" y="1235"/>
                  </a:cubicBezTo>
                  <a:cubicBezTo>
                    <a:pt x="404" y="1242"/>
                    <a:pt x="404" y="1242"/>
                    <a:pt x="404" y="1242"/>
                  </a:cubicBezTo>
                  <a:cubicBezTo>
                    <a:pt x="411" y="1242"/>
                    <a:pt x="411" y="1242"/>
                    <a:pt x="411" y="1242"/>
                  </a:cubicBezTo>
                  <a:cubicBezTo>
                    <a:pt x="411" y="1235"/>
                    <a:pt x="411" y="1235"/>
                    <a:pt x="411" y="1235"/>
                  </a:cubicBezTo>
                  <a:moveTo>
                    <a:pt x="426" y="1235"/>
                  </a:moveTo>
                  <a:cubicBezTo>
                    <a:pt x="419" y="1235"/>
                    <a:pt x="419" y="1235"/>
                    <a:pt x="419" y="1235"/>
                  </a:cubicBezTo>
                  <a:cubicBezTo>
                    <a:pt x="419" y="1242"/>
                    <a:pt x="419" y="1242"/>
                    <a:pt x="419" y="1242"/>
                  </a:cubicBezTo>
                  <a:cubicBezTo>
                    <a:pt x="426" y="1242"/>
                    <a:pt x="426" y="1242"/>
                    <a:pt x="426" y="1242"/>
                  </a:cubicBezTo>
                  <a:cubicBezTo>
                    <a:pt x="426" y="1235"/>
                    <a:pt x="426" y="1235"/>
                    <a:pt x="426" y="1235"/>
                  </a:cubicBezTo>
                  <a:moveTo>
                    <a:pt x="440" y="1235"/>
                  </a:moveTo>
                  <a:cubicBezTo>
                    <a:pt x="433" y="1235"/>
                    <a:pt x="433" y="1235"/>
                    <a:pt x="433" y="1235"/>
                  </a:cubicBezTo>
                  <a:cubicBezTo>
                    <a:pt x="433" y="1242"/>
                    <a:pt x="433" y="1242"/>
                    <a:pt x="433" y="1242"/>
                  </a:cubicBezTo>
                  <a:cubicBezTo>
                    <a:pt x="440" y="1242"/>
                    <a:pt x="440" y="1242"/>
                    <a:pt x="440" y="1242"/>
                  </a:cubicBezTo>
                  <a:cubicBezTo>
                    <a:pt x="440" y="1235"/>
                    <a:pt x="440" y="1235"/>
                    <a:pt x="440" y="1235"/>
                  </a:cubicBezTo>
                  <a:moveTo>
                    <a:pt x="455" y="1235"/>
                  </a:moveTo>
                  <a:cubicBezTo>
                    <a:pt x="448" y="1235"/>
                    <a:pt x="448" y="1235"/>
                    <a:pt x="448" y="1235"/>
                  </a:cubicBezTo>
                  <a:cubicBezTo>
                    <a:pt x="448" y="1242"/>
                    <a:pt x="448" y="1242"/>
                    <a:pt x="448" y="1242"/>
                  </a:cubicBezTo>
                  <a:cubicBezTo>
                    <a:pt x="455" y="1242"/>
                    <a:pt x="455" y="1242"/>
                    <a:pt x="455" y="1242"/>
                  </a:cubicBezTo>
                  <a:cubicBezTo>
                    <a:pt x="455" y="1235"/>
                    <a:pt x="455" y="1235"/>
                    <a:pt x="455" y="1235"/>
                  </a:cubicBezTo>
                  <a:moveTo>
                    <a:pt x="470" y="1235"/>
                  </a:moveTo>
                  <a:cubicBezTo>
                    <a:pt x="463" y="1235"/>
                    <a:pt x="463" y="1235"/>
                    <a:pt x="463" y="1235"/>
                  </a:cubicBezTo>
                  <a:cubicBezTo>
                    <a:pt x="463" y="1242"/>
                    <a:pt x="463" y="1242"/>
                    <a:pt x="463" y="1242"/>
                  </a:cubicBezTo>
                  <a:cubicBezTo>
                    <a:pt x="470" y="1242"/>
                    <a:pt x="470" y="1242"/>
                    <a:pt x="470" y="1242"/>
                  </a:cubicBezTo>
                  <a:cubicBezTo>
                    <a:pt x="470" y="1235"/>
                    <a:pt x="470" y="1235"/>
                    <a:pt x="470" y="1235"/>
                  </a:cubicBezTo>
                  <a:moveTo>
                    <a:pt x="485" y="1235"/>
                  </a:moveTo>
                  <a:cubicBezTo>
                    <a:pt x="478" y="1235"/>
                    <a:pt x="478" y="1235"/>
                    <a:pt x="478" y="1235"/>
                  </a:cubicBezTo>
                  <a:cubicBezTo>
                    <a:pt x="478" y="1242"/>
                    <a:pt x="478" y="1242"/>
                    <a:pt x="478" y="1242"/>
                  </a:cubicBezTo>
                  <a:cubicBezTo>
                    <a:pt x="485" y="1242"/>
                    <a:pt x="485" y="1242"/>
                    <a:pt x="485" y="1242"/>
                  </a:cubicBezTo>
                  <a:cubicBezTo>
                    <a:pt x="485" y="1235"/>
                    <a:pt x="485" y="1235"/>
                    <a:pt x="485" y="1235"/>
                  </a:cubicBezTo>
                  <a:moveTo>
                    <a:pt x="499" y="1235"/>
                  </a:moveTo>
                  <a:cubicBezTo>
                    <a:pt x="492" y="1235"/>
                    <a:pt x="492" y="1235"/>
                    <a:pt x="492" y="1235"/>
                  </a:cubicBezTo>
                  <a:cubicBezTo>
                    <a:pt x="492" y="1242"/>
                    <a:pt x="492" y="1242"/>
                    <a:pt x="492" y="1242"/>
                  </a:cubicBezTo>
                  <a:cubicBezTo>
                    <a:pt x="499" y="1242"/>
                    <a:pt x="499" y="1242"/>
                    <a:pt x="499" y="1242"/>
                  </a:cubicBezTo>
                  <a:cubicBezTo>
                    <a:pt x="499" y="1235"/>
                    <a:pt x="499" y="1235"/>
                    <a:pt x="499" y="1235"/>
                  </a:cubicBezTo>
                  <a:moveTo>
                    <a:pt x="514" y="1235"/>
                  </a:moveTo>
                  <a:cubicBezTo>
                    <a:pt x="507" y="1235"/>
                    <a:pt x="507" y="1235"/>
                    <a:pt x="507" y="1235"/>
                  </a:cubicBezTo>
                  <a:cubicBezTo>
                    <a:pt x="507" y="1242"/>
                    <a:pt x="507" y="1242"/>
                    <a:pt x="507" y="1242"/>
                  </a:cubicBezTo>
                  <a:cubicBezTo>
                    <a:pt x="514" y="1242"/>
                    <a:pt x="514" y="1242"/>
                    <a:pt x="514" y="1242"/>
                  </a:cubicBezTo>
                  <a:cubicBezTo>
                    <a:pt x="514" y="1235"/>
                    <a:pt x="514" y="1235"/>
                    <a:pt x="514" y="1235"/>
                  </a:cubicBezTo>
                  <a:moveTo>
                    <a:pt x="529" y="1235"/>
                  </a:moveTo>
                  <a:cubicBezTo>
                    <a:pt x="522" y="1235"/>
                    <a:pt x="522" y="1235"/>
                    <a:pt x="522" y="1235"/>
                  </a:cubicBezTo>
                  <a:cubicBezTo>
                    <a:pt x="522" y="1242"/>
                    <a:pt x="522" y="1242"/>
                    <a:pt x="522" y="1242"/>
                  </a:cubicBezTo>
                  <a:cubicBezTo>
                    <a:pt x="529" y="1242"/>
                    <a:pt x="529" y="1242"/>
                    <a:pt x="529" y="1242"/>
                  </a:cubicBezTo>
                  <a:cubicBezTo>
                    <a:pt x="529" y="1235"/>
                    <a:pt x="529" y="1235"/>
                    <a:pt x="529" y="1235"/>
                  </a:cubicBezTo>
                  <a:moveTo>
                    <a:pt x="544" y="1235"/>
                  </a:moveTo>
                  <a:cubicBezTo>
                    <a:pt x="537" y="1235"/>
                    <a:pt x="537" y="1235"/>
                    <a:pt x="537" y="1235"/>
                  </a:cubicBezTo>
                  <a:cubicBezTo>
                    <a:pt x="537" y="1242"/>
                    <a:pt x="537" y="1242"/>
                    <a:pt x="537" y="1242"/>
                  </a:cubicBezTo>
                  <a:cubicBezTo>
                    <a:pt x="544" y="1242"/>
                    <a:pt x="544" y="1242"/>
                    <a:pt x="544" y="1242"/>
                  </a:cubicBezTo>
                  <a:cubicBezTo>
                    <a:pt x="544" y="1235"/>
                    <a:pt x="544" y="1235"/>
                    <a:pt x="544" y="1235"/>
                  </a:cubicBezTo>
                  <a:moveTo>
                    <a:pt x="558" y="1235"/>
                  </a:moveTo>
                  <a:cubicBezTo>
                    <a:pt x="551" y="1235"/>
                    <a:pt x="551" y="1235"/>
                    <a:pt x="551" y="1235"/>
                  </a:cubicBezTo>
                  <a:cubicBezTo>
                    <a:pt x="551" y="1242"/>
                    <a:pt x="551" y="1242"/>
                    <a:pt x="551" y="1242"/>
                  </a:cubicBezTo>
                  <a:cubicBezTo>
                    <a:pt x="558" y="1242"/>
                    <a:pt x="558" y="1242"/>
                    <a:pt x="558" y="1242"/>
                  </a:cubicBezTo>
                  <a:cubicBezTo>
                    <a:pt x="558" y="1235"/>
                    <a:pt x="558" y="1235"/>
                    <a:pt x="558" y="1235"/>
                  </a:cubicBezTo>
                  <a:moveTo>
                    <a:pt x="190" y="1220"/>
                  </a:moveTo>
                  <a:cubicBezTo>
                    <a:pt x="183" y="1220"/>
                    <a:pt x="183" y="1220"/>
                    <a:pt x="183" y="1220"/>
                  </a:cubicBezTo>
                  <a:cubicBezTo>
                    <a:pt x="183" y="1227"/>
                    <a:pt x="183" y="1227"/>
                    <a:pt x="183" y="1227"/>
                  </a:cubicBezTo>
                  <a:cubicBezTo>
                    <a:pt x="190" y="1227"/>
                    <a:pt x="190" y="1227"/>
                    <a:pt x="190" y="1227"/>
                  </a:cubicBezTo>
                  <a:cubicBezTo>
                    <a:pt x="190" y="1220"/>
                    <a:pt x="190" y="1220"/>
                    <a:pt x="190" y="1220"/>
                  </a:cubicBezTo>
                  <a:moveTo>
                    <a:pt x="204" y="1220"/>
                  </a:moveTo>
                  <a:cubicBezTo>
                    <a:pt x="197" y="1220"/>
                    <a:pt x="197" y="1220"/>
                    <a:pt x="197" y="1220"/>
                  </a:cubicBezTo>
                  <a:cubicBezTo>
                    <a:pt x="197" y="1227"/>
                    <a:pt x="197" y="1227"/>
                    <a:pt x="197" y="1227"/>
                  </a:cubicBezTo>
                  <a:cubicBezTo>
                    <a:pt x="204" y="1227"/>
                    <a:pt x="204" y="1227"/>
                    <a:pt x="204" y="1227"/>
                  </a:cubicBezTo>
                  <a:cubicBezTo>
                    <a:pt x="204" y="1220"/>
                    <a:pt x="204" y="1220"/>
                    <a:pt x="204" y="1220"/>
                  </a:cubicBezTo>
                  <a:moveTo>
                    <a:pt x="219" y="1220"/>
                  </a:moveTo>
                  <a:cubicBezTo>
                    <a:pt x="212" y="1220"/>
                    <a:pt x="212" y="1220"/>
                    <a:pt x="212" y="1220"/>
                  </a:cubicBezTo>
                  <a:cubicBezTo>
                    <a:pt x="212" y="1227"/>
                    <a:pt x="212" y="1227"/>
                    <a:pt x="212" y="1227"/>
                  </a:cubicBezTo>
                  <a:cubicBezTo>
                    <a:pt x="219" y="1227"/>
                    <a:pt x="219" y="1227"/>
                    <a:pt x="219" y="1227"/>
                  </a:cubicBezTo>
                  <a:cubicBezTo>
                    <a:pt x="219" y="1220"/>
                    <a:pt x="219" y="1220"/>
                    <a:pt x="219" y="1220"/>
                  </a:cubicBezTo>
                  <a:moveTo>
                    <a:pt x="234" y="1220"/>
                  </a:moveTo>
                  <a:cubicBezTo>
                    <a:pt x="227" y="1220"/>
                    <a:pt x="227" y="1220"/>
                    <a:pt x="227" y="1220"/>
                  </a:cubicBezTo>
                  <a:cubicBezTo>
                    <a:pt x="227" y="1227"/>
                    <a:pt x="227" y="1227"/>
                    <a:pt x="227" y="1227"/>
                  </a:cubicBezTo>
                  <a:cubicBezTo>
                    <a:pt x="234" y="1227"/>
                    <a:pt x="234" y="1227"/>
                    <a:pt x="234" y="1227"/>
                  </a:cubicBezTo>
                  <a:cubicBezTo>
                    <a:pt x="234" y="1220"/>
                    <a:pt x="234" y="1220"/>
                    <a:pt x="234" y="1220"/>
                  </a:cubicBezTo>
                  <a:moveTo>
                    <a:pt x="249" y="1220"/>
                  </a:moveTo>
                  <a:cubicBezTo>
                    <a:pt x="242" y="1220"/>
                    <a:pt x="242" y="1220"/>
                    <a:pt x="242" y="1220"/>
                  </a:cubicBezTo>
                  <a:cubicBezTo>
                    <a:pt x="242" y="1227"/>
                    <a:pt x="242" y="1227"/>
                    <a:pt x="242" y="1227"/>
                  </a:cubicBezTo>
                  <a:cubicBezTo>
                    <a:pt x="249" y="1227"/>
                    <a:pt x="249" y="1227"/>
                    <a:pt x="249" y="1227"/>
                  </a:cubicBezTo>
                  <a:cubicBezTo>
                    <a:pt x="249" y="1220"/>
                    <a:pt x="249" y="1220"/>
                    <a:pt x="249" y="1220"/>
                  </a:cubicBezTo>
                  <a:moveTo>
                    <a:pt x="263" y="1220"/>
                  </a:moveTo>
                  <a:cubicBezTo>
                    <a:pt x="256" y="1220"/>
                    <a:pt x="256" y="1220"/>
                    <a:pt x="256" y="1220"/>
                  </a:cubicBezTo>
                  <a:cubicBezTo>
                    <a:pt x="256" y="1227"/>
                    <a:pt x="256" y="1227"/>
                    <a:pt x="256" y="1227"/>
                  </a:cubicBezTo>
                  <a:cubicBezTo>
                    <a:pt x="263" y="1227"/>
                    <a:pt x="263" y="1227"/>
                    <a:pt x="263" y="1227"/>
                  </a:cubicBezTo>
                  <a:cubicBezTo>
                    <a:pt x="263" y="1220"/>
                    <a:pt x="263" y="1220"/>
                    <a:pt x="263" y="1220"/>
                  </a:cubicBezTo>
                  <a:moveTo>
                    <a:pt x="278" y="1220"/>
                  </a:moveTo>
                  <a:cubicBezTo>
                    <a:pt x="271" y="1220"/>
                    <a:pt x="271" y="1220"/>
                    <a:pt x="271" y="1220"/>
                  </a:cubicBezTo>
                  <a:cubicBezTo>
                    <a:pt x="271" y="1227"/>
                    <a:pt x="271" y="1227"/>
                    <a:pt x="271" y="1227"/>
                  </a:cubicBezTo>
                  <a:cubicBezTo>
                    <a:pt x="278" y="1227"/>
                    <a:pt x="278" y="1227"/>
                    <a:pt x="278" y="1227"/>
                  </a:cubicBezTo>
                  <a:cubicBezTo>
                    <a:pt x="278" y="1220"/>
                    <a:pt x="278" y="1220"/>
                    <a:pt x="278" y="1220"/>
                  </a:cubicBezTo>
                  <a:moveTo>
                    <a:pt x="293" y="1220"/>
                  </a:moveTo>
                  <a:cubicBezTo>
                    <a:pt x="286" y="1220"/>
                    <a:pt x="286" y="1220"/>
                    <a:pt x="286" y="1220"/>
                  </a:cubicBezTo>
                  <a:cubicBezTo>
                    <a:pt x="286" y="1227"/>
                    <a:pt x="286" y="1227"/>
                    <a:pt x="286" y="1227"/>
                  </a:cubicBezTo>
                  <a:cubicBezTo>
                    <a:pt x="293" y="1227"/>
                    <a:pt x="293" y="1227"/>
                    <a:pt x="293" y="1227"/>
                  </a:cubicBezTo>
                  <a:cubicBezTo>
                    <a:pt x="293" y="1220"/>
                    <a:pt x="293" y="1220"/>
                    <a:pt x="293" y="1220"/>
                  </a:cubicBezTo>
                  <a:moveTo>
                    <a:pt x="308" y="1220"/>
                  </a:moveTo>
                  <a:cubicBezTo>
                    <a:pt x="301" y="1220"/>
                    <a:pt x="301" y="1220"/>
                    <a:pt x="301" y="1220"/>
                  </a:cubicBezTo>
                  <a:cubicBezTo>
                    <a:pt x="301" y="1227"/>
                    <a:pt x="301" y="1227"/>
                    <a:pt x="301" y="1227"/>
                  </a:cubicBezTo>
                  <a:cubicBezTo>
                    <a:pt x="308" y="1227"/>
                    <a:pt x="308" y="1227"/>
                    <a:pt x="308" y="1227"/>
                  </a:cubicBezTo>
                  <a:cubicBezTo>
                    <a:pt x="308" y="1220"/>
                    <a:pt x="308" y="1220"/>
                    <a:pt x="308" y="1220"/>
                  </a:cubicBezTo>
                  <a:moveTo>
                    <a:pt x="322" y="1220"/>
                  </a:moveTo>
                  <a:cubicBezTo>
                    <a:pt x="315" y="1220"/>
                    <a:pt x="315" y="1220"/>
                    <a:pt x="315" y="1220"/>
                  </a:cubicBezTo>
                  <a:cubicBezTo>
                    <a:pt x="315" y="1227"/>
                    <a:pt x="315" y="1227"/>
                    <a:pt x="315" y="1227"/>
                  </a:cubicBezTo>
                  <a:cubicBezTo>
                    <a:pt x="322" y="1227"/>
                    <a:pt x="322" y="1227"/>
                    <a:pt x="322" y="1227"/>
                  </a:cubicBezTo>
                  <a:cubicBezTo>
                    <a:pt x="322" y="1220"/>
                    <a:pt x="322" y="1220"/>
                    <a:pt x="322" y="1220"/>
                  </a:cubicBezTo>
                  <a:moveTo>
                    <a:pt x="337" y="1220"/>
                  </a:moveTo>
                  <a:cubicBezTo>
                    <a:pt x="330" y="1220"/>
                    <a:pt x="330" y="1220"/>
                    <a:pt x="330" y="1220"/>
                  </a:cubicBezTo>
                  <a:cubicBezTo>
                    <a:pt x="330" y="1227"/>
                    <a:pt x="330" y="1227"/>
                    <a:pt x="330" y="1227"/>
                  </a:cubicBezTo>
                  <a:cubicBezTo>
                    <a:pt x="337" y="1227"/>
                    <a:pt x="337" y="1227"/>
                    <a:pt x="337" y="1227"/>
                  </a:cubicBezTo>
                  <a:cubicBezTo>
                    <a:pt x="337" y="1220"/>
                    <a:pt x="337" y="1220"/>
                    <a:pt x="337" y="1220"/>
                  </a:cubicBezTo>
                  <a:moveTo>
                    <a:pt x="352" y="1220"/>
                  </a:moveTo>
                  <a:cubicBezTo>
                    <a:pt x="345" y="1220"/>
                    <a:pt x="345" y="1220"/>
                    <a:pt x="345" y="1220"/>
                  </a:cubicBezTo>
                  <a:cubicBezTo>
                    <a:pt x="345" y="1227"/>
                    <a:pt x="345" y="1227"/>
                    <a:pt x="345" y="1227"/>
                  </a:cubicBezTo>
                  <a:cubicBezTo>
                    <a:pt x="352" y="1227"/>
                    <a:pt x="352" y="1227"/>
                    <a:pt x="352" y="1227"/>
                  </a:cubicBezTo>
                  <a:cubicBezTo>
                    <a:pt x="352" y="1220"/>
                    <a:pt x="352" y="1220"/>
                    <a:pt x="352" y="1220"/>
                  </a:cubicBezTo>
                  <a:moveTo>
                    <a:pt x="367" y="1220"/>
                  </a:moveTo>
                  <a:cubicBezTo>
                    <a:pt x="360" y="1220"/>
                    <a:pt x="360" y="1220"/>
                    <a:pt x="360" y="1220"/>
                  </a:cubicBezTo>
                  <a:cubicBezTo>
                    <a:pt x="360" y="1227"/>
                    <a:pt x="360" y="1227"/>
                    <a:pt x="360" y="1227"/>
                  </a:cubicBezTo>
                  <a:cubicBezTo>
                    <a:pt x="367" y="1227"/>
                    <a:pt x="367" y="1227"/>
                    <a:pt x="367" y="1227"/>
                  </a:cubicBezTo>
                  <a:cubicBezTo>
                    <a:pt x="367" y="1220"/>
                    <a:pt x="367" y="1220"/>
                    <a:pt x="367" y="1220"/>
                  </a:cubicBezTo>
                  <a:moveTo>
                    <a:pt x="381" y="1220"/>
                  </a:moveTo>
                  <a:cubicBezTo>
                    <a:pt x="374" y="1220"/>
                    <a:pt x="374" y="1220"/>
                    <a:pt x="374" y="1220"/>
                  </a:cubicBezTo>
                  <a:cubicBezTo>
                    <a:pt x="374" y="1227"/>
                    <a:pt x="374" y="1227"/>
                    <a:pt x="374" y="1227"/>
                  </a:cubicBezTo>
                  <a:cubicBezTo>
                    <a:pt x="381" y="1227"/>
                    <a:pt x="381" y="1227"/>
                    <a:pt x="381" y="1227"/>
                  </a:cubicBezTo>
                  <a:cubicBezTo>
                    <a:pt x="381" y="1220"/>
                    <a:pt x="381" y="1220"/>
                    <a:pt x="381" y="1220"/>
                  </a:cubicBezTo>
                  <a:moveTo>
                    <a:pt x="396" y="1220"/>
                  </a:moveTo>
                  <a:cubicBezTo>
                    <a:pt x="389" y="1220"/>
                    <a:pt x="389" y="1220"/>
                    <a:pt x="389" y="1220"/>
                  </a:cubicBezTo>
                  <a:cubicBezTo>
                    <a:pt x="389" y="1227"/>
                    <a:pt x="389" y="1227"/>
                    <a:pt x="389" y="1227"/>
                  </a:cubicBezTo>
                  <a:cubicBezTo>
                    <a:pt x="396" y="1227"/>
                    <a:pt x="396" y="1227"/>
                    <a:pt x="396" y="1227"/>
                  </a:cubicBezTo>
                  <a:cubicBezTo>
                    <a:pt x="396" y="1220"/>
                    <a:pt x="396" y="1220"/>
                    <a:pt x="396" y="1220"/>
                  </a:cubicBezTo>
                  <a:moveTo>
                    <a:pt x="411" y="1220"/>
                  </a:moveTo>
                  <a:cubicBezTo>
                    <a:pt x="404" y="1220"/>
                    <a:pt x="404" y="1220"/>
                    <a:pt x="404" y="1220"/>
                  </a:cubicBezTo>
                  <a:cubicBezTo>
                    <a:pt x="404" y="1227"/>
                    <a:pt x="404" y="1227"/>
                    <a:pt x="404" y="1227"/>
                  </a:cubicBezTo>
                  <a:cubicBezTo>
                    <a:pt x="411" y="1227"/>
                    <a:pt x="411" y="1227"/>
                    <a:pt x="411" y="1227"/>
                  </a:cubicBezTo>
                  <a:cubicBezTo>
                    <a:pt x="411" y="1220"/>
                    <a:pt x="411" y="1220"/>
                    <a:pt x="411" y="1220"/>
                  </a:cubicBezTo>
                  <a:moveTo>
                    <a:pt x="426" y="1220"/>
                  </a:moveTo>
                  <a:cubicBezTo>
                    <a:pt x="419" y="1220"/>
                    <a:pt x="419" y="1220"/>
                    <a:pt x="419" y="1220"/>
                  </a:cubicBezTo>
                  <a:cubicBezTo>
                    <a:pt x="419" y="1227"/>
                    <a:pt x="419" y="1227"/>
                    <a:pt x="419" y="1227"/>
                  </a:cubicBezTo>
                  <a:cubicBezTo>
                    <a:pt x="426" y="1227"/>
                    <a:pt x="426" y="1227"/>
                    <a:pt x="426" y="1227"/>
                  </a:cubicBezTo>
                  <a:cubicBezTo>
                    <a:pt x="426" y="1220"/>
                    <a:pt x="426" y="1220"/>
                    <a:pt x="426" y="1220"/>
                  </a:cubicBezTo>
                  <a:moveTo>
                    <a:pt x="440" y="1220"/>
                  </a:moveTo>
                  <a:cubicBezTo>
                    <a:pt x="433" y="1220"/>
                    <a:pt x="433" y="1220"/>
                    <a:pt x="433" y="1220"/>
                  </a:cubicBezTo>
                  <a:cubicBezTo>
                    <a:pt x="433" y="1227"/>
                    <a:pt x="433" y="1227"/>
                    <a:pt x="433" y="1227"/>
                  </a:cubicBezTo>
                  <a:cubicBezTo>
                    <a:pt x="440" y="1227"/>
                    <a:pt x="440" y="1227"/>
                    <a:pt x="440" y="1227"/>
                  </a:cubicBezTo>
                  <a:cubicBezTo>
                    <a:pt x="440" y="1220"/>
                    <a:pt x="440" y="1220"/>
                    <a:pt x="440" y="1220"/>
                  </a:cubicBezTo>
                  <a:moveTo>
                    <a:pt x="455" y="1220"/>
                  </a:moveTo>
                  <a:cubicBezTo>
                    <a:pt x="448" y="1220"/>
                    <a:pt x="448" y="1220"/>
                    <a:pt x="448" y="1220"/>
                  </a:cubicBezTo>
                  <a:cubicBezTo>
                    <a:pt x="448" y="1227"/>
                    <a:pt x="448" y="1227"/>
                    <a:pt x="448" y="1227"/>
                  </a:cubicBezTo>
                  <a:cubicBezTo>
                    <a:pt x="455" y="1227"/>
                    <a:pt x="455" y="1227"/>
                    <a:pt x="455" y="1227"/>
                  </a:cubicBezTo>
                  <a:cubicBezTo>
                    <a:pt x="455" y="1220"/>
                    <a:pt x="455" y="1220"/>
                    <a:pt x="455" y="1220"/>
                  </a:cubicBezTo>
                  <a:moveTo>
                    <a:pt x="470" y="1220"/>
                  </a:moveTo>
                  <a:cubicBezTo>
                    <a:pt x="463" y="1220"/>
                    <a:pt x="463" y="1220"/>
                    <a:pt x="463" y="1220"/>
                  </a:cubicBezTo>
                  <a:cubicBezTo>
                    <a:pt x="463" y="1227"/>
                    <a:pt x="463" y="1227"/>
                    <a:pt x="463" y="1227"/>
                  </a:cubicBezTo>
                  <a:cubicBezTo>
                    <a:pt x="470" y="1227"/>
                    <a:pt x="470" y="1227"/>
                    <a:pt x="470" y="1227"/>
                  </a:cubicBezTo>
                  <a:cubicBezTo>
                    <a:pt x="470" y="1220"/>
                    <a:pt x="470" y="1220"/>
                    <a:pt x="470" y="1220"/>
                  </a:cubicBezTo>
                  <a:moveTo>
                    <a:pt x="485" y="1220"/>
                  </a:moveTo>
                  <a:cubicBezTo>
                    <a:pt x="478" y="1220"/>
                    <a:pt x="478" y="1220"/>
                    <a:pt x="478" y="1220"/>
                  </a:cubicBezTo>
                  <a:cubicBezTo>
                    <a:pt x="478" y="1227"/>
                    <a:pt x="478" y="1227"/>
                    <a:pt x="478" y="1227"/>
                  </a:cubicBezTo>
                  <a:cubicBezTo>
                    <a:pt x="485" y="1227"/>
                    <a:pt x="485" y="1227"/>
                    <a:pt x="485" y="1227"/>
                  </a:cubicBezTo>
                  <a:cubicBezTo>
                    <a:pt x="485" y="1220"/>
                    <a:pt x="485" y="1220"/>
                    <a:pt x="485" y="1220"/>
                  </a:cubicBezTo>
                  <a:moveTo>
                    <a:pt x="499" y="1220"/>
                  </a:moveTo>
                  <a:cubicBezTo>
                    <a:pt x="492" y="1220"/>
                    <a:pt x="492" y="1220"/>
                    <a:pt x="492" y="1220"/>
                  </a:cubicBezTo>
                  <a:cubicBezTo>
                    <a:pt x="492" y="1227"/>
                    <a:pt x="492" y="1227"/>
                    <a:pt x="492" y="1227"/>
                  </a:cubicBezTo>
                  <a:cubicBezTo>
                    <a:pt x="499" y="1227"/>
                    <a:pt x="499" y="1227"/>
                    <a:pt x="499" y="1227"/>
                  </a:cubicBezTo>
                  <a:cubicBezTo>
                    <a:pt x="499" y="1220"/>
                    <a:pt x="499" y="1220"/>
                    <a:pt x="499" y="1220"/>
                  </a:cubicBezTo>
                  <a:moveTo>
                    <a:pt x="514" y="1220"/>
                  </a:moveTo>
                  <a:cubicBezTo>
                    <a:pt x="507" y="1220"/>
                    <a:pt x="507" y="1220"/>
                    <a:pt x="507" y="1220"/>
                  </a:cubicBezTo>
                  <a:cubicBezTo>
                    <a:pt x="507" y="1227"/>
                    <a:pt x="507" y="1227"/>
                    <a:pt x="507" y="1227"/>
                  </a:cubicBezTo>
                  <a:cubicBezTo>
                    <a:pt x="514" y="1227"/>
                    <a:pt x="514" y="1227"/>
                    <a:pt x="514" y="1227"/>
                  </a:cubicBezTo>
                  <a:cubicBezTo>
                    <a:pt x="514" y="1220"/>
                    <a:pt x="514" y="1220"/>
                    <a:pt x="514" y="1220"/>
                  </a:cubicBezTo>
                  <a:moveTo>
                    <a:pt x="529" y="1220"/>
                  </a:moveTo>
                  <a:cubicBezTo>
                    <a:pt x="522" y="1220"/>
                    <a:pt x="522" y="1220"/>
                    <a:pt x="522" y="1220"/>
                  </a:cubicBezTo>
                  <a:cubicBezTo>
                    <a:pt x="522" y="1227"/>
                    <a:pt x="522" y="1227"/>
                    <a:pt x="522" y="1227"/>
                  </a:cubicBezTo>
                  <a:cubicBezTo>
                    <a:pt x="529" y="1227"/>
                    <a:pt x="529" y="1227"/>
                    <a:pt x="529" y="1227"/>
                  </a:cubicBezTo>
                  <a:cubicBezTo>
                    <a:pt x="529" y="1220"/>
                    <a:pt x="529" y="1220"/>
                    <a:pt x="529" y="1220"/>
                  </a:cubicBezTo>
                  <a:moveTo>
                    <a:pt x="544" y="1220"/>
                  </a:moveTo>
                  <a:cubicBezTo>
                    <a:pt x="537" y="1220"/>
                    <a:pt x="537" y="1220"/>
                    <a:pt x="537" y="1220"/>
                  </a:cubicBezTo>
                  <a:cubicBezTo>
                    <a:pt x="537" y="1227"/>
                    <a:pt x="537" y="1227"/>
                    <a:pt x="537" y="1227"/>
                  </a:cubicBezTo>
                  <a:cubicBezTo>
                    <a:pt x="544" y="1227"/>
                    <a:pt x="544" y="1227"/>
                    <a:pt x="544" y="1227"/>
                  </a:cubicBezTo>
                  <a:cubicBezTo>
                    <a:pt x="544" y="1220"/>
                    <a:pt x="544" y="1220"/>
                    <a:pt x="544" y="1220"/>
                  </a:cubicBezTo>
                  <a:moveTo>
                    <a:pt x="558" y="1220"/>
                  </a:moveTo>
                  <a:cubicBezTo>
                    <a:pt x="551" y="1220"/>
                    <a:pt x="551" y="1220"/>
                    <a:pt x="551" y="1220"/>
                  </a:cubicBezTo>
                  <a:cubicBezTo>
                    <a:pt x="551" y="1227"/>
                    <a:pt x="551" y="1227"/>
                    <a:pt x="551" y="1227"/>
                  </a:cubicBezTo>
                  <a:cubicBezTo>
                    <a:pt x="558" y="1227"/>
                    <a:pt x="558" y="1227"/>
                    <a:pt x="558" y="1227"/>
                  </a:cubicBezTo>
                  <a:cubicBezTo>
                    <a:pt x="558" y="1220"/>
                    <a:pt x="558" y="1220"/>
                    <a:pt x="558" y="1220"/>
                  </a:cubicBezTo>
                  <a:moveTo>
                    <a:pt x="190" y="1205"/>
                  </a:moveTo>
                  <a:cubicBezTo>
                    <a:pt x="183" y="1205"/>
                    <a:pt x="183" y="1205"/>
                    <a:pt x="183" y="1205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90" y="1212"/>
                    <a:pt x="190" y="1212"/>
                    <a:pt x="190" y="1212"/>
                  </a:cubicBezTo>
                  <a:cubicBezTo>
                    <a:pt x="190" y="1205"/>
                    <a:pt x="190" y="1205"/>
                    <a:pt x="190" y="1205"/>
                  </a:cubicBezTo>
                  <a:moveTo>
                    <a:pt x="204" y="1205"/>
                  </a:moveTo>
                  <a:cubicBezTo>
                    <a:pt x="197" y="1205"/>
                    <a:pt x="197" y="1205"/>
                    <a:pt x="197" y="1205"/>
                  </a:cubicBezTo>
                  <a:cubicBezTo>
                    <a:pt x="197" y="1212"/>
                    <a:pt x="197" y="1212"/>
                    <a:pt x="197" y="1212"/>
                  </a:cubicBezTo>
                  <a:cubicBezTo>
                    <a:pt x="204" y="1212"/>
                    <a:pt x="204" y="1212"/>
                    <a:pt x="204" y="1212"/>
                  </a:cubicBezTo>
                  <a:cubicBezTo>
                    <a:pt x="204" y="1205"/>
                    <a:pt x="204" y="1205"/>
                    <a:pt x="204" y="1205"/>
                  </a:cubicBezTo>
                  <a:moveTo>
                    <a:pt x="219" y="1205"/>
                  </a:moveTo>
                  <a:cubicBezTo>
                    <a:pt x="212" y="1205"/>
                    <a:pt x="212" y="1205"/>
                    <a:pt x="212" y="1205"/>
                  </a:cubicBezTo>
                  <a:cubicBezTo>
                    <a:pt x="212" y="1212"/>
                    <a:pt x="212" y="1212"/>
                    <a:pt x="212" y="1212"/>
                  </a:cubicBezTo>
                  <a:cubicBezTo>
                    <a:pt x="219" y="1212"/>
                    <a:pt x="219" y="1212"/>
                    <a:pt x="219" y="1212"/>
                  </a:cubicBezTo>
                  <a:cubicBezTo>
                    <a:pt x="219" y="1205"/>
                    <a:pt x="219" y="1205"/>
                    <a:pt x="219" y="1205"/>
                  </a:cubicBezTo>
                  <a:moveTo>
                    <a:pt x="234" y="1205"/>
                  </a:moveTo>
                  <a:cubicBezTo>
                    <a:pt x="227" y="1205"/>
                    <a:pt x="227" y="1205"/>
                    <a:pt x="227" y="1205"/>
                  </a:cubicBezTo>
                  <a:cubicBezTo>
                    <a:pt x="227" y="1212"/>
                    <a:pt x="227" y="1212"/>
                    <a:pt x="227" y="1212"/>
                  </a:cubicBezTo>
                  <a:cubicBezTo>
                    <a:pt x="234" y="1212"/>
                    <a:pt x="234" y="1212"/>
                    <a:pt x="234" y="1212"/>
                  </a:cubicBezTo>
                  <a:cubicBezTo>
                    <a:pt x="234" y="1205"/>
                    <a:pt x="234" y="1205"/>
                    <a:pt x="234" y="1205"/>
                  </a:cubicBezTo>
                  <a:moveTo>
                    <a:pt x="249" y="1205"/>
                  </a:moveTo>
                  <a:cubicBezTo>
                    <a:pt x="242" y="1205"/>
                    <a:pt x="242" y="1205"/>
                    <a:pt x="242" y="1205"/>
                  </a:cubicBezTo>
                  <a:cubicBezTo>
                    <a:pt x="242" y="1212"/>
                    <a:pt x="242" y="1212"/>
                    <a:pt x="242" y="1212"/>
                  </a:cubicBezTo>
                  <a:cubicBezTo>
                    <a:pt x="249" y="1212"/>
                    <a:pt x="249" y="1212"/>
                    <a:pt x="249" y="1212"/>
                  </a:cubicBezTo>
                  <a:cubicBezTo>
                    <a:pt x="249" y="1205"/>
                    <a:pt x="249" y="1205"/>
                    <a:pt x="249" y="1205"/>
                  </a:cubicBezTo>
                  <a:moveTo>
                    <a:pt x="263" y="1205"/>
                  </a:moveTo>
                  <a:cubicBezTo>
                    <a:pt x="256" y="1205"/>
                    <a:pt x="256" y="1205"/>
                    <a:pt x="256" y="1205"/>
                  </a:cubicBezTo>
                  <a:cubicBezTo>
                    <a:pt x="256" y="1212"/>
                    <a:pt x="256" y="1212"/>
                    <a:pt x="256" y="1212"/>
                  </a:cubicBezTo>
                  <a:cubicBezTo>
                    <a:pt x="263" y="1212"/>
                    <a:pt x="263" y="1212"/>
                    <a:pt x="263" y="1212"/>
                  </a:cubicBezTo>
                  <a:cubicBezTo>
                    <a:pt x="263" y="1205"/>
                    <a:pt x="263" y="1205"/>
                    <a:pt x="263" y="1205"/>
                  </a:cubicBezTo>
                  <a:moveTo>
                    <a:pt x="278" y="1205"/>
                  </a:moveTo>
                  <a:cubicBezTo>
                    <a:pt x="271" y="1205"/>
                    <a:pt x="271" y="1205"/>
                    <a:pt x="271" y="1205"/>
                  </a:cubicBezTo>
                  <a:cubicBezTo>
                    <a:pt x="271" y="1212"/>
                    <a:pt x="271" y="1212"/>
                    <a:pt x="271" y="1212"/>
                  </a:cubicBezTo>
                  <a:cubicBezTo>
                    <a:pt x="278" y="1212"/>
                    <a:pt x="278" y="1212"/>
                    <a:pt x="278" y="1212"/>
                  </a:cubicBezTo>
                  <a:cubicBezTo>
                    <a:pt x="278" y="1205"/>
                    <a:pt x="278" y="1205"/>
                    <a:pt x="278" y="1205"/>
                  </a:cubicBezTo>
                  <a:moveTo>
                    <a:pt x="293" y="1205"/>
                  </a:moveTo>
                  <a:cubicBezTo>
                    <a:pt x="286" y="1205"/>
                    <a:pt x="286" y="1205"/>
                    <a:pt x="286" y="1205"/>
                  </a:cubicBezTo>
                  <a:cubicBezTo>
                    <a:pt x="286" y="1212"/>
                    <a:pt x="286" y="1212"/>
                    <a:pt x="286" y="1212"/>
                  </a:cubicBezTo>
                  <a:cubicBezTo>
                    <a:pt x="293" y="1212"/>
                    <a:pt x="293" y="1212"/>
                    <a:pt x="293" y="1212"/>
                  </a:cubicBezTo>
                  <a:cubicBezTo>
                    <a:pt x="293" y="1205"/>
                    <a:pt x="293" y="1205"/>
                    <a:pt x="293" y="1205"/>
                  </a:cubicBezTo>
                  <a:moveTo>
                    <a:pt x="308" y="1205"/>
                  </a:moveTo>
                  <a:cubicBezTo>
                    <a:pt x="301" y="1205"/>
                    <a:pt x="301" y="1205"/>
                    <a:pt x="301" y="1205"/>
                  </a:cubicBezTo>
                  <a:cubicBezTo>
                    <a:pt x="301" y="1212"/>
                    <a:pt x="301" y="1212"/>
                    <a:pt x="301" y="1212"/>
                  </a:cubicBezTo>
                  <a:cubicBezTo>
                    <a:pt x="308" y="1212"/>
                    <a:pt x="308" y="1212"/>
                    <a:pt x="308" y="1212"/>
                  </a:cubicBezTo>
                  <a:cubicBezTo>
                    <a:pt x="308" y="1205"/>
                    <a:pt x="308" y="1205"/>
                    <a:pt x="308" y="1205"/>
                  </a:cubicBezTo>
                  <a:moveTo>
                    <a:pt x="322" y="1205"/>
                  </a:moveTo>
                  <a:cubicBezTo>
                    <a:pt x="315" y="1205"/>
                    <a:pt x="315" y="1205"/>
                    <a:pt x="315" y="1205"/>
                  </a:cubicBezTo>
                  <a:cubicBezTo>
                    <a:pt x="315" y="1212"/>
                    <a:pt x="315" y="1212"/>
                    <a:pt x="315" y="1212"/>
                  </a:cubicBezTo>
                  <a:cubicBezTo>
                    <a:pt x="322" y="1212"/>
                    <a:pt x="322" y="1212"/>
                    <a:pt x="322" y="1212"/>
                  </a:cubicBezTo>
                  <a:cubicBezTo>
                    <a:pt x="322" y="1205"/>
                    <a:pt x="322" y="1205"/>
                    <a:pt x="322" y="1205"/>
                  </a:cubicBezTo>
                  <a:moveTo>
                    <a:pt x="337" y="1205"/>
                  </a:moveTo>
                  <a:cubicBezTo>
                    <a:pt x="330" y="1205"/>
                    <a:pt x="330" y="1205"/>
                    <a:pt x="330" y="1205"/>
                  </a:cubicBezTo>
                  <a:cubicBezTo>
                    <a:pt x="330" y="1212"/>
                    <a:pt x="330" y="1212"/>
                    <a:pt x="330" y="1212"/>
                  </a:cubicBezTo>
                  <a:cubicBezTo>
                    <a:pt x="337" y="1212"/>
                    <a:pt x="337" y="1212"/>
                    <a:pt x="337" y="1212"/>
                  </a:cubicBezTo>
                  <a:cubicBezTo>
                    <a:pt x="337" y="1205"/>
                    <a:pt x="337" y="1205"/>
                    <a:pt x="337" y="1205"/>
                  </a:cubicBezTo>
                  <a:moveTo>
                    <a:pt x="352" y="1205"/>
                  </a:moveTo>
                  <a:cubicBezTo>
                    <a:pt x="345" y="1205"/>
                    <a:pt x="345" y="1205"/>
                    <a:pt x="345" y="1205"/>
                  </a:cubicBezTo>
                  <a:cubicBezTo>
                    <a:pt x="345" y="1212"/>
                    <a:pt x="345" y="1212"/>
                    <a:pt x="345" y="1212"/>
                  </a:cubicBezTo>
                  <a:cubicBezTo>
                    <a:pt x="352" y="1212"/>
                    <a:pt x="352" y="1212"/>
                    <a:pt x="352" y="1212"/>
                  </a:cubicBezTo>
                  <a:cubicBezTo>
                    <a:pt x="352" y="1205"/>
                    <a:pt x="352" y="1205"/>
                    <a:pt x="352" y="1205"/>
                  </a:cubicBezTo>
                  <a:moveTo>
                    <a:pt x="367" y="1205"/>
                  </a:moveTo>
                  <a:cubicBezTo>
                    <a:pt x="360" y="1205"/>
                    <a:pt x="360" y="1205"/>
                    <a:pt x="360" y="1205"/>
                  </a:cubicBezTo>
                  <a:cubicBezTo>
                    <a:pt x="360" y="1212"/>
                    <a:pt x="360" y="1212"/>
                    <a:pt x="360" y="1212"/>
                  </a:cubicBezTo>
                  <a:cubicBezTo>
                    <a:pt x="367" y="1212"/>
                    <a:pt x="367" y="1212"/>
                    <a:pt x="367" y="1212"/>
                  </a:cubicBezTo>
                  <a:cubicBezTo>
                    <a:pt x="367" y="1205"/>
                    <a:pt x="367" y="1205"/>
                    <a:pt x="367" y="1205"/>
                  </a:cubicBezTo>
                  <a:moveTo>
                    <a:pt x="381" y="1205"/>
                  </a:moveTo>
                  <a:cubicBezTo>
                    <a:pt x="374" y="1205"/>
                    <a:pt x="374" y="1205"/>
                    <a:pt x="374" y="1205"/>
                  </a:cubicBezTo>
                  <a:cubicBezTo>
                    <a:pt x="374" y="1212"/>
                    <a:pt x="374" y="1212"/>
                    <a:pt x="374" y="1212"/>
                  </a:cubicBezTo>
                  <a:cubicBezTo>
                    <a:pt x="381" y="1212"/>
                    <a:pt x="381" y="1212"/>
                    <a:pt x="381" y="1212"/>
                  </a:cubicBezTo>
                  <a:cubicBezTo>
                    <a:pt x="381" y="1205"/>
                    <a:pt x="381" y="1205"/>
                    <a:pt x="381" y="1205"/>
                  </a:cubicBezTo>
                  <a:moveTo>
                    <a:pt x="396" y="1205"/>
                  </a:moveTo>
                  <a:cubicBezTo>
                    <a:pt x="389" y="1205"/>
                    <a:pt x="389" y="1205"/>
                    <a:pt x="389" y="1205"/>
                  </a:cubicBezTo>
                  <a:cubicBezTo>
                    <a:pt x="389" y="1212"/>
                    <a:pt x="389" y="1212"/>
                    <a:pt x="389" y="1212"/>
                  </a:cubicBezTo>
                  <a:cubicBezTo>
                    <a:pt x="396" y="1212"/>
                    <a:pt x="396" y="1212"/>
                    <a:pt x="396" y="1212"/>
                  </a:cubicBezTo>
                  <a:cubicBezTo>
                    <a:pt x="396" y="1205"/>
                    <a:pt x="396" y="1205"/>
                    <a:pt x="396" y="1205"/>
                  </a:cubicBezTo>
                  <a:moveTo>
                    <a:pt x="411" y="1205"/>
                  </a:moveTo>
                  <a:cubicBezTo>
                    <a:pt x="404" y="1205"/>
                    <a:pt x="404" y="1205"/>
                    <a:pt x="404" y="1205"/>
                  </a:cubicBezTo>
                  <a:cubicBezTo>
                    <a:pt x="404" y="1212"/>
                    <a:pt x="404" y="1212"/>
                    <a:pt x="404" y="1212"/>
                  </a:cubicBezTo>
                  <a:cubicBezTo>
                    <a:pt x="411" y="1212"/>
                    <a:pt x="411" y="1212"/>
                    <a:pt x="411" y="1212"/>
                  </a:cubicBezTo>
                  <a:cubicBezTo>
                    <a:pt x="411" y="1205"/>
                    <a:pt x="411" y="1205"/>
                    <a:pt x="411" y="1205"/>
                  </a:cubicBezTo>
                  <a:moveTo>
                    <a:pt x="426" y="1205"/>
                  </a:moveTo>
                  <a:cubicBezTo>
                    <a:pt x="419" y="1205"/>
                    <a:pt x="419" y="1205"/>
                    <a:pt x="419" y="1205"/>
                  </a:cubicBezTo>
                  <a:cubicBezTo>
                    <a:pt x="419" y="1212"/>
                    <a:pt x="419" y="1212"/>
                    <a:pt x="419" y="1212"/>
                  </a:cubicBezTo>
                  <a:cubicBezTo>
                    <a:pt x="426" y="1212"/>
                    <a:pt x="426" y="1212"/>
                    <a:pt x="426" y="1212"/>
                  </a:cubicBezTo>
                  <a:cubicBezTo>
                    <a:pt x="426" y="1205"/>
                    <a:pt x="426" y="1205"/>
                    <a:pt x="426" y="1205"/>
                  </a:cubicBezTo>
                  <a:moveTo>
                    <a:pt x="440" y="1205"/>
                  </a:moveTo>
                  <a:cubicBezTo>
                    <a:pt x="433" y="1205"/>
                    <a:pt x="433" y="1205"/>
                    <a:pt x="433" y="1205"/>
                  </a:cubicBezTo>
                  <a:cubicBezTo>
                    <a:pt x="433" y="1212"/>
                    <a:pt x="433" y="1212"/>
                    <a:pt x="433" y="1212"/>
                  </a:cubicBezTo>
                  <a:cubicBezTo>
                    <a:pt x="440" y="1212"/>
                    <a:pt x="440" y="1212"/>
                    <a:pt x="440" y="1212"/>
                  </a:cubicBezTo>
                  <a:cubicBezTo>
                    <a:pt x="440" y="1205"/>
                    <a:pt x="440" y="1205"/>
                    <a:pt x="440" y="1205"/>
                  </a:cubicBezTo>
                  <a:moveTo>
                    <a:pt x="455" y="1205"/>
                  </a:moveTo>
                  <a:cubicBezTo>
                    <a:pt x="448" y="1205"/>
                    <a:pt x="448" y="1205"/>
                    <a:pt x="448" y="1205"/>
                  </a:cubicBezTo>
                  <a:cubicBezTo>
                    <a:pt x="448" y="1212"/>
                    <a:pt x="448" y="1212"/>
                    <a:pt x="448" y="1212"/>
                  </a:cubicBezTo>
                  <a:cubicBezTo>
                    <a:pt x="455" y="1212"/>
                    <a:pt x="455" y="1212"/>
                    <a:pt x="455" y="1212"/>
                  </a:cubicBezTo>
                  <a:cubicBezTo>
                    <a:pt x="455" y="1205"/>
                    <a:pt x="455" y="1205"/>
                    <a:pt x="455" y="1205"/>
                  </a:cubicBezTo>
                  <a:moveTo>
                    <a:pt x="470" y="1205"/>
                  </a:moveTo>
                  <a:cubicBezTo>
                    <a:pt x="463" y="1205"/>
                    <a:pt x="463" y="1205"/>
                    <a:pt x="463" y="1205"/>
                  </a:cubicBezTo>
                  <a:cubicBezTo>
                    <a:pt x="463" y="1212"/>
                    <a:pt x="463" y="1212"/>
                    <a:pt x="463" y="1212"/>
                  </a:cubicBezTo>
                  <a:cubicBezTo>
                    <a:pt x="470" y="1212"/>
                    <a:pt x="470" y="1212"/>
                    <a:pt x="470" y="1212"/>
                  </a:cubicBezTo>
                  <a:cubicBezTo>
                    <a:pt x="470" y="1205"/>
                    <a:pt x="470" y="1205"/>
                    <a:pt x="470" y="1205"/>
                  </a:cubicBezTo>
                  <a:moveTo>
                    <a:pt x="485" y="1205"/>
                  </a:moveTo>
                  <a:cubicBezTo>
                    <a:pt x="478" y="1205"/>
                    <a:pt x="478" y="1205"/>
                    <a:pt x="478" y="1205"/>
                  </a:cubicBezTo>
                  <a:cubicBezTo>
                    <a:pt x="478" y="1212"/>
                    <a:pt x="478" y="1212"/>
                    <a:pt x="478" y="1212"/>
                  </a:cubicBezTo>
                  <a:cubicBezTo>
                    <a:pt x="485" y="1212"/>
                    <a:pt x="485" y="1212"/>
                    <a:pt x="485" y="1212"/>
                  </a:cubicBezTo>
                  <a:cubicBezTo>
                    <a:pt x="485" y="1205"/>
                    <a:pt x="485" y="1205"/>
                    <a:pt x="485" y="1205"/>
                  </a:cubicBezTo>
                  <a:moveTo>
                    <a:pt x="499" y="1205"/>
                  </a:moveTo>
                  <a:cubicBezTo>
                    <a:pt x="492" y="1205"/>
                    <a:pt x="492" y="1205"/>
                    <a:pt x="492" y="1205"/>
                  </a:cubicBezTo>
                  <a:cubicBezTo>
                    <a:pt x="492" y="1212"/>
                    <a:pt x="492" y="1212"/>
                    <a:pt x="492" y="1212"/>
                  </a:cubicBezTo>
                  <a:cubicBezTo>
                    <a:pt x="499" y="1212"/>
                    <a:pt x="499" y="1212"/>
                    <a:pt x="499" y="1212"/>
                  </a:cubicBezTo>
                  <a:cubicBezTo>
                    <a:pt x="499" y="1205"/>
                    <a:pt x="499" y="1205"/>
                    <a:pt x="499" y="1205"/>
                  </a:cubicBezTo>
                  <a:moveTo>
                    <a:pt x="514" y="1205"/>
                  </a:moveTo>
                  <a:cubicBezTo>
                    <a:pt x="507" y="1205"/>
                    <a:pt x="507" y="1205"/>
                    <a:pt x="507" y="1205"/>
                  </a:cubicBezTo>
                  <a:cubicBezTo>
                    <a:pt x="507" y="1212"/>
                    <a:pt x="507" y="1212"/>
                    <a:pt x="507" y="1212"/>
                  </a:cubicBezTo>
                  <a:cubicBezTo>
                    <a:pt x="514" y="1212"/>
                    <a:pt x="514" y="1212"/>
                    <a:pt x="514" y="1212"/>
                  </a:cubicBezTo>
                  <a:cubicBezTo>
                    <a:pt x="514" y="1205"/>
                    <a:pt x="514" y="1205"/>
                    <a:pt x="514" y="1205"/>
                  </a:cubicBezTo>
                  <a:moveTo>
                    <a:pt x="529" y="1205"/>
                  </a:moveTo>
                  <a:cubicBezTo>
                    <a:pt x="522" y="1205"/>
                    <a:pt x="522" y="1205"/>
                    <a:pt x="522" y="1205"/>
                  </a:cubicBezTo>
                  <a:cubicBezTo>
                    <a:pt x="522" y="1212"/>
                    <a:pt x="522" y="1212"/>
                    <a:pt x="522" y="1212"/>
                  </a:cubicBezTo>
                  <a:cubicBezTo>
                    <a:pt x="529" y="1212"/>
                    <a:pt x="529" y="1212"/>
                    <a:pt x="529" y="1212"/>
                  </a:cubicBezTo>
                  <a:cubicBezTo>
                    <a:pt x="529" y="1205"/>
                    <a:pt x="529" y="1205"/>
                    <a:pt x="529" y="1205"/>
                  </a:cubicBezTo>
                  <a:moveTo>
                    <a:pt x="544" y="1205"/>
                  </a:moveTo>
                  <a:cubicBezTo>
                    <a:pt x="537" y="1205"/>
                    <a:pt x="537" y="1205"/>
                    <a:pt x="537" y="1205"/>
                  </a:cubicBezTo>
                  <a:cubicBezTo>
                    <a:pt x="537" y="1212"/>
                    <a:pt x="537" y="1212"/>
                    <a:pt x="537" y="1212"/>
                  </a:cubicBezTo>
                  <a:cubicBezTo>
                    <a:pt x="544" y="1212"/>
                    <a:pt x="544" y="1212"/>
                    <a:pt x="544" y="1212"/>
                  </a:cubicBezTo>
                  <a:cubicBezTo>
                    <a:pt x="544" y="1205"/>
                    <a:pt x="544" y="1205"/>
                    <a:pt x="544" y="1205"/>
                  </a:cubicBezTo>
                  <a:moveTo>
                    <a:pt x="558" y="1205"/>
                  </a:moveTo>
                  <a:cubicBezTo>
                    <a:pt x="551" y="1205"/>
                    <a:pt x="551" y="1205"/>
                    <a:pt x="551" y="1205"/>
                  </a:cubicBezTo>
                  <a:cubicBezTo>
                    <a:pt x="551" y="1212"/>
                    <a:pt x="551" y="1212"/>
                    <a:pt x="551" y="1212"/>
                  </a:cubicBezTo>
                  <a:cubicBezTo>
                    <a:pt x="558" y="1212"/>
                    <a:pt x="558" y="1212"/>
                    <a:pt x="558" y="1212"/>
                  </a:cubicBezTo>
                  <a:cubicBezTo>
                    <a:pt x="558" y="1205"/>
                    <a:pt x="558" y="1205"/>
                    <a:pt x="558" y="1205"/>
                  </a:cubicBezTo>
                  <a:moveTo>
                    <a:pt x="190" y="1190"/>
                  </a:moveTo>
                  <a:cubicBezTo>
                    <a:pt x="183" y="1190"/>
                    <a:pt x="183" y="1190"/>
                    <a:pt x="183" y="1190"/>
                  </a:cubicBezTo>
                  <a:cubicBezTo>
                    <a:pt x="183" y="1197"/>
                    <a:pt x="183" y="1197"/>
                    <a:pt x="183" y="1197"/>
                  </a:cubicBezTo>
                  <a:cubicBezTo>
                    <a:pt x="190" y="1197"/>
                    <a:pt x="190" y="1197"/>
                    <a:pt x="190" y="1197"/>
                  </a:cubicBezTo>
                  <a:cubicBezTo>
                    <a:pt x="190" y="1190"/>
                    <a:pt x="190" y="1190"/>
                    <a:pt x="190" y="1190"/>
                  </a:cubicBezTo>
                  <a:moveTo>
                    <a:pt x="204" y="1190"/>
                  </a:moveTo>
                  <a:cubicBezTo>
                    <a:pt x="197" y="1190"/>
                    <a:pt x="197" y="1190"/>
                    <a:pt x="197" y="119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204" y="1197"/>
                    <a:pt x="204" y="1197"/>
                    <a:pt x="204" y="1197"/>
                  </a:cubicBezTo>
                  <a:cubicBezTo>
                    <a:pt x="204" y="1190"/>
                    <a:pt x="204" y="1190"/>
                    <a:pt x="204" y="1190"/>
                  </a:cubicBezTo>
                  <a:moveTo>
                    <a:pt x="219" y="1190"/>
                  </a:moveTo>
                  <a:cubicBezTo>
                    <a:pt x="212" y="1190"/>
                    <a:pt x="212" y="1190"/>
                    <a:pt x="212" y="1190"/>
                  </a:cubicBezTo>
                  <a:cubicBezTo>
                    <a:pt x="212" y="1197"/>
                    <a:pt x="212" y="1197"/>
                    <a:pt x="212" y="1197"/>
                  </a:cubicBezTo>
                  <a:cubicBezTo>
                    <a:pt x="219" y="1197"/>
                    <a:pt x="219" y="1197"/>
                    <a:pt x="219" y="1197"/>
                  </a:cubicBezTo>
                  <a:cubicBezTo>
                    <a:pt x="219" y="1190"/>
                    <a:pt x="219" y="1190"/>
                    <a:pt x="219" y="1190"/>
                  </a:cubicBezTo>
                  <a:moveTo>
                    <a:pt x="234" y="1190"/>
                  </a:moveTo>
                  <a:cubicBezTo>
                    <a:pt x="227" y="1190"/>
                    <a:pt x="227" y="1190"/>
                    <a:pt x="227" y="1190"/>
                  </a:cubicBezTo>
                  <a:cubicBezTo>
                    <a:pt x="227" y="1197"/>
                    <a:pt x="227" y="1197"/>
                    <a:pt x="227" y="1197"/>
                  </a:cubicBezTo>
                  <a:cubicBezTo>
                    <a:pt x="234" y="1197"/>
                    <a:pt x="234" y="1197"/>
                    <a:pt x="234" y="1197"/>
                  </a:cubicBezTo>
                  <a:cubicBezTo>
                    <a:pt x="234" y="1190"/>
                    <a:pt x="234" y="1190"/>
                    <a:pt x="234" y="1190"/>
                  </a:cubicBezTo>
                  <a:moveTo>
                    <a:pt x="249" y="1190"/>
                  </a:moveTo>
                  <a:cubicBezTo>
                    <a:pt x="242" y="1190"/>
                    <a:pt x="242" y="1190"/>
                    <a:pt x="242" y="1190"/>
                  </a:cubicBezTo>
                  <a:cubicBezTo>
                    <a:pt x="242" y="1197"/>
                    <a:pt x="242" y="1197"/>
                    <a:pt x="242" y="1197"/>
                  </a:cubicBezTo>
                  <a:cubicBezTo>
                    <a:pt x="249" y="1197"/>
                    <a:pt x="249" y="1197"/>
                    <a:pt x="249" y="1197"/>
                  </a:cubicBezTo>
                  <a:cubicBezTo>
                    <a:pt x="249" y="1190"/>
                    <a:pt x="249" y="1190"/>
                    <a:pt x="249" y="1190"/>
                  </a:cubicBezTo>
                  <a:moveTo>
                    <a:pt x="263" y="1190"/>
                  </a:moveTo>
                  <a:cubicBezTo>
                    <a:pt x="256" y="1190"/>
                    <a:pt x="256" y="1190"/>
                    <a:pt x="256" y="1190"/>
                  </a:cubicBezTo>
                  <a:cubicBezTo>
                    <a:pt x="256" y="1197"/>
                    <a:pt x="256" y="1197"/>
                    <a:pt x="256" y="1197"/>
                  </a:cubicBezTo>
                  <a:cubicBezTo>
                    <a:pt x="263" y="1197"/>
                    <a:pt x="263" y="1197"/>
                    <a:pt x="263" y="1197"/>
                  </a:cubicBezTo>
                  <a:cubicBezTo>
                    <a:pt x="263" y="1190"/>
                    <a:pt x="263" y="1190"/>
                    <a:pt x="263" y="1190"/>
                  </a:cubicBezTo>
                  <a:moveTo>
                    <a:pt x="278" y="1190"/>
                  </a:moveTo>
                  <a:cubicBezTo>
                    <a:pt x="271" y="1190"/>
                    <a:pt x="271" y="1190"/>
                    <a:pt x="271" y="1190"/>
                  </a:cubicBezTo>
                  <a:cubicBezTo>
                    <a:pt x="271" y="1197"/>
                    <a:pt x="271" y="1197"/>
                    <a:pt x="271" y="1197"/>
                  </a:cubicBezTo>
                  <a:cubicBezTo>
                    <a:pt x="278" y="1197"/>
                    <a:pt x="278" y="1197"/>
                    <a:pt x="278" y="1197"/>
                  </a:cubicBezTo>
                  <a:cubicBezTo>
                    <a:pt x="278" y="1190"/>
                    <a:pt x="278" y="1190"/>
                    <a:pt x="278" y="1190"/>
                  </a:cubicBezTo>
                  <a:moveTo>
                    <a:pt x="293" y="1190"/>
                  </a:moveTo>
                  <a:cubicBezTo>
                    <a:pt x="286" y="1190"/>
                    <a:pt x="286" y="1190"/>
                    <a:pt x="286" y="1190"/>
                  </a:cubicBezTo>
                  <a:cubicBezTo>
                    <a:pt x="286" y="1197"/>
                    <a:pt x="286" y="1197"/>
                    <a:pt x="286" y="1197"/>
                  </a:cubicBezTo>
                  <a:cubicBezTo>
                    <a:pt x="293" y="1197"/>
                    <a:pt x="293" y="1197"/>
                    <a:pt x="293" y="1197"/>
                  </a:cubicBezTo>
                  <a:cubicBezTo>
                    <a:pt x="293" y="1190"/>
                    <a:pt x="293" y="1190"/>
                    <a:pt x="293" y="1190"/>
                  </a:cubicBezTo>
                  <a:moveTo>
                    <a:pt x="308" y="1190"/>
                  </a:moveTo>
                  <a:cubicBezTo>
                    <a:pt x="301" y="1190"/>
                    <a:pt x="301" y="1190"/>
                    <a:pt x="301" y="1190"/>
                  </a:cubicBezTo>
                  <a:cubicBezTo>
                    <a:pt x="301" y="1197"/>
                    <a:pt x="301" y="1197"/>
                    <a:pt x="301" y="1197"/>
                  </a:cubicBezTo>
                  <a:cubicBezTo>
                    <a:pt x="308" y="1197"/>
                    <a:pt x="308" y="1197"/>
                    <a:pt x="308" y="1197"/>
                  </a:cubicBezTo>
                  <a:cubicBezTo>
                    <a:pt x="308" y="1190"/>
                    <a:pt x="308" y="1190"/>
                    <a:pt x="308" y="1190"/>
                  </a:cubicBezTo>
                  <a:moveTo>
                    <a:pt x="322" y="1190"/>
                  </a:moveTo>
                  <a:cubicBezTo>
                    <a:pt x="315" y="1190"/>
                    <a:pt x="315" y="1190"/>
                    <a:pt x="315" y="1190"/>
                  </a:cubicBezTo>
                  <a:cubicBezTo>
                    <a:pt x="315" y="1197"/>
                    <a:pt x="315" y="1197"/>
                    <a:pt x="315" y="1197"/>
                  </a:cubicBezTo>
                  <a:cubicBezTo>
                    <a:pt x="322" y="1197"/>
                    <a:pt x="322" y="1197"/>
                    <a:pt x="322" y="1197"/>
                  </a:cubicBezTo>
                  <a:cubicBezTo>
                    <a:pt x="322" y="1190"/>
                    <a:pt x="322" y="1190"/>
                    <a:pt x="322" y="1190"/>
                  </a:cubicBezTo>
                  <a:moveTo>
                    <a:pt x="337" y="1190"/>
                  </a:moveTo>
                  <a:cubicBezTo>
                    <a:pt x="330" y="1190"/>
                    <a:pt x="330" y="1190"/>
                    <a:pt x="330" y="1190"/>
                  </a:cubicBezTo>
                  <a:cubicBezTo>
                    <a:pt x="330" y="1197"/>
                    <a:pt x="330" y="1197"/>
                    <a:pt x="330" y="1197"/>
                  </a:cubicBezTo>
                  <a:cubicBezTo>
                    <a:pt x="337" y="1197"/>
                    <a:pt x="337" y="1197"/>
                    <a:pt x="337" y="1197"/>
                  </a:cubicBezTo>
                  <a:cubicBezTo>
                    <a:pt x="337" y="1190"/>
                    <a:pt x="337" y="1190"/>
                    <a:pt x="337" y="1190"/>
                  </a:cubicBezTo>
                  <a:moveTo>
                    <a:pt x="352" y="1190"/>
                  </a:moveTo>
                  <a:cubicBezTo>
                    <a:pt x="345" y="1190"/>
                    <a:pt x="345" y="1190"/>
                    <a:pt x="345" y="1190"/>
                  </a:cubicBezTo>
                  <a:cubicBezTo>
                    <a:pt x="345" y="1197"/>
                    <a:pt x="345" y="1197"/>
                    <a:pt x="345" y="1197"/>
                  </a:cubicBezTo>
                  <a:cubicBezTo>
                    <a:pt x="352" y="1197"/>
                    <a:pt x="352" y="1197"/>
                    <a:pt x="352" y="1197"/>
                  </a:cubicBezTo>
                  <a:cubicBezTo>
                    <a:pt x="352" y="1190"/>
                    <a:pt x="352" y="1190"/>
                    <a:pt x="352" y="1190"/>
                  </a:cubicBezTo>
                  <a:moveTo>
                    <a:pt x="367" y="1190"/>
                  </a:moveTo>
                  <a:cubicBezTo>
                    <a:pt x="360" y="1190"/>
                    <a:pt x="360" y="1190"/>
                    <a:pt x="360" y="1190"/>
                  </a:cubicBezTo>
                  <a:cubicBezTo>
                    <a:pt x="360" y="1197"/>
                    <a:pt x="360" y="1197"/>
                    <a:pt x="360" y="1197"/>
                  </a:cubicBezTo>
                  <a:cubicBezTo>
                    <a:pt x="367" y="1197"/>
                    <a:pt x="367" y="1197"/>
                    <a:pt x="367" y="1197"/>
                  </a:cubicBezTo>
                  <a:cubicBezTo>
                    <a:pt x="367" y="1190"/>
                    <a:pt x="367" y="1190"/>
                    <a:pt x="367" y="1190"/>
                  </a:cubicBezTo>
                  <a:moveTo>
                    <a:pt x="381" y="1190"/>
                  </a:moveTo>
                  <a:cubicBezTo>
                    <a:pt x="374" y="1190"/>
                    <a:pt x="374" y="1190"/>
                    <a:pt x="374" y="1190"/>
                  </a:cubicBezTo>
                  <a:cubicBezTo>
                    <a:pt x="374" y="1197"/>
                    <a:pt x="374" y="1197"/>
                    <a:pt x="374" y="1197"/>
                  </a:cubicBezTo>
                  <a:cubicBezTo>
                    <a:pt x="381" y="1197"/>
                    <a:pt x="381" y="1197"/>
                    <a:pt x="381" y="1197"/>
                  </a:cubicBezTo>
                  <a:cubicBezTo>
                    <a:pt x="381" y="1190"/>
                    <a:pt x="381" y="1190"/>
                    <a:pt x="381" y="1190"/>
                  </a:cubicBezTo>
                  <a:moveTo>
                    <a:pt x="396" y="1190"/>
                  </a:moveTo>
                  <a:cubicBezTo>
                    <a:pt x="389" y="1190"/>
                    <a:pt x="389" y="1190"/>
                    <a:pt x="389" y="1190"/>
                  </a:cubicBezTo>
                  <a:cubicBezTo>
                    <a:pt x="389" y="1197"/>
                    <a:pt x="389" y="1197"/>
                    <a:pt x="389" y="1197"/>
                  </a:cubicBezTo>
                  <a:cubicBezTo>
                    <a:pt x="396" y="1197"/>
                    <a:pt x="396" y="1197"/>
                    <a:pt x="396" y="1197"/>
                  </a:cubicBezTo>
                  <a:cubicBezTo>
                    <a:pt x="396" y="1190"/>
                    <a:pt x="396" y="1190"/>
                    <a:pt x="396" y="1190"/>
                  </a:cubicBezTo>
                  <a:moveTo>
                    <a:pt x="411" y="1190"/>
                  </a:moveTo>
                  <a:cubicBezTo>
                    <a:pt x="404" y="1190"/>
                    <a:pt x="404" y="1190"/>
                    <a:pt x="404" y="1190"/>
                  </a:cubicBezTo>
                  <a:cubicBezTo>
                    <a:pt x="404" y="1197"/>
                    <a:pt x="404" y="1197"/>
                    <a:pt x="404" y="1197"/>
                  </a:cubicBezTo>
                  <a:cubicBezTo>
                    <a:pt x="411" y="1197"/>
                    <a:pt x="411" y="1197"/>
                    <a:pt x="411" y="1197"/>
                  </a:cubicBezTo>
                  <a:cubicBezTo>
                    <a:pt x="411" y="1190"/>
                    <a:pt x="411" y="1190"/>
                    <a:pt x="411" y="1190"/>
                  </a:cubicBezTo>
                  <a:moveTo>
                    <a:pt x="426" y="1190"/>
                  </a:moveTo>
                  <a:cubicBezTo>
                    <a:pt x="419" y="1190"/>
                    <a:pt x="419" y="1190"/>
                    <a:pt x="419" y="1190"/>
                  </a:cubicBezTo>
                  <a:cubicBezTo>
                    <a:pt x="419" y="1197"/>
                    <a:pt x="419" y="1197"/>
                    <a:pt x="419" y="1197"/>
                  </a:cubicBezTo>
                  <a:cubicBezTo>
                    <a:pt x="426" y="1197"/>
                    <a:pt x="426" y="1197"/>
                    <a:pt x="426" y="1197"/>
                  </a:cubicBezTo>
                  <a:cubicBezTo>
                    <a:pt x="426" y="1190"/>
                    <a:pt x="426" y="1190"/>
                    <a:pt x="426" y="1190"/>
                  </a:cubicBezTo>
                  <a:moveTo>
                    <a:pt x="440" y="1190"/>
                  </a:moveTo>
                  <a:cubicBezTo>
                    <a:pt x="433" y="1190"/>
                    <a:pt x="433" y="1190"/>
                    <a:pt x="433" y="1190"/>
                  </a:cubicBezTo>
                  <a:cubicBezTo>
                    <a:pt x="433" y="1197"/>
                    <a:pt x="433" y="1197"/>
                    <a:pt x="433" y="1197"/>
                  </a:cubicBezTo>
                  <a:cubicBezTo>
                    <a:pt x="440" y="1197"/>
                    <a:pt x="440" y="1197"/>
                    <a:pt x="440" y="1197"/>
                  </a:cubicBezTo>
                  <a:cubicBezTo>
                    <a:pt x="440" y="1190"/>
                    <a:pt x="440" y="1190"/>
                    <a:pt x="440" y="1190"/>
                  </a:cubicBezTo>
                  <a:moveTo>
                    <a:pt x="455" y="1190"/>
                  </a:moveTo>
                  <a:cubicBezTo>
                    <a:pt x="448" y="1190"/>
                    <a:pt x="448" y="1190"/>
                    <a:pt x="448" y="1190"/>
                  </a:cubicBezTo>
                  <a:cubicBezTo>
                    <a:pt x="448" y="1197"/>
                    <a:pt x="448" y="1197"/>
                    <a:pt x="448" y="1197"/>
                  </a:cubicBezTo>
                  <a:cubicBezTo>
                    <a:pt x="455" y="1197"/>
                    <a:pt x="455" y="1197"/>
                    <a:pt x="455" y="1197"/>
                  </a:cubicBezTo>
                  <a:cubicBezTo>
                    <a:pt x="455" y="1190"/>
                    <a:pt x="455" y="1190"/>
                    <a:pt x="455" y="1190"/>
                  </a:cubicBezTo>
                  <a:moveTo>
                    <a:pt x="470" y="1190"/>
                  </a:moveTo>
                  <a:cubicBezTo>
                    <a:pt x="463" y="1190"/>
                    <a:pt x="463" y="1190"/>
                    <a:pt x="463" y="1190"/>
                  </a:cubicBezTo>
                  <a:cubicBezTo>
                    <a:pt x="463" y="1197"/>
                    <a:pt x="463" y="1197"/>
                    <a:pt x="463" y="1197"/>
                  </a:cubicBezTo>
                  <a:cubicBezTo>
                    <a:pt x="470" y="1197"/>
                    <a:pt x="470" y="1197"/>
                    <a:pt x="470" y="1197"/>
                  </a:cubicBezTo>
                  <a:cubicBezTo>
                    <a:pt x="470" y="1190"/>
                    <a:pt x="470" y="1190"/>
                    <a:pt x="470" y="1190"/>
                  </a:cubicBezTo>
                  <a:moveTo>
                    <a:pt x="485" y="1190"/>
                  </a:moveTo>
                  <a:cubicBezTo>
                    <a:pt x="478" y="1190"/>
                    <a:pt x="478" y="1190"/>
                    <a:pt x="478" y="1190"/>
                  </a:cubicBezTo>
                  <a:cubicBezTo>
                    <a:pt x="478" y="1197"/>
                    <a:pt x="478" y="1197"/>
                    <a:pt x="478" y="1197"/>
                  </a:cubicBezTo>
                  <a:cubicBezTo>
                    <a:pt x="485" y="1197"/>
                    <a:pt x="485" y="1197"/>
                    <a:pt x="485" y="1197"/>
                  </a:cubicBezTo>
                  <a:cubicBezTo>
                    <a:pt x="485" y="1190"/>
                    <a:pt x="485" y="1190"/>
                    <a:pt x="485" y="1190"/>
                  </a:cubicBezTo>
                  <a:moveTo>
                    <a:pt x="499" y="1190"/>
                  </a:moveTo>
                  <a:cubicBezTo>
                    <a:pt x="492" y="1190"/>
                    <a:pt x="492" y="1190"/>
                    <a:pt x="492" y="1190"/>
                  </a:cubicBezTo>
                  <a:cubicBezTo>
                    <a:pt x="492" y="1197"/>
                    <a:pt x="492" y="1197"/>
                    <a:pt x="492" y="1197"/>
                  </a:cubicBezTo>
                  <a:cubicBezTo>
                    <a:pt x="499" y="1197"/>
                    <a:pt x="499" y="1197"/>
                    <a:pt x="499" y="1197"/>
                  </a:cubicBezTo>
                  <a:cubicBezTo>
                    <a:pt x="499" y="1190"/>
                    <a:pt x="499" y="1190"/>
                    <a:pt x="499" y="1190"/>
                  </a:cubicBezTo>
                  <a:moveTo>
                    <a:pt x="514" y="1190"/>
                  </a:moveTo>
                  <a:cubicBezTo>
                    <a:pt x="507" y="1190"/>
                    <a:pt x="507" y="1190"/>
                    <a:pt x="507" y="1190"/>
                  </a:cubicBezTo>
                  <a:cubicBezTo>
                    <a:pt x="507" y="1197"/>
                    <a:pt x="507" y="1197"/>
                    <a:pt x="507" y="1197"/>
                  </a:cubicBezTo>
                  <a:cubicBezTo>
                    <a:pt x="514" y="1197"/>
                    <a:pt x="514" y="1197"/>
                    <a:pt x="514" y="1197"/>
                  </a:cubicBezTo>
                  <a:cubicBezTo>
                    <a:pt x="514" y="1190"/>
                    <a:pt x="514" y="1190"/>
                    <a:pt x="514" y="1190"/>
                  </a:cubicBezTo>
                  <a:moveTo>
                    <a:pt x="529" y="1190"/>
                  </a:moveTo>
                  <a:cubicBezTo>
                    <a:pt x="522" y="1190"/>
                    <a:pt x="522" y="1190"/>
                    <a:pt x="522" y="1190"/>
                  </a:cubicBezTo>
                  <a:cubicBezTo>
                    <a:pt x="522" y="1197"/>
                    <a:pt x="522" y="1197"/>
                    <a:pt x="522" y="1197"/>
                  </a:cubicBezTo>
                  <a:cubicBezTo>
                    <a:pt x="529" y="1197"/>
                    <a:pt x="529" y="1197"/>
                    <a:pt x="529" y="1197"/>
                  </a:cubicBezTo>
                  <a:cubicBezTo>
                    <a:pt x="529" y="1190"/>
                    <a:pt x="529" y="1190"/>
                    <a:pt x="529" y="1190"/>
                  </a:cubicBezTo>
                  <a:moveTo>
                    <a:pt x="544" y="1190"/>
                  </a:moveTo>
                  <a:cubicBezTo>
                    <a:pt x="537" y="1190"/>
                    <a:pt x="537" y="1190"/>
                    <a:pt x="537" y="1190"/>
                  </a:cubicBezTo>
                  <a:cubicBezTo>
                    <a:pt x="537" y="1197"/>
                    <a:pt x="537" y="1197"/>
                    <a:pt x="537" y="1197"/>
                  </a:cubicBezTo>
                  <a:cubicBezTo>
                    <a:pt x="544" y="1197"/>
                    <a:pt x="544" y="1197"/>
                    <a:pt x="544" y="1197"/>
                  </a:cubicBezTo>
                  <a:cubicBezTo>
                    <a:pt x="544" y="1190"/>
                    <a:pt x="544" y="1190"/>
                    <a:pt x="544" y="1190"/>
                  </a:cubicBezTo>
                  <a:moveTo>
                    <a:pt x="558" y="1190"/>
                  </a:moveTo>
                  <a:cubicBezTo>
                    <a:pt x="551" y="1190"/>
                    <a:pt x="551" y="1190"/>
                    <a:pt x="551" y="1190"/>
                  </a:cubicBezTo>
                  <a:cubicBezTo>
                    <a:pt x="551" y="1197"/>
                    <a:pt x="551" y="1197"/>
                    <a:pt x="551" y="1197"/>
                  </a:cubicBezTo>
                  <a:cubicBezTo>
                    <a:pt x="558" y="1197"/>
                    <a:pt x="558" y="1197"/>
                    <a:pt x="558" y="1197"/>
                  </a:cubicBezTo>
                  <a:cubicBezTo>
                    <a:pt x="558" y="1190"/>
                    <a:pt x="558" y="1190"/>
                    <a:pt x="558" y="1190"/>
                  </a:cubicBezTo>
                  <a:moveTo>
                    <a:pt x="190" y="1176"/>
                  </a:moveTo>
                  <a:cubicBezTo>
                    <a:pt x="183" y="1176"/>
                    <a:pt x="183" y="1176"/>
                    <a:pt x="183" y="1176"/>
                  </a:cubicBezTo>
                  <a:cubicBezTo>
                    <a:pt x="183" y="1183"/>
                    <a:pt x="183" y="1183"/>
                    <a:pt x="183" y="1183"/>
                  </a:cubicBezTo>
                  <a:cubicBezTo>
                    <a:pt x="190" y="1183"/>
                    <a:pt x="190" y="1183"/>
                    <a:pt x="190" y="1183"/>
                  </a:cubicBezTo>
                  <a:cubicBezTo>
                    <a:pt x="190" y="1176"/>
                    <a:pt x="190" y="1176"/>
                    <a:pt x="190" y="1176"/>
                  </a:cubicBezTo>
                  <a:moveTo>
                    <a:pt x="204" y="1176"/>
                  </a:moveTo>
                  <a:cubicBezTo>
                    <a:pt x="197" y="1176"/>
                    <a:pt x="197" y="1176"/>
                    <a:pt x="197" y="1176"/>
                  </a:cubicBezTo>
                  <a:cubicBezTo>
                    <a:pt x="197" y="1183"/>
                    <a:pt x="197" y="1183"/>
                    <a:pt x="197" y="1183"/>
                  </a:cubicBezTo>
                  <a:cubicBezTo>
                    <a:pt x="204" y="1183"/>
                    <a:pt x="204" y="1183"/>
                    <a:pt x="204" y="1183"/>
                  </a:cubicBezTo>
                  <a:cubicBezTo>
                    <a:pt x="204" y="1176"/>
                    <a:pt x="204" y="1176"/>
                    <a:pt x="204" y="1176"/>
                  </a:cubicBezTo>
                  <a:moveTo>
                    <a:pt x="219" y="1176"/>
                  </a:moveTo>
                  <a:cubicBezTo>
                    <a:pt x="212" y="1176"/>
                    <a:pt x="212" y="1176"/>
                    <a:pt x="212" y="1176"/>
                  </a:cubicBezTo>
                  <a:cubicBezTo>
                    <a:pt x="212" y="1183"/>
                    <a:pt x="212" y="1183"/>
                    <a:pt x="212" y="1183"/>
                  </a:cubicBezTo>
                  <a:cubicBezTo>
                    <a:pt x="219" y="1183"/>
                    <a:pt x="219" y="1183"/>
                    <a:pt x="219" y="1183"/>
                  </a:cubicBezTo>
                  <a:cubicBezTo>
                    <a:pt x="219" y="1176"/>
                    <a:pt x="219" y="1176"/>
                    <a:pt x="219" y="1176"/>
                  </a:cubicBezTo>
                  <a:moveTo>
                    <a:pt x="234" y="1176"/>
                  </a:moveTo>
                  <a:cubicBezTo>
                    <a:pt x="227" y="1176"/>
                    <a:pt x="227" y="1176"/>
                    <a:pt x="227" y="1176"/>
                  </a:cubicBezTo>
                  <a:cubicBezTo>
                    <a:pt x="227" y="1183"/>
                    <a:pt x="227" y="1183"/>
                    <a:pt x="227" y="1183"/>
                  </a:cubicBezTo>
                  <a:cubicBezTo>
                    <a:pt x="234" y="1183"/>
                    <a:pt x="234" y="1183"/>
                    <a:pt x="234" y="1183"/>
                  </a:cubicBezTo>
                  <a:cubicBezTo>
                    <a:pt x="234" y="1176"/>
                    <a:pt x="234" y="1176"/>
                    <a:pt x="234" y="1176"/>
                  </a:cubicBezTo>
                  <a:moveTo>
                    <a:pt x="249" y="1176"/>
                  </a:moveTo>
                  <a:cubicBezTo>
                    <a:pt x="242" y="1176"/>
                    <a:pt x="242" y="1176"/>
                    <a:pt x="242" y="1176"/>
                  </a:cubicBezTo>
                  <a:cubicBezTo>
                    <a:pt x="242" y="1183"/>
                    <a:pt x="242" y="1183"/>
                    <a:pt x="242" y="1183"/>
                  </a:cubicBezTo>
                  <a:cubicBezTo>
                    <a:pt x="249" y="1183"/>
                    <a:pt x="249" y="1183"/>
                    <a:pt x="249" y="1183"/>
                  </a:cubicBezTo>
                  <a:cubicBezTo>
                    <a:pt x="249" y="1176"/>
                    <a:pt x="249" y="1176"/>
                    <a:pt x="249" y="1176"/>
                  </a:cubicBezTo>
                  <a:moveTo>
                    <a:pt x="263" y="1176"/>
                  </a:moveTo>
                  <a:cubicBezTo>
                    <a:pt x="256" y="1176"/>
                    <a:pt x="256" y="1176"/>
                    <a:pt x="256" y="1176"/>
                  </a:cubicBezTo>
                  <a:cubicBezTo>
                    <a:pt x="256" y="1183"/>
                    <a:pt x="256" y="1183"/>
                    <a:pt x="256" y="1183"/>
                  </a:cubicBezTo>
                  <a:cubicBezTo>
                    <a:pt x="263" y="1183"/>
                    <a:pt x="263" y="1183"/>
                    <a:pt x="263" y="1183"/>
                  </a:cubicBezTo>
                  <a:cubicBezTo>
                    <a:pt x="263" y="1176"/>
                    <a:pt x="263" y="1176"/>
                    <a:pt x="263" y="1176"/>
                  </a:cubicBezTo>
                  <a:moveTo>
                    <a:pt x="278" y="1176"/>
                  </a:moveTo>
                  <a:cubicBezTo>
                    <a:pt x="271" y="1176"/>
                    <a:pt x="271" y="1176"/>
                    <a:pt x="271" y="1176"/>
                  </a:cubicBezTo>
                  <a:cubicBezTo>
                    <a:pt x="271" y="1183"/>
                    <a:pt x="271" y="1183"/>
                    <a:pt x="271" y="1183"/>
                  </a:cubicBezTo>
                  <a:cubicBezTo>
                    <a:pt x="278" y="1183"/>
                    <a:pt x="278" y="1183"/>
                    <a:pt x="278" y="1183"/>
                  </a:cubicBezTo>
                  <a:cubicBezTo>
                    <a:pt x="278" y="1176"/>
                    <a:pt x="278" y="1176"/>
                    <a:pt x="278" y="1176"/>
                  </a:cubicBezTo>
                  <a:moveTo>
                    <a:pt x="293" y="1176"/>
                  </a:moveTo>
                  <a:cubicBezTo>
                    <a:pt x="286" y="1176"/>
                    <a:pt x="286" y="1176"/>
                    <a:pt x="286" y="1176"/>
                  </a:cubicBezTo>
                  <a:cubicBezTo>
                    <a:pt x="286" y="1183"/>
                    <a:pt x="286" y="1183"/>
                    <a:pt x="286" y="1183"/>
                  </a:cubicBezTo>
                  <a:cubicBezTo>
                    <a:pt x="293" y="1183"/>
                    <a:pt x="293" y="1183"/>
                    <a:pt x="293" y="1183"/>
                  </a:cubicBezTo>
                  <a:cubicBezTo>
                    <a:pt x="293" y="1176"/>
                    <a:pt x="293" y="1176"/>
                    <a:pt x="293" y="1176"/>
                  </a:cubicBezTo>
                  <a:moveTo>
                    <a:pt x="308" y="1176"/>
                  </a:moveTo>
                  <a:cubicBezTo>
                    <a:pt x="301" y="1176"/>
                    <a:pt x="301" y="1176"/>
                    <a:pt x="301" y="1176"/>
                  </a:cubicBezTo>
                  <a:cubicBezTo>
                    <a:pt x="301" y="1183"/>
                    <a:pt x="301" y="1183"/>
                    <a:pt x="301" y="1183"/>
                  </a:cubicBezTo>
                  <a:cubicBezTo>
                    <a:pt x="308" y="1183"/>
                    <a:pt x="308" y="1183"/>
                    <a:pt x="308" y="1183"/>
                  </a:cubicBezTo>
                  <a:cubicBezTo>
                    <a:pt x="308" y="1176"/>
                    <a:pt x="308" y="1176"/>
                    <a:pt x="308" y="1176"/>
                  </a:cubicBezTo>
                  <a:moveTo>
                    <a:pt x="322" y="1176"/>
                  </a:moveTo>
                  <a:cubicBezTo>
                    <a:pt x="315" y="1176"/>
                    <a:pt x="315" y="1176"/>
                    <a:pt x="315" y="1176"/>
                  </a:cubicBezTo>
                  <a:cubicBezTo>
                    <a:pt x="315" y="1183"/>
                    <a:pt x="315" y="1183"/>
                    <a:pt x="315" y="1183"/>
                  </a:cubicBezTo>
                  <a:cubicBezTo>
                    <a:pt x="322" y="1183"/>
                    <a:pt x="322" y="1183"/>
                    <a:pt x="322" y="1183"/>
                  </a:cubicBezTo>
                  <a:cubicBezTo>
                    <a:pt x="322" y="1176"/>
                    <a:pt x="322" y="1176"/>
                    <a:pt x="322" y="1176"/>
                  </a:cubicBezTo>
                  <a:moveTo>
                    <a:pt x="337" y="1176"/>
                  </a:moveTo>
                  <a:cubicBezTo>
                    <a:pt x="330" y="1176"/>
                    <a:pt x="330" y="1176"/>
                    <a:pt x="330" y="1176"/>
                  </a:cubicBezTo>
                  <a:cubicBezTo>
                    <a:pt x="330" y="1183"/>
                    <a:pt x="330" y="1183"/>
                    <a:pt x="330" y="1183"/>
                  </a:cubicBezTo>
                  <a:cubicBezTo>
                    <a:pt x="337" y="1183"/>
                    <a:pt x="337" y="1183"/>
                    <a:pt x="337" y="1183"/>
                  </a:cubicBezTo>
                  <a:cubicBezTo>
                    <a:pt x="337" y="1176"/>
                    <a:pt x="337" y="1176"/>
                    <a:pt x="337" y="1176"/>
                  </a:cubicBezTo>
                  <a:moveTo>
                    <a:pt x="352" y="1176"/>
                  </a:moveTo>
                  <a:cubicBezTo>
                    <a:pt x="345" y="1176"/>
                    <a:pt x="345" y="1176"/>
                    <a:pt x="345" y="1176"/>
                  </a:cubicBezTo>
                  <a:cubicBezTo>
                    <a:pt x="345" y="1183"/>
                    <a:pt x="345" y="1183"/>
                    <a:pt x="345" y="1183"/>
                  </a:cubicBezTo>
                  <a:cubicBezTo>
                    <a:pt x="352" y="1183"/>
                    <a:pt x="352" y="1183"/>
                    <a:pt x="352" y="1183"/>
                  </a:cubicBezTo>
                  <a:cubicBezTo>
                    <a:pt x="352" y="1176"/>
                    <a:pt x="352" y="1176"/>
                    <a:pt x="352" y="1176"/>
                  </a:cubicBezTo>
                  <a:moveTo>
                    <a:pt x="367" y="1176"/>
                  </a:moveTo>
                  <a:cubicBezTo>
                    <a:pt x="360" y="1176"/>
                    <a:pt x="360" y="1176"/>
                    <a:pt x="360" y="1176"/>
                  </a:cubicBezTo>
                  <a:cubicBezTo>
                    <a:pt x="360" y="1183"/>
                    <a:pt x="360" y="1183"/>
                    <a:pt x="360" y="1183"/>
                  </a:cubicBezTo>
                  <a:cubicBezTo>
                    <a:pt x="367" y="1183"/>
                    <a:pt x="367" y="1183"/>
                    <a:pt x="367" y="1183"/>
                  </a:cubicBezTo>
                  <a:cubicBezTo>
                    <a:pt x="367" y="1176"/>
                    <a:pt x="367" y="1176"/>
                    <a:pt x="367" y="1176"/>
                  </a:cubicBezTo>
                  <a:moveTo>
                    <a:pt x="381" y="1176"/>
                  </a:moveTo>
                  <a:cubicBezTo>
                    <a:pt x="374" y="1176"/>
                    <a:pt x="374" y="1176"/>
                    <a:pt x="374" y="1176"/>
                  </a:cubicBezTo>
                  <a:cubicBezTo>
                    <a:pt x="374" y="1183"/>
                    <a:pt x="374" y="1183"/>
                    <a:pt x="374" y="1183"/>
                  </a:cubicBezTo>
                  <a:cubicBezTo>
                    <a:pt x="381" y="1183"/>
                    <a:pt x="381" y="1183"/>
                    <a:pt x="381" y="1183"/>
                  </a:cubicBezTo>
                  <a:cubicBezTo>
                    <a:pt x="381" y="1176"/>
                    <a:pt x="381" y="1176"/>
                    <a:pt x="381" y="1176"/>
                  </a:cubicBezTo>
                  <a:moveTo>
                    <a:pt x="396" y="1176"/>
                  </a:moveTo>
                  <a:cubicBezTo>
                    <a:pt x="389" y="1176"/>
                    <a:pt x="389" y="1176"/>
                    <a:pt x="389" y="1176"/>
                  </a:cubicBezTo>
                  <a:cubicBezTo>
                    <a:pt x="389" y="1183"/>
                    <a:pt x="389" y="1183"/>
                    <a:pt x="389" y="1183"/>
                  </a:cubicBezTo>
                  <a:cubicBezTo>
                    <a:pt x="396" y="1183"/>
                    <a:pt x="396" y="1183"/>
                    <a:pt x="396" y="1183"/>
                  </a:cubicBezTo>
                  <a:cubicBezTo>
                    <a:pt x="396" y="1176"/>
                    <a:pt x="396" y="1176"/>
                    <a:pt x="396" y="1176"/>
                  </a:cubicBezTo>
                  <a:moveTo>
                    <a:pt x="411" y="1176"/>
                  </a:moveTo>
                  <a:cubicBezTo>
                    <a:pt x="404" y="1176"/>
                    <a:pt x="404" y="1176"/>
                    <a:pt x="404" y="1176"/>
                  </a:cubicBezTo>
                  <a:cubicBezTo>
                    <a:pt x="404" y="1183"/>
                    <a:pt x="404" y="1183"/>
                    <a:pt x="404" y="1183"/>
                  </a:cubicBezTo>
                  <a:cubicBezTo>
                    <a:pt x="411" y="1183"/>
                    <a:pt x="411" y="1183"/>
                    <a:pt x="411" y="1183"/>
                  </a:cubicBezTo>
                  <a:cubicBezTo>
                    <a:pt x="411" y="1176"/>
                    <a:pt x="411" y="1176"/>
                    <a:pt x="411" y="1176"/>
                  </a:cubicBezTo>
                  <a:moveTo>
                    <a:pt x="426" y="1176"/>
                  </a:moveTo>
                  <a:cubicBezTo>
                    <a:pt x="419" y="1176"/>
                    <a:pt x="419" y="1176"/>
                    <a:pt x="419" y="1176"/>
                  </a:cubicBezTo>
                  <a:cubicBezTo>
                    <a:pt x="419" y="1183"/>
                    <a:pt x="419" y="1183"/>
                    <a:pt x="419" y="1183"/>
                  </a:cubicBezTo>
                  <a:cubicBezTo>
                    <a:pt x="426" y="1183"/>
                    <a:pt x="426" y="1183"/>
                    <a:pt x="426" y="1183"/>
                  </a:cubicBezTo>
                  <a:cubicBezTo>
                    <a:pt x="426" y="1176"/>
                    <a:pt x="426" y="1176"/>
                    <a:pt x="426" y="1176"/>
                  </a:cubicBezTo>
                  <a:moveTo>
                    <a:pt x="440" y="1176"/>
                  </a:moveTo>
                  <a:cubicBezTo>
                    <a:pt x="433" y="1176"/>
                    <a:pt x="433" y="1176"/>
                    <a:pt x="433" y="1176"/>
                  </a:cubicBezTo>
                  <a:cubicBezTo>
                    <a:pt x="433" y="1183"/>
                    <a:pt x="433" y="1183"/>
                    <a:pt x="433" y="1183"/>
                  </a:cubicBezTo>
                  <a:cubicBezTo>
                    <a:pt x="440" y="1183"/>
                    <a:pt x="440" y="1183"/>
                    <a:pt x="440" y="1183"/>
                  </a:cubicBezTo>
                  <a:cubicBezTo>
                    <a:pt x="440" y="1176"/>
                    <a:pt x="440" y="1176"/>
                    <a:pt x="440" y="1176"/>
                  </a:cubicBezTo>
                  <a:moveTo>
                    <a:pt x="455" y="1176"/>
                  </a:moveTo>
                  <a:cubicBezTo>
                    <a:pt x="448" y="1176"/>
                    <a:pt x="448" y="1176"/>
                    <a:pt x="448" y="1176"/>
                  </a:cubicBezTo>
                  <a:cubicBezTo>
                    <a:pt x="448" y="1183"/>
                    <a:pt x="448" y="1183"/>
                    <a:pt x="448" y="1183"/>
                  </a:cubicBezTo>
                  <a:cubicBezTo>
                    <a:pt x="455" y="1183"/>
                    <a:pt x="455" y="1183"/>
                    <a:pt x="455" y="1183"/>
                  </a:cubicBezTo>
                  <a:cubicBezTo>
                    <a:pt x="455" y="1176"/>
                    <a:pt x="455" y="1176"/>
                    <a:pt x="455" y="1176"/>
                  </a:cubicBezTo>
                  <a:moveTo>
                    <a:pt x="470" y="1176"/>
                  </a:moveTo>
                  <a:cubicBezTo>
                    <a:pt x="463" y="1176"/>
                    <a:pt x="463" y="1176"/>
                    <a:pt x="463" y="1176"/>
                  </a:cubicBezTo>
                  <a:cubicBezTo>
                    <a:pt x="463" y="1183"/>
                    <a:pt x="463" y="1183"/>
                    <a:pt x="463" y="1183"/>
                  </a:cubicBezTo>
                  <a:cubicBezTo>
                    <a:pt x="470" y="1183"/>
                    <a:pt x="470" y="1183"/>
                    <a:pt x="470" y="1183"/>
                  </a:cubicBezTo>
                  <a:cubicBezTo>
                    <a:pt x="470" y="1176"/>
                    <a:pt x="470" y="1176"/>
                    <a:pt x="470" y="1176"/>
                  </a:cubicBezTo>
                  <a:moveTo>
                    <a:pt x="485" y="1176"/>
                  </a:moveTo>
                  <a:cubicBezTo>
                    <a:pt x="478" y="1176"/>
                    <a:pt x="478" y="1176"/>
                    <a:pt x="478" y="1176"/>
                  </a:cubicBezTo>
                  <a:cubicBezTo>
                    <a:pt x="478" y="1183"/>
                    <a:pt x="478" y="1183"/>
                    <a:pt x="478" y="1183"/>
                  </a:cubicBezTo>
                  <a:cubicBezTo>
                    <a:pt x="485" y="1183"/>
                    <a:pt x="485" y="1183"/>
                    <a:pt x="485" y="1183"/>
                  </a:cubicBezTo>
                  <a:cubicBezTo>
                    <a:pt x="485" y="1176"/>
                    <a:pt x="485" y="1176"/>
                    <a:pt x="485" y="1176"/>
                  </a:cubicBezTo>
                  <a:moveTo>
                    <a:pt x="499" y="1176"/>
                  </a:moveTo>
                  <a:cubicBezTo>
                    <a:pt x="492" y="1176"/>
                    <a:pt x="492" y="1176"/>
                    <a:pt x="492" y="1176"/>
                  </a:cubicBezTo>
                  <a:cubicBezTo>
                    <a:pt x="492" y="1183"/>
                    <a:pt x="492" y="1183"/>
                    <a:pt x="492" y="1183"/>
                  </a:cubicBezTo>
                  <a:cubicBezTo>
                    <a:pt x="499" y="1183"/>
                    <a:pt x="499" y="1183"/>
                    <a:pt x="499" y="1183"/>
                  </a:cubicBezTo>
                  <a:cubicBezTo>
                    <a:pt x="499" y="1176"/>
                    <a:pt x="499" y="1176"/>
                    <a:pt x="499" y="1176"/>
                  </a:cubicBezTo>
                  <a:moveTo>
                    <a:pt x="514" y="1176"/>
                  </a:moveTo>
                  <a:cubicBezTo>
                    <a:pt x="507" y="1176"/>
                    <a:pt x="507" y="1176"/>
                    <a:pt x="507" y="1176"/>
                  </a:cubicBezTo>
                  <a:cubicBezTo>
                    <a:pt x="507" y="1183"/>
                    <a:pt x="507" y="1183"/>
                    <a:pt x="507" y="1183"/>
                  </a:cubicBezTo>
                  <a:cubicBezTo>
                    <a:pt x="514" y="1183"/>
                    <a:pt x="514" y="1183"/>
                    <a:pt x="514" y="1183"/>
                  </a:cubicBezTo>
                  <a:cubicBezTo>
                    <a:pt x="514" y="1176"/>
                    <a:pt x="514" y="1176"/>
                    <a:pt x="514" y="1176"/>
                  </a:cubicBezTo>
                  <a:moveTo>
                    <a:pt x="529" y="1176"/>
                  </a:moveTo>
                  <a:cubicBezTo>
                    <a:pt x="522" y="1176"/>
                    <a:pt x="522" y="1176"/>
                    <a:pt x="522" y="1176"/>
                  </a:cubicBezTo>
                  <a:cubicBezTo>
                    <a:pt x="522" y="1183"/>
                    <a:pt x="522" y="1183"/>
                    <a:pt x="522" y="1183"/>
                  </a:cubicBezTo>
                  <a:cubicBezTo>
                    <a:pt x="529" y="1183"/>
                    <a:pt x="529" y="1183"/>
                    <a:pt x="529" y="1183"/>
                  </a:cubicBezTo>
                  <a:cubicBezTo>
                    <a:pt x="529" y="1176"/>
                    <a:pt x="529" y="1176"/>
                    <a:pt x="529" y="1176"/>
                  </a:cubicBezTo>
                  <a:moveTo>
                    <a:pt x="544" y="1176"/>
                  </a:moveTo>
                  <a:cubicBezTo>
                    <a:pt x="537" y="1176"/>
                    <a:pt x="537" y="1176"/>
                    <a:pt x="537" y="1176"/>
                  </a:cubicBezTo>
                  <a:cubicBezTo>
                    <a:pt x="537" y="1183"/>
                    <a:pt x="537" y="1183"/>
                    <a:pt x="537" y="1183"/>
                  </a:cubicBezTo>
                  <a:cubicBezTo>
                    <a:pt x="544" y="1183"/>
                    <a:pt x="544" y="1183"/>
                    <a:pt x="544" y="1183"/>
                  </a:cubicBezTo>
                  <a:cubicBezTo>
                    <a:pt x="544" y="1176"/>
                    <a:pt x="544" y="1176"/>
                    <a:pt x="544" y="1176"/>
                  </a:cubicBezTo>
                  <a:moveTo>
                    <a:pt x="558" y="1176"/>
                  </a:moveTo>
                  <a:cubicBezTo>
                    <a:pt x="551" y="1176"/>
                    <a:pt x="551" y="1176"/>
                    <a:pt x="551" y="1176"/>
                  </a:cubicBezTo>
                  <a:cubicBezTo>
                    <a:pt x="551" y="1183"/>
                    <a:pt x="551" y="1183"/>
                    <a:pt x="551" y="1183"/>
                  </a:cubicBezTo>
                  <a:cubicBezTo>
                    <a:pt x="558" y="1183"/>
                    <a:pt x="558" y="1183"/>
                    <a:pt x="558" y="1183"/>
                  </a:cubicBezTo>
                  <a:cubicBezTo>
                    <a:pt x="558" y="1176"/>
                    <a:pt x="558" y="1176"/>
                    <a:pt x="558" y="1176"/>
                  </a:cubicBezTo>
                  <a:moveTo>
                    <a:pt x="204" y="1161"/>
                  </a:moveTo>
                  <a:cubicBezTo>
                    <a:pt x="197" y="1161"/>
                    <a:pt x="197" y="1161"/>
                    <a:pt x="197" y="1161"/>
                  </a:cubicBezTo>
                  <a:cubicBezTo>
                    <a:pt x="197" y="1168"/>
                    <a:pt x="197" y="1168"/>
                    <a:pt x="197" y="1168"/>
                  </a:cubicBezTo>
                  <a:cubicBezTo>
                    <a:pt x="204" y="1168"/>
                    <a:pt x="204" y="1168"/>
                    <a:pt x="204" y="1168"/>
                  </a:cubicBezTo>
                  <a:cubicBezTo>
                    <a:pt x="204" y="1161"/>
                    <a:pt x="204" y="1161"/>
                    <a:pt x="204" y="1161"/>
                  </a:cubicBezTo>
                  <a:moveTo>
                    <a:pt x="219" y="1161"/>
                  </a:moveTo>
                  <a:cubicBezTo>
                    <a:pt x="212" y="1161"/>
                    <a:pt x="212" y="1161"/>
                    <a:pt x="212" y="1161"/>
                  </a:cubicBezTo>
                  <a:cubicBezTo>
                    <a:pt x="212" y="1168"/>
                    <a:pt x="212" y="1168"/>
                    <a:pt x="212" y="1168"/>
                  </a:cubicBezTo>
                  <a:cubicBezTo>
                    <a:pt x="219" y="1168"/>
                    <a:pt x="219" y="1168"/>
                    <a:pt x="219" y="1168"/>
                  </a:cubicBezTo>
                  <a:cubicBezTo>
                    <a:pt x="219" y="1161"/>
                    <a:pt x="219" y="1161"/>
                    <a:pt x="219" y="1161"/>
                  </a:cubicBezTo>
                  <a:moveTo>
                    <a:pt x="234" y="1161"/>
                  </a:moveTo>
                  <a:cubicBezTo>
                    <a:pt x="227" y="1161"/>
                    <a:pt x="227" y="1161"/>
                    <a:pt x="227" y="1161"/>
                  </a:cubicBezTo>
                  <a:cubicBezTo>
                    <a:pt x="227" y="1168"/>
                    <a:pt x="227" y="1168"/>
                    <a:pt x="227" y="1168"/>
                  </a:cubicBezTo>
                  <a:cubicBezTo>
                    <a:pt x="234" y="1168"/>
                    <a:pt x="234" y="1168"/>
                    <a:pt x="234" y="1168"/>
                  </a:cubicBezTo>
                  <a:cubicBezTo>
                    <a:pt x="234" y="1161"/>
                    <a:pt x="234" y="1161"/>
                    <a:pt x="234" y="1161"/>
                  </a:cubicBezTo>
                  <a:moveTo>
                    <a:pt x="249" y="1161"/>
                  </a:moveTo>
                  <a:cubicBezTo>
                    <a:pt x="242" y="1161"/>
                    <a:pt x="242" y="1161"/>
                    <a:pt x="242" y="1161"/>
                  </a:cubicBezTo>
                  <a:cubicBezTo>
                    <a:pt x="242" y="1168"/>
                    <a:pt x="242" y="1168"/>
                    <a:pt x="242" y="1168"/>
                  </a:cubicBezTo>
                  <a:cubicBezTo>
                    <a:pt x="249" y="1168"/>
                    <a:pt x="249" y="1168"/>
                    <a:pt x="249" y="1168"/>
                  </a:cubicBezTo>
                  <a:cubicBezTo>
                    <a:pt x="249" y="1161"/>
                    <a:pt x="249" y="1161"/>
                    <a:pt x="249" y="1161"/>
                  </a:cubicBezTo>
                  <a:moveTo>
                    <a:pt x="263" y="1161"/>
                  </a:moveTo>
                  <a:cubicBezTo>
                    <a:pt x="256" y="1161"/>
                    <a:pt x="256" y="1161"/>
                    <a:pt x="256" y="1161"/>
                  </a:cubicBezTo>
                  <a:cubicBezTo>
                    <a:pt x="256" y="1168"/>
                    <a:pt x="256" y="1168"/>
                    <a:pt x="256" y="1168"/>
                  </a:cubicBezTo>
                  <a:cubicBezTo>
                    <a:pt x="263" y="1168"/>
                    <a:pt x="263" y="1168"/>
                    <a:pt x="263" y="1168"/>
                  </a:cubicBezTo>
                  <a:cubicBezTo>
                    <a:pt x="263" y="1161"/>
                    <a:pt x="263" y="1161"/>
                    <a:pt x="263" y="1161"/>
                  </a:cubicBezTo>
                  <a:moveTo>
                    <a:pt x="278" y="1161"/>
                  </a:moveTo>
                  <a:cubicBezTo>
                    <a:pt x="271" y="1161"/>
                    <a:pt x="271" y="1161"/>
                    <a:pt x="271" y="1161"/>
                  </a:cubicBezTo>
                  <a:cubicBezTo>
                    <a:pt x="271" y="1168"/>
                    <a:pt x="271" y="1168"/>
                    <a:pt x="271" y="1168"/>
                  </a:cubicBezTo>
                  <a:cubicBezTo>
                    <a:pt x="278" y="1168"/>
                    <a:pt x="278" y="1168"/>
                    <a:pt x="278" y="1168"/>
                  </a:cubicBezTo>
                  <a:cubicBezTo>
                    <a:pt x="278" y="1161"/>
                    <a:pt x="278" y="1161"/>
                    <a:pt x="278" y="1161"/>
                  </a:cubicBezTo>
                  <a:moveTo>
                    <a:pt x="293" y="1161"/>
                  </a:moveTo>
                  <a:cubicBezTo>
                    <a:pt x="286" y="1161"/>
                    <a:pt x="286" y="1161"/>
                    <a:pt x="286" y="1161"/>
                  </a:cubicBezTo>
                  <a:cubicBezTo>
                    <a:pt x="286" y="1168"/>
                    <a:pt x="286" y="1168"/>
                    <a:pt x="286" y="1168"/>
                  </a:cubicBezTo>
                  <a:cubicBezTo>
                    <a:pt x="293" y="1168"/>
                    <a:pt x="293" y="1168"/>
                    <a:pt x="293" y="1168"/>
                  </a:cubicBezTo>
                  <a:cubicBezTo>
                    <a:pt x="293" y="1161"/>
                    <a:pt x="293" y="1161"/>
                    <a:pt x="293" y="1161"/>
                  </a:cubicBezTo>
                  <a:moveTo>
                    <a:pt x="308" y="1161"/>
                  </a:moveTo>
                  <a:cubicBezTo>
                    <a:pt x="301" y="1161"/>
                    <a:pt x="301" y="1161"/>
                    <a:pt x="301" y="1161"/>
                  </a:cubicBezTo>
                  <a:cubicBezTo>
                    <a:pt x="301" y="1168"/>
                    <a:pt x="301" y="1168"/>
                    <a:pt x="301" y="1168"/>
                  </a:cubicBezTo>
                  <a:cubicBezTo>
                    <a:pt x="308" y="1168"/>
                    <a:pt x="308" y="1168"/>
                    <a:pt x="308" y="1168"/>
                  </a:cubicBezTo>
                  <a:cubicBezTo>
                    <a:pt x="308" y="1161"/>
                    <a:pt x="308" y="1161"/>
                    <a:pt x="308" y="1161"/>
                  </a:cubicBezTo>
                  <a:moveTo>
                    <a:pt x="322" y="1161"/>
                  </a:moveTo>
                  <a:cubicBezTo>
                    <a:pt x="315" y="1161"/>
                    <a:pt x="315" y="1161"/>
                    <a:pt x="315" y="1161"/>
                  </a:cubicBezTo>
                  <a:cubicBezTo>
                    <a:pt x="315" y="1168"/>
                    <a:pt x="315" y="1168"/>
                    <a:pt x="315" y="1168"/>
                  </a:cubicBezTo>
                  <a:cubicBezTo>
                    <a:pt x="322" y="1168"/>
                    <a:pt x="322" y="1168"/>
                    <a:pt x="322" y="1168"/>
                  </a:cubicBezTo>
                  <a:cubicBezTo>
                    <a:pt x="322" y="1161"/>
                    <a:pt x="322" y="1161"/>
                    <a:pt x="322" y="1161"/>
                  </a:cubicBezTo>
                  <a:moveTo>
                    <a:pt x="337" y="1161"/>
                  </a:moveTo>
                  <a:cubicBezTo>
                    <a:pt x="330" y="1161"/>
                    <a:pt x="330" y="1161"/>
                    <a:pt x="330" y="1161"/>
                  </a:cubicBezTo>
                  <a:cubicBezTo>
                    <a:pt x="330" y="1168"/>
                    <a:pt x="330" y="1168"/>
                    <a:pt x="330" y="1168"/>
                  </a:cubicBezTo>
                  <a:cubicBezTo>
                    <a:pt x="337" y="1168"/>
                    <a:pt x="337" y="1168"/>
                    <a:pt x="337" y="1168"/>
                  </a:cubicBezTo>
                  <a:cubicBezTo>
                    <a:pt x="337" y="1161"/>
                    <a:pt x="337" y="1161"/>
                    <a:pt x="337" y="1161"/>
                  </a:cubicBezTo>
                  <a:moveTo>
                    <a:pt x="352" y="1161"/>
                  </a:moveTo>
                  <a:cubicBezTo>
                    <a:pt x="345" y="1161"/>
                    <a:pt x="345" y="1161"/>
                    <a:pt x="345" y="1161"/>
                  </a:cubicBezTo>
                  <a:cubicBezTo>
                    <a:pt x="345" y="1168"/>
                    <a:pt x="345" y="1168"/>
                    <a:pt x="345" y="1168"/>
                  </a:cubicBezTo>
                  <a:cubicBezTo>
                    <a:pt x="352" y="1168"/>
                    <a:pt x="352" y="1168"/>
                    <a:pt x="352" y="1168"/>
                  </a:cubicBezTo>
                  <a:cubicBezTo>
                    <a:pt x="352" y="1161"/>
                    <a:pt x="352" y="1161"/>
                    <a:pt x="352" y="1161"/>
                  </a:cubicBezTo>
                  <a:moveTo>
                    <a:pt x="367" y="1161"/>
                  </a:moveTo>
                  <a:cubicBezTo>
                    <a:pt x="360" y="1161"/>
                    <a:pt x="360" y="1161"/>
                    <a:pt x="360" y="1161"/>
                  </a:cubicBezTo>
                  <a:cubicBezTo>
                    <a:pt x="360" y="1168"/>
                    <a:pt x="360" y="1168"/>
                    <a:pt x="360" y="1168"/>
                  </a:cubicBezTo>
                  <a:cubicBezTo>
                    <a:pt x="367" y="1168"/>
                    <a:pt x="367" y="1168"/>
                    <a:pt x="367" y="1168"/>
                  </a:cubicBezTo>
                  <a:cubicBezTo>
                    <a:pt x="367" y="1161"/>
                    <a:pt x="367" y="1161"/>
                    <a:pt x="367" y="1161"/>
                  </a:cubicBezTo>
                  <a:moveTo>
                    <a:pt x="381" y="1161"/>
                  </a:moveTo>
                  <a:cubicBezTo>
                    <a:pt x="374" y="1161"/>
                    <a:pt x="374" y="1161"/>
                    <a:pt x="374" y="1161"/>
                  </a:cubicBezTo>
                  <a:cubicBezTo>
                    <a:pt x="374" y="1168"/>
                    <a:pt x="374" y="1168"/>
                    <a:pt x="374" y="1168"/>
                  </a:cubicBezTo>
                  <a:cubicBezTo>
                    <a:pt x="381" y="1168"/>
                    <a:pt x="381" y="1168"/>
                    <a:pt x="381" y="1168"/>
                  </a:cubicBezTo>
                  <a:cubicBezTo>
                    <a:pt x="381" y="1161"/>
                    <a:pt x="381" y="1161"/>
                    <a:pt x="381" y="1161"/>
                  </a:cubicBezTo>
                  <a:moveTo>
                    <a:pt x="396" y="1161"/>
                  </a:moveTo>
                  <a:cubicBezTo>
                    <a:pt x="389" y="1161"/>
                    <a:pt x="389" y="1161"/>
                    <a:pt x="389" y="1161"/>
                  </a:cubicBezTo>
                  <a:cubicBezTo>
                    <a:pt x="389" y="1168"/>
                    <a:pt x="389" y="1168"/>
                    <a:pt x="389" y="1168"/>
                  </a:cubicBezTo>
                  <a:cubicBezTo>
                    <a:pt x="396" y="1168"/>
                    <a:pt x="396" y="1168"/>
                    <a:pt x="396" y="1168"/>
                  </a:cubicBezTo>
                  <a:cubicBezTo>
                    <a:pt x="396" y="1161"/>
                    <a:pt x="396" y="1161"/>
                    <a:pt x="396" y="1161"/>
                  </a:cubicBezTo>
                  <a:moveTo>
                    <a:pt x="411" y="1161"/>
                  </a:moveTo>
                  <a:cubicBezTo>
                    <a:pt x="404" y="1161"/>
                    <a:pt x="404" y="1161"/>
                    <a:pt x="404" y="1161"/>
                  </a:cubicBezTo>
                  <a:cubicBezTo>
                    <a:pt x="404" y="1168"/>
                    <a:pt x="404" y="1168"/>
                    <a:pt x="404" y="1168"/>
                  </a:cubicBezTo>
                  <a:cubicBezTo>
                    <a:pt x="411" y="1168"/>
                    <a:pt x="411" y="1168"/>
                    <a:pt x="411" y="1168"/>
                  </a:cubicBezTo>
                  <a:cubicBezTo>
                    <a:pt x="411" y="1161"/>
                    <a:pt x="411" y="1161"/>
                    <a:pt x="411" y="1161"/>
                  </a:cubicBezTo>
                  <a:moveTo>
                    <a:pt x="426" y="1161"/>
                  </a:moveTo>
                  <a:cubicBezTo>
                    <a:pt x="419" y="1161"/>
                    <a:pt x="419" y="1161"/>
                    <a:pt x="419" y="1161"/>
                  </a:cubicBezTo>
                  <a:cubicBezTo>
                    <a:pt x="419" y="1168"/>
                    <a:pt x="419" y="1168"/>
                    <a:pt x="419" y="1168"/>
                  </a:cubicBezTo>
                  <a:cubicBezTo>
                    <a:pt x="426" y="1168"/>
                    <a:pt x="426" y="1168"/>
                    <a:pt x="426" y="1168"/>
                  </a:cubicBezTo>
                  <a:cubicBezTo>
                    <a:pt x="426" y="1161"/>
                    <a:pt x="426" y="1161"/>
                    <a:pt x="426" y="1161"/>
                  </a:cubicBezTo>
                  <a:moveTo>
                    <a:pt x="440" y="1161"/>
                  </a:moveTo>
                  <a:cubicBezTo>
                    <a:pt x="433" y="1161"/>
                    <a:pt x="433" y="1161"/>
                    <a:pt x="433" y="1161"/>
                  </a:cubicBezTo>
                  <a:cubicBezTo>
                    <a:pt x="433" y="1168"/>
                    <a:pt x="433" y="1168"/>
                    <a:pt x="433" y="1168"/>
                  </a:cubicBezTo>
                  <a:cubicBezTo>
                    <a:pt x="440" y="1168"/>
                    <a:pt x="440" y="1168"/>
                    <a:pt x="440" y="1168"/>
                  </a:cubicBezTo>
                  <a:cubicBezTo>
                    <a:pt x="440" y="1161"/>
                    <a:pt x="440" y="1161"/>
                    <a:pt x="440" y="1161"/>
                  </a:cubicBezTo>
                  <a:moveTo>
                    <a:pt x="455" y="1161"/>
                  </a:moveTo>
                  <a:cubicBezTo>
                    <a:pt x="448" y="1161"/>
                    <a:pt x="448" y="1161"/>
                    <a:pt x="448" y="1161"/>
                  </a:cubicBezTo>
                  <a:cubicBezTo>
                    <a:pt x="448" y="1168"/>
                    <a:pt x="448" y="1168"/>
                    <a:pt x="448" y="1168"/>
                  </a:cubicBezTo>
                  <a:cubicBezTo>
                    <a:pt x="455" y="1168"/>
                    <a:pt x="455" y="1168"/>
                    <a:pt x="455" y="1168"/>
                  </a:cubicBezTo>
                  <a:cubicBezTo>
                    <a:pt x="455" y="1161"/>
                    <a:pt x="455" y="1161"/>
                    <a:pt x="455" y="1161"/>
                  </a:cubicBezTo>
                  <a:moveTo>
                    <a:pt x="470" y="1161"/>
                  </a:moveTo>
                  <a:cubicBezTo>
                    <a:pt x="463" y="1161"/>
                    <a:pt x="463" y="1161"/>
                    <a:pt x="463" y="1161"/>
                  </a:cubicBezTo>
                  <a:cubicBezTo>
                    <a:pt x="463" y="1168"/>
                    <a:pt x="463" y="1168"/>
                    <a:pt x="463" y="1168"/>
                  </a:cubicBezTo>
                  <a:cubicBezTo>
                    <a:pt x="470" y="1168"/>
                    <a:pt x="470" y="1168"/>
                    <a:pt x="470" y="1168"/>
                  </a:cubicBezTo>
                  <a:cubicBezTo>
                    <a:pt x="470" y="1161"/>
                    <a:pt x="470" y="1161"/>
                    <a:pt x="470" y="1161"/>
                  </a:cubicBezTo>
                  <a:moveTo>
                    <a:pt x="485" y="1161"/>
                  </a:moveTo>
                  <a:cubicBezTo>
                    <a:pt x="478" y="1161"/>
                    <a:pt x="478" y="1161"/>
                    <a:pt x="478" y="1161"/>
                  </a:cubicBezTo>
                  <a:cubicBezTo>
                    <a:pt x="478" y="1168"/>
                    <a:pt x="478" y="1168"/>
                    <a:pt x="478" y="1168"/>
                  </a:cubicBezTo>
                  <a:cubicBezTo>
                    <a:pt x="485" y="1168"/>
                    <a:pt x="485" y="1168"/>
                    <a:pt x="485" y="1168"/>
                  </a:cubicBezTo>
                  <a:cubicBezTo>
                    <a:pt x="485" y="1161"/>
                    <a:pt x="485" y="1161"/>
                    <a:pt x="485" y="1161"/>
                  </a:cubicBezTo>
                  <a:moveTo>
                    <a:pt x="499" y="1161"/>
                  </a:moveTo>
                  <a:cubicBezTo>
                    <a:pt x="492" y="1161"/>
                    <a:pt x="492" y="1161"/>
                    <a:pt x="492" y="1161"/>
                  </a:cubicBezTo>
                  <a:cubicBezTo>
                    <a:pt x="492" y="1168"/>
                    <a:pt x="492" y="1168"/>
                    <a:pt x="492" y="1168"/>
                  </a:cubicBezTo>
                  <a:cubicBezTo>
                    <a:pt x="499" y="1168"/>
                    <a:pt x="499" y="1168"/>
                    <a:pt x="499" y="1168"/>
                  </a:cubicBezTo>
                  <a:cubicBezTo>
                    <a:pt x="499" y="1161"/>
                    <a:pt x="499" y="1161"/>
                    <a:pt x="499" y="1161"/>
                  </a:cubicBezTo>
                  <a:moveTo>
                    <a:pt x="514" y="1161"/>
                  </a:moveTo>
                  <a:cubicBezTo>
                    <a:pt x="507" y="1161"/>
                    <a:pt x="507" y="1161"/>
                    <a:pt x="507" y="1161"/>
                  </a:cubicBezTo>
                  <a:cubicBezTo>
                    <a:pt x="507" y="1168"/>
                    <a:pt x="507" y="1168"/>
                    <a:pt x="507" y="1168"/>
                  </a:cubicBezTo>
                  <a:cubicBezTo>
                    <a:pt x="514" y="1168"/>
                    <a:pt x="514" y="1168"/>
                    <a:pt x="514" y="1168"/>
                  </a:cubicBezTo>
                  <a:cubicBezTo>
                    <a:pt x="514" y="1161"/>
                    <a:pt x="514" y="1161"/>
                    <a:pt x="514" y="1161"/>
                  </a:cubicBezTo>
                  <a:moveTo>
                    <a:pt x="529" y="1161"/>
                  </a:moveTo>
                  <a:cubicBezTo>
                    <a:pt x="522" y="1161"/>
                    <a:pt x="522" y="1161"/>
                    <a:pt x="522" y="1161"/>
                  </a:cubicBezTo>
                  <a:cubicBezTo>
                    <a:pt x="522" y="1168"/>
                    <a:pt x="522" y="1168"/>
                    <a:pt x="522" y="1168"/>
                  </a:cubicBezTo>
                  <a:cubicBezTo>
                    <a:pt x="529" y="1168"/>
                    <a:pt x="529" y="1168"/>
                    <a:pt x="529" y="1168"/>
                  </a:cubicBezTo>
                  <a:cubicBezTo>
                    <a:pt x="529" y="1161"/>
                    <a:pt x="529" y="1161"/>
                    <a:pt x="529" y="1161"/>
                  </a:cubicBezTo>
                  <a:moveTo>
                    <a:pt x="544" y="1161"/>
                  </a:moveTo>
                  <a:cubicBezTo>
                    <a:pt x="537" y="1161"/>
                    <a:pt x="537" y="1161"/>
                    <a:pt x="537" y="1161"/>
                  </a:cubicBezTo>
                  <a:cubicBezTo>
                    <a:pt x="537" y="1168"/>
                    <a:pt x="537" y="1168"/>
                    <a:pt x="537" y="1168"/>
                  </a:cubicBezTo>
                  <a:cubicBezTo>
                    <a:pt x="544" y="1168"/>
                    <a:pt x="544" y="1168"/>
                    <a:pt x="544" y="1168"/>
                  </a:cubicBezTo>
                  <a:cubicBezTo>
                    <a:pt x="544" y="1161"/>
                    <a:pt x="544" y="1161"/>
                    <a:pt x="544" y="1161"/>
                  </a:cubicBezTo>
                  <a:moveTo>
                    <a:pt x="204" y="1146"/>
                  </a:moveTo>
                  <a:cubicBezTo>
                    <a:pt x="197" y="1146"/>
                    <a:pt x="197" y="1146"/>
                    <a:pt x="197" y="1146"/>
                  </a:cubicBezTo>
                  <a:cubicBezTo>
                    <a:pt x="197" y="1153"/>
                    <a:pt x="197" y="1153"/>
                    <a:pt x="197" y="1153"/>
                  </a:cubicBezTo>
                  <a:cubicBezTo>
                    <a:pt x="204" y="1153"/>
                    <a:pt x="204" y="1153"/>
                    <a:pt x="204" y="1153"/>
                  </a:cubicBezTo>
                  <a:cubicBezTo>
                    <a:pt x="204" y="1146"/>
                    <a:pt x="204" y="1146"/>
                    <a:pt x="204" y="1146"/>
                  </a:cubicBezTo>
                  <a:moveTo>
                    <a:pt x="219" y="1146"/>
                  </a:moveTo>
                  <a:cubicBezTo>
                    <a:pt x="212" y="1146"/>
                    <a:pt x="212" y="1146"/>
                    <a:pt x="212" y="1146"/>
                  </a:cubicBezTo>
                  <a:cubicBezTo>
                    <a:pt x="212" y="1153"/>
                    <a:pt x="212" y="1153"/>
                    <a:pt x="212" y="1153"/>
                  </a:cubicBezTo>
                  <a:cubicBezTo>
                    <a:pt x="219" y="1153"/>
                    <a:pt x="219" y="1153"/>
                    <a:pt x="219" y="1153"/>
                  </a:cubicBezTo>
                  <a:cubicBezTo>
                    <a:pt x="219" y="1146"/>
                    <a:pt x="219" y="1146"/>
                    <a:pt x="219" y="1146"/>
                  </a:cubicBezTo>
                  <a:moveTo>
                    <a:pt x="234" y="1146"/>
                  </a:moveTo>
                  <a:cubicBezTo>
                    <a:pt x="227" y="1146"/>
                    <a:pt x="227" y="1146"/>
                    <a:pt x="227" y="1146"/>
                  </a:cubicBezTo>
                  <a:cubicBezTo>
                    <a:pt x="227" y="1153"/>
                    <a:pt x="227" y="1153"/>
                    <a:pt x="227" y="1153"/>
                  </a:cubicBezTo>
                  <a:cubicBezTo>
                    <a:pt x="234" y="1153"/>
                    <a:pt x="234" y="1153"/>
                    <a:pt x="234" y="1153"/>
                  </a:cubicBezTo>
                  <a:cubicBezTo>
                    <a:pt x="234" y="1146"/>
                    <a:pt x="234" y="1146"/>
                    <a:pt x="234" y="1146"/>
                  </a:cubicBezTo>
                  <a:moveTo>
                    <a:pt x="249" y="1146"/>
                  </a:moveTo>
                  <a:cubicBezTo>
                    <a:pt x="242" y="1146"/>
                    <a:pt x="242" y="1146"/>
                    <a:pt x="242" y="1146"/>
                  </a:cubicBezTo>
                  <a:cubicBezTo>
                    <a:pt x="242" y="1153"/>
                    <a:pt x="242" y="1153"/>
                    <a:pt x="242" y="1153"/>
                  </a:cubicBezTo>
                  <a:cubicBezTo>
                    <a:pt x="249" y="1153"/>
                    <a:pt x="249" y="1153"/>
                    <a:pt x="249" y="1153"/>
                  </a:cubicBezTo>
                  <a:cubicBezTo>
                    <a:pt x="249" y="1146"/>
                    <a:pt x="249" y="1146"/>
                    <a:pt x="249" y="1146"/>
                  </a:cubicBezTo>
                  <a:moveTo>
                    <a:pt x="263" y="1146"/>
                  </a:moveTo>
                  <a:cubicBezTo>
                    <a:pt x="256" y="1146"/>
                    <a:pt x="256" y="1146"/>
                    <a:pt x="256" y="1146"/>
                  </a:cubicBezTo>
                  <a:cubicBezTo>
                    <a:pt x="256" y="1153"/>
                    <a:pt x="256" y="1153"/>
                    <a:pt x="256" y="1153"/>
                  </a:cubicBezTo>
                  <a:cubicBezTo>
                    <a:pt x="263" y="1153"/>
                    <a:pt x="263" y="1153"/>
                    <a:pt x="263" y="1153"/>
                  </a:cubicBezTo>
                  <a:cubicBezTo>
                    <a:pt x="263" y="1146"/>
                    <a:pt x="263" y="1146"/>
                    <a:pt x="263" y="1146"/>
                  </a:cubicBezTo>
                  <a:moveTo>
                    <a:pt x="278" y="1146"/>
                  </a:moveTo>
                  <a:cubicBezTo>
                    <a:pt x="271" y="1146"/>
                    <a:pt x="271" y="1146"/>
                    <a:pt x="271" y="1146"/>
                  </a:cubicBezTo>
                  <a:cubicBezTo>
                    <a:pt x="271" y="1153"/>
                    <a:pt x="271" y="1153"/>
                    <a:pt x="271" y="1153"/>
                  </a:cubicBezTo>
                  <a:cubicBezTo>
                    <a:pt x="278" y="1153"/>
                    <a:pt x="278" y="1153"/>
                    <a:pt x="278" y="1153"/>
                  </a:cubicBezTo>
                  <a:cubicBezTo>
                    <a:pt x="278" y="1146"/>
                    <a:pt x="278" y="1146"/>
                    <a:pt x="278" y="1146"/>
                  </a:cubicBezTo>
                  <a:moveTo>
                    <a:pt x="293" y="1146"/>
                  </a:moveTo>
                  <a:cubicBezTo>
                    <a:pt x="286" y="1146"/>
                    <a:pt x="286" y="1146"/>
                    <a:pt x="286" y="1146"/>
                  </a:cubicBezTo>
                  <a:cubicBezTo>
                    <a:pt x="286" y="1153"/>
                    <a:pt x="286" y="1153"/>
                    <a:pt x="286" y="1153"/>
                  </a:cubicBezTo>
                  <a:cubicBezTo>
                    <a:pt x="293" y="1153"/>
                    <a:pt x="293" y="1153"/>
                    <a:pt x="293" y="1153"/>
                  </a:cubicBezTo>
                  <a:cubicBezTo>
                    <a:pt x="293" y="1146"/>
                    <a:pt x="293" y="1146"/>
                    <a:pt x="293" y="1146"/>
                  </a:cubicBezTo>
                  <a:moveTo>
                    <a:pt x="308" y="1146"/>
                  </a:moveTo>
                  <a:cubicBezTo>
                    <a:pt x="301" y="1146"/>
                    <a:pt x="301" y="1146"/>
                    <a:pt x="301" y="1146"/>
                  </a:cubicBezTo>
                  <a:cubicBezTo>
                    <a:pt x="301" y="1153"/>
                    <a:pt x="301" y="1153"/>
                    <a:pt x="301" y="1153"/>
                  </a:cubicBezTo>
                  <a:cubicBezTo>
                    <a:pt x="308" y="1153"/>
                    <a:pt x="308" y="1153"/>
                    <a:pt x="308" y="1153"/>
                  </a:cubicBezTo>
                  <a:cubicBezTo>
                    <a:pt x="308" y="1146"/>
                    <a:pt x="308" y="1146"/>
                    <a:pt x="308" y="1146"/>
                  </a:cubicBezTo>
                  <a:moveTo>
                    <a:pt x="322" y="1146"/>
                  </a:moveTo>
                  <a:cubicBezTo>
                    <a:pt x="315" y="1146"/>
                    <a:pt x="315" y="1146"/>
                    <a:pt x="315" y="1146"/>
                  </a:cubicBezTo>
                  <a:cubicBezTo>
                    <a:pt x="315" y="1153"/>
                    <a:pt x="315" y="1153"/>
                    <a:pt x="315" y="1153"/>
                  </a:cubicBezTo>
                  <a:cubicBezTo>
                    <a:pt x="322" y="1153"/>
                    <a:pt x="322" y="1153"/>
                    <a:pt x="322" y="1153"/>
                  </a:cubicBezTo>
                  <a:cubicBezTo>
                    <a:pt x="322" y="1146"/>
                    <a:pt x="322" y="1146"/>
                    <a:pt x="322" y="1146"/>
                  </a:cubicBezTo>
                  <a:moveTo>
                    <a:pt x="337" y="1146"/>
                  </a:moveTo>
                  <a:cubicBezTo>
                    <a:pt x="330" y="1146"/>
                    <a:pt x="330" y="1146"/>
                    <a:pt x="330" y="1146"/>
                  </a:cubicBezTo>
                  <a:cubicBezTo>
                    <a:pt x="330" y="1153"/>
                    <a:pt x="330" y="1153"/>
                    <a:pt x="330" y="1153"/>
                  </a:cubicBezTo>
                  <a:cubicBezTo>
                    <a:pt x="337" y="1153"/>
                    <a:pt x="337" y="1153"/>
                    <a:pt x="337" y="1153"/>
                  </a:cubicBezTo>
                  <a:cubicBezTo>
                    <a:pt x="337" y="1146"/>
                    <a:pt x="337" y="1146"/>
                    <a:pt x="337" y="1146"/>
                  </a:cubicBezTo>
                  <a:moveTo>
                    <a:pt x="352" y="1146"/>
                  </a:moveTo>
                  <a:cubicBezTo>
                    <a:pt x="345" y="1146"/>
                    <a:pt x="345" y="1146"/>
                    <a:pt x="345" y="1146"/>
                  </a:cubicBezTo>
                  <a:cubicBezTo>
                    <a:pt x="345" y="1153"/>
                    <a:pt x="345" y="1153"/>
                    <a:pt x="345" y="1153"/>
                  </a:cubicBezTo>
                  <a:cubicBezTo>
                    <a:pt x="352" y="1153"/>
                    <a:pt x="352" y="1153"/>
                    <a:pt x="352" y="1153"/>
                  </a:cubicBezTo>
                  <a:cubicBezTo>
                    <a:pt x="352" y="1146"/>
                    <a:pt x="352" y="1146"/>
                    <a:pt x="352" y="1146"/>
                  </a:cubicBezTo>
                  <a:moveTo>
                    <a:pt x="367" y="1146"/>
                  </a:moveTo>
                  <a:cubicBezTo>
                    <a:pt x="360" y="1146"/>
                    <a:pt x="360" y="1146"/>
                    <a:pt x="360" y="1146"/>
                  </a:cubicBezTo>
                  <a:cubicBezTo>
                    <a:pt x="360" y="1153"/>
                    <a:pt x="360" y="1153"/>
                    <a:pt x="360" y="1153"/>
                  </a:cubicBezTo>
                  <a:cubicBezTo>
                    <a:pt x="367" y="1153"/>
                    <a:pt x="367" y="1153"/>
                    <a:pt x="367" y="1153"/>
                  </a:cubicBezTo>
                  <a:cubicBezTo>
                    <a:pt x="367" y="1146"/>
                    <a:pt x="367" y="1146"/>
                    <a:pt x="367" y="1146"/>
                  </a:cubicBezTo>
                  <a:moveTo>
                    <a:pt x="381" y="1146"/>
                  </a:moveTo>
                  <a:cubicBezTo>
                    <a:pt x="374" y="1146"/>
                    <a:pt x="374" y="1146"/>
                    <a:pt x="374" y="1146"/>
                  </a:cubicBezTo>
                  <a:cubicBezTo>
                    <a:pt x="374" y="1153"/>
                    <a:pt x="374" y="1153"/>
                    <a:pt x="374" y="1153"/>
                  </a:cubicBezTo>
                  <a:cubicBezTo>
                    <a:pt x="381" y="1153"/>
                    <a:pt x="381" y="1153"/>
                    <a:pt x="381" y="1153"/>
                  </a:cubicBezTo>
                  <a:cubicBezTo>
                    <a:pt x="381" y="1146"/>
                    <a:pt x="381" y="1146"/>
                    <a:pt x="381" y="1146"/>
                  </a:cubicBezTo>
                  <a:moveTo>
                    <a:pt x="396" y="1146"/>
                  </a:moveTo>
                  <a:cubicBezTo>
                    <a:pt x="389" y="1146"/>
                    <a:pt x="389" y="1146"/>
                    <a:pt x="389" y="1146"/>
                  </a:cubicBezTo>
                  <a:cubicBezTo>
                    <a:pt x="389" y="1153"/>
                    <a:pt x="389" y="1153"/>
                    <a:pt x="389" y="1153"/>
                  </a:cubicBezTo>
                  <a:cubicBezTo>
                    <a:pt x="396" y="1153"/>
                    <a:pt x="396" y="1153"/>
                    <a:pt x="396" y="1153"/>
                  </a:cubicBezTo>
                  <a:cubicBezTo>
                    <a:pt x="396" y="1146"/>
                    <a:pt x="396" y="1146"/>
                    <a:pt x="396" y="1146"/>
                  </a:cubicBezTo>
                  <a:moveTo>
                    <a:pt x="411" y="1146"/>
                  </a:moveTo>
                  <a:cubicBezTo>
                    <a:pt x="404" y="1146"/>
                    <a:pt x="404" y="1146"/>
                    <a:pt x="404" y="1146"/>
                  </a:cubicBezTo>
                  <a:cubicBezTo>
                    <a:pt x="404" y="1153"/>
                    <a:pt x="404" y="1153"/>
                    <a:pt x="404" y="1153"/>
                  </a:cubicBezTo>
                  <a:cubicBezTo>
                    <a:pt x="411" y="1153"/>
                    <a:pt x="411" y="1153"/>
                    <a:pt x="411" y="1153"/>
                  </a:cubicBezTo>
                  <a:cubicBezTo>
                    <a:pt x="411" y="1146"/>
                    <a:pt x="411" y="1146"/>
                    <a:pt x="411" y="1146"/>
                  </a:cubicBezTo>
                  <a:moveTo>
                    <a:pt x="426" y="1146"/>
                  </a:moveTo>
                  <a:cubicBezTo>
                    <a:pt x="419" y="1146"/>
                    <a:pt x="419" y="1146"/>
                    <a:pt x="419" y="1146"/>
                  </a:cubicBezTo>
                  <a:cubicBezTo>
                    <a:pt x="419" y="1153"/>
                    <a:pt x="419" y="1153"/>
                    <a:pt x="419" y="1153"/>
                  </a:cubicBezTo>
                  <a:cubicBezTo>
                    <a:pt x="426" y="1153"/>
                    <a:pt x="426" y="1153"/>
                    <a:pt x="426" y="1153"/>
                  </a:cubicBezTo>
                  <a:cubicBezTo>
                    <a:pt x="426" y="1146"/>
                    <a:pt x="426" y="1146"/>
                    <a:pt x="426" y="1146"/>
                  </a:cubicBezTo>
                  <a:moveTo>
                    <a:pt x="440" y="1146"/>
                  </a:moveTo>
                  <a:cubicBezTo>
                    <a:pt x="433" y="1146"/>
                    <a:pt x="433" y="1146"/>
                    <a:pt x="433" y="1146"/>
                  </a:cubicBezTo>
                  <a:cubicBezTo>
                    <a:pt x="433" y="1153"/>
                    <a:pt x="433" y="1153"/>
                    <a:pt x="433" y="1153"/>
                  </a:cubicBezTo>
                  <a:cubicBezTo>
                    <a:pt x="440" y="1153"/>
                    <a:pt x="440" y="1153"/>
                    <a:pt x="440" y="1153"/>
                  </a:cubicBezTo>
                  <a:cubicBezTo>
                    <a:pt x="440" y="1146"/>
                    <a:pt x="440" y="1146"/>
                    <a:pt x="440" y="1146"/>
                  </a:cubicBezTo>
                  <a:moveTo>
                    <a:pt x="455" y="1146"/>
                  </a:moveTo>
                  <a:cubicBezTo>
                    <a:pt x="448" y="1146"/>
                    <a:pt x="448" y="1146"/>
                    <a:pt x="448" y="1146"/>
                  </a:cubicBezTo>
                  <a:cubicBezTo>
                    <a:pt x="448" y="1153"/>
                    <a:pt x="448" y="1153"/>
                    <a:pt x="448" y="1153"/>
                  </a:cubicBezTo>
                  <a:cubicBezTo>
                    <a:pt x="455" y="1153"/>
                    <a:pt x="455" y="1153"/>
                    <a:pt x="455" y="1153"/>
                  </a:cubicBezTo>
                  <a:cubicBezTo>
                    <a:pt x="455" y="1146"/>
                    <a:pt x="455" y="1146"/>
                    <a:pt x="455" y="1146"/>
                  </a:cubicBezTo>
                  <a:moveTo>
                    <a:pt x="470" y="1146"/>
                  </a:moveTo>
                  <a:cubicBezTo>
                    <a:pt x="463" y="1146"/>
                    <a:pt x="463" y="1146"/>
                    <a:pt x="463" y="1146"/>
                  </a:cubicBezTo>
                  <a:cubicBezTo>
                    <a:pt x="463" y="1153"/>
                    <a:pt x="463" y="1153"/>
                    <a:pt x="463" y="1153"/>
                  </a:cubicBezTo>
                  <a:cubicBezTo>
                    <a:pt x="470" y="1153"/>
                    <a:pt x="470" y="1153"/>
                    <a:pt x="470" y="1153"/>
                  </a:cubicBezTo>
                  <a:cubicBezTo>
                    <a:pt x="470" y="1146"/>
                    <a:pt x="470" y="1146"/>
                    <a:pt x="470" y="1146"/>
                  </a:cubicBezTo>
                  <a:moveTo>
                    <a:pt x="485" y="1146"/>
                  </a:moveTo>
                  <a:cubicBezTo>
                    <a:pt x="478" y="1146"/>
                    <a:pt x="478" y="1146"/>
                    <a:pt x="478" y="1146"/>
                  </a:cubicBezTo>
                  <a:cubicBezTo>
                    <a:pt x="478" y="1153"/>
                    <a:pt x="478" y="1153"/>
                    <a:pt x="478" y="1153"/>
                  </a:cubicBezTo>
                  <a:cubicBezTo>
                    <a:pt x="485" y="1153"/>
                    <a:pt x="485" y="1153"/>
                    <a:pt x="485" y="1153"/>
                  </a:cubicBezTo>
                  <a:cubicBezTo>
                    <a:pt x="485" y="1146"/>
                    <a:pt x="485" y="1146"/>
                    <a:pt x="485" y="1146"/>
                  </a:cubicBezTo>
                  <a:moveTo>
                    <a:pt x="499" y="1146"/>
                  </a:moveTo>
                  <a:cubicBezTo>
                    <a:pt x="492" y="1146"/>
                    <a:pt x="492" y="1146"/>
                    <a:pt x="492" y="1146"/>
                  </a:cubicBezTo>
                  <a:cubicBezTo>
                    <a:pt x="492" y="1153"/>
                    <a:pt x="492" y="1153"/>
                    <a:pt x="492" y="1153"/>
                  </a:cubicBezTo>
                  <a:cubicBezTo>
                    <a:pt x="499" y="1153"/>
                    <a:pt x="499" y="1153"/>
                    <a:pt x="499" y="1153"/>
                  </a:cubicBezTo>
                  <a:cubicBezTo>
                    <a:pt x="499" y="1146"/>
                    <a:pt x="499" y="1146"/>
                    <a:pt x="499" y="1146"/>
                  </a:cubicBezTo>
                  <a:moveTo>
                    <a:pt x="514" y="1146"/>
                  </a:moveTo>
                  <a:cubicBezTo>
                    <a:pt x="507" y="1146"/>
                    <a:pt x="507" y="1146"/>
                    <a:pt x="507" y="1146"/>
                  </a:cubicBezTo>
                  <a:cubicBezTo>
                    <a:pt x="507" y="1153"/>
                    <a:pt x="507" y="1153"/>
                    <a:pt x="507" y="1153"/>
                  </a:cubicBezTo>
                  <a:cubicBezTo>
                    <a:pt x="514" y="1153"/>
                    <a:pt x="514" y="1153"/>
                    <a:pt x="514" y="1153"/>
                  </a:cubicBezTo>
                  <a:cubicBezTo>
                    <a:pt x="514" y="1146"/>
                    <a:pt x="514" y="1146"/>
                    <a:pt x="514" y="1146"/>
                  </a:cubicBezTo>
                  <a:moveTo>
                    <a:pt x="529" y="1146"/>
                  </a:moveTo>
                  <a:cubicBezTo>
                    <a:pt x="522" y="1146"/>
                    <a:pt x="522" y="1146"/>
                    <a:pt x="522" y="1146"/>
                  </a:cubicBezTo>
                  <a:cubicBezTo>
                    <a:pt x="522" y="1153"/>
                    <a:pt x="522" y="1153"/>
                    <a:pt x="522" y="1153"/>
                  </a:cubicBezTo>
                  <a:cubicBezTo>
                    <a:pt x="529" y="1153"/>
                    <a:pt x="529" y="1153"/>
                    <a:pt x="529" y="1153"/>
                  </a:cubicBezTo>
                  <a:cubicBezTo>
                    <a:pt x="529" y="1146"/>
                    <a:pt x="529" y="1146"/>
                    <a:pt x="529" y="1146"/>
                  </a:cubicBezTo>
                  <a:moveTo>
                    <a:pt x="544" y="1146"/>
                  </a:moveTo>
                  <a:cubicBezTo>
                    <a:pt x="537" y="1146"/>
                    <a:pt x="537" y="1146"/>
                    <a:pt x="537" y="1146"/>
                  </a:cubicBezTo>
                  <a:cubicBezTo>
                    <a:pt x="537" y="1153"/>
                    <a:pt x="537" y="1153"/>
                    <a:pt x="537" y="1153"/>
                  </a:cubicBezTo>
                  <a:cubicBezTo>
                    <a:pt x="544" y="1153"/>
                    <a:pt x="544" y="1153"/>
                    <a:pt x="544" y="1153"/>
                  </a:cubicBezTo>
                  <a:cubicBezTo>
                    <a:pt x="544" y="1146"/>
                    <a:pt x="544" y="1146"/>
                    <a:pt x="544" y="1146"/>
                  </a:cubicBezTo>
                  <a:moveTo>
                    <a:pt x="204" y="1131"/>
                  </a:moveTo>
                  <a:cubicBezTo>
                    <a:pt x="197" y="1131"/>
                    <a:pt x="197" y="1131"/>
                    <a:pt x="197" y="1131"/>
                  </a:cubicBezTo>
                  <a:cubicBezTo>
                    <a:pt x="197" y="1138"/>
                    <a:pt x="197" y="1138"/>
                    <a:pt x="197" y="1138"/>
                  </a:cubicBezTo>
                  <a:cubicBezTo>
                    <a:pt x="204" y="1138"/>
                    <a:pt x="204" y="1138"/>
                    <a:pt x="204" y="1138"/>
                  </a:cubicBezTo>
                  <a:cubicBezTo>
                    <a:pt x="204" y="1131"/>
                    <a:pt x="204" y="1131"/>
                    <a:pt x="204" y="1131"/>
                  </a:cubicBezTo>
                  <a:moveTo>
                    <a:pt x="219" y="1131"/>
                  </a:moveTo>
                  <a:cubicBezTo>
                    <a:pt x="212" y="1131"/>
                    <a:pt x="212" y="1131"/>
                    <a:pt x="212" y="1131"/>
                  </a:cubicBezTo>
                  <a:cubicBezTo>
                    <a:pt x="212" y="1138"/>
                    <a:pt x="212" y="1138"/>
                    <a:pt x="212" y="1138"/>
                  </a:cubicBezTo>
                  <a:cubicBezTo>
                    <a:pt x="219" y="1138"/>
                    <a:pt x="219" y="1138"/>
                    <a:pt x="219" y="1138"/>
                  </a:cubicBezTo>
                  <a:cubicBezTo>
                    <a:pt x="219" y="1131"/>
                    <a:pt x="219" y="1131"/>
                    <a:pt x="219" y="1131"/>
                  </a:cubicBezTo>
                  <a:moveTo>
                    <a:pt x="234" y="1131"/>
                  </a:moveTo>
                  <a:cubicBezTo>
                    <a:pt x="227" y="1131"/>
                    <a:pt x="227" y="1131"/>
                    <a:pt x="227" y="1131"/>
                  </a:cubicBezTo>
                  <a:cubicBezTo>
                    <a:pt x="227" y="1138"/>
                    <a:pt x="227" y="1138"/>
                    <a:pt x="227" y="1138"/>
                  </a:cubicBezTo>
                  <a:cubicBezTo>
                    <a:pt x="234" y="1138"/>
                    <a:pt x="234" y="1138"/>
                    <a:pt x="234" y="1138"/>
                  </a:cubicBezTo>
                  <a:cubicBezTo>
                    <a:pt x="234" y="1131"/>
                    <a:pt x="234" y="1131"/>
                    <a:pt x="234" y="1131"/>
                  </a:cubicBezTo>
                  <a:moveTo>
                    <a:pt x="249" y="1131"/>
                  </a:moveTo>
                  <a:cubicBezTo>
                    <a:pt x="242" y="1131"/>
                    <a:pt x="242" y="1131"/>
                    <a:pt x="242" y="1131"/>
                  </a:cubicBezTo>
                  <a:cubicBezTo>
                    <a:pt x="242" y="1138"/>
                    <a:pt x="242" y="1138"/>
                    <a:pt x="242" y="1138"/>
                  </a:cubicBezTo>
                  <a:cubicBezTo>
                    <a:pt x="249" y="1138"/>
                    <a:pt x="249" y="1138"/>
                    <a:pt x="249" y="1138"/>
                  </a:cubicBezTo>
                  <a:cubicBezTo>
                    <a:pt x="249" y="1131"/>
                    <a:pt x="249" y="1131"/>
                    <a:pt x="249" y="1131"/>
                  </a:cubicBezTo>
                  <a:moveTo>
                    <a:pt x="263" y="1131"/>
                  </a:moveTo>
                  <a:cubicBezTo>
                    <a:pt x="256" y="1131"/>
                    <a:pt x="256" y="1131"/>
                    <a:pt x="256" y="1131"/>
                  </a:cubicBezTo>
                  <a:cubicBezTo>
                    <a:pt x="256" y="1138"/>
                    <a:pt x="256" y="1138"/>
                    <a:pt x="256" y="1138"/>
                  </a:cubicBezTo>
                  <a:cubicBezTo>
                    <a:pt x="263" y="1138"/>
                    <a:pt x="263" y="1138"/>
                    <a:pt x="263" y="1138"/>
                  </a:cubicBezTo>
                  <a:cubicBezTo>
                    <a:pt x="263" y="1131"/>
                    <a:pt x="263" y="1131"/>
                    <a:pt x="263" y="1131"/>
                  </a:cubicBezTo>
                  <a:moveTo>
                    <a:pt x="278" y="1131"/>
                  </a:moveTo>
                  <a:cubicBezTo>
                    <a:pt x="271" y="1131"/>
                    <a:pt x="271" y="1131"/>
                    <a:pt x="271" y="1131"/>
                  </a:cubicBezTo>
                  <a:cubicBezTo>
                    <a:pt x="271" y="1138"/>
                    <a:pt x="271" y="1138"/>
                    <a:pt x="271" y="1138"/>
                  </a:cubicBezTo>
                  <a:cubicBezTo>
                    <a:pt x="278" y="1138"/>
                    <a:pt x="278" y="1138"/>
                    <a:pt x="278" y="1138"/>
                  </a:cubicBezTo>
                  <a:cubicBezTo>
                    <a:pt x="278" y="1131"/>
                    <a:pt x="278" y="1131"/>
                    <a:pt x="278" y="1131"/>
                  </a:cubicBezTo>
                  <a:moveTo>
                    <a:pt x="293" y="1131"/>
                  </a:moveTo>
                  <a:cubicBezTo>
                    <a:pt x="286" y="1131"/>
                    <a:pt x="286" y="1131"/>
                    <a:pt x="286" y="1131"/>
                  </a:cubicBezTo>
                  <a:cubicBezTo>
                    <a:pt x="286" y="1138"/>
                    <a:pt x="286" y="1138"/>
                    <a:pt x="286" y="1138"/>
                  </a:cubicBezTo>
                  <a:cubicBezTo>
                    <a:pt x="293" y="1138"/>
                    <a:pt x="293" y="1138"/>
                    <a:pt x="293" y="1138"/>
                  </a:cubicBezTo>
                  <a:cubicBezTo>
                    <a:pt x="293" y="1131"/>
                    <a:pt x="293" y="1131"/>
                    <a:pt x="293" y="1131"/>
                  </a:cubicBezTo>
                  <a:moveTo>
                    <a:pt x="308" y="1131"/>
                  </a:moveTo>
                  <a:cubicBezTo>
                    <a:pt x="301" y="1131"/>
                    <a:pt x="301" y="1131"/>
                    <a:pt x="301" y="1131"/>
                  </a:cubicBezTo>
                  <a:cubicBezTo>
                    <a:pt x="301" y="1138"/>
                    <a:pt x="301" y="1138"/>
                    <a:pt x="301" y="1138"/>
                  </a:cubicBezTo>
                  <a:cubicBezTo>
                    <a:pt x="308" y="1138"/>
                    <a:pt x="308" y="1138"/>
                    <a:pt x="308" y="1138"/>
                  </a:cubicBezTo>
                  <a:cubicBezTo>
                    <a:pt x="308" y="1131"/>
                    <a:pt x="308" y="1131"/>
                    <a:pt x="308" y="1131"/>
                  </a:cubicBezTo>
                  <a:moveTo>
                    <a:pt x="322" y="1131"/>
                  </a:moveTo>
                  <a:cubicBezTo>
                    <a:pt x="315" y="1131"/>
                    <a:pt x="315" y="1131"/>
                    <a:pt x="315" y="1131"/>
                  </a:cubicBezTo>
                  <a:cubicBezTo>
                    <a:pt x="315" y="1138"/>
                    <a:pt x="315" y="1138"/>
                    <a:pt x="315" y="1138"/>
                  </a:cubicBezTo>
                  <a:cubicBezTo>
                    <a:pt x="322" y="1138"/>
                    <a:pt x="322" y="1138"/>
                    <a:pt x="322" y="1138"/>
                  </a:cubicBezTo>
                  <a:cubicBezTo>
                    <a:pt x="322" y="1131"/>
                    <a:pt x="322" y="1131"/>
                    <a:pt x="322" y="1131"/>
                  </a:cubicBezTo>
                  <a:moveTo>
                    <a:pt x="337" y="1131"/>
                  </a:moveTo>
                  <a:cubicBezTo>
                    <a:pt x="330" y="1131"/>
                    <a:pt x="330" y="1131"/>
                    <a:pt x="330" y="1131"/>
                  </a:cubicBezTo>
                  <a:cubicBezTo>
                    <a:pt x="330" y="1138"/>
                    <a:pt x="330" y="1138"/>
                    <a:pt x="330" y="1138"/>
                  </a:cubicBezTo>
                  <a:cubicBezTo>
                    <a:pt x="337" y="1138"/>
                    <a:pt x="337" y="1138"/>
                    <a:pt x="337" y="1138"/>
                  </a:cubicBezTo>
                  <a:cubicBezTo>
                    <a:pt x="337" y="1131"/>
                    <a:pt x="337" y="1131"/>
                    <a:pt x="337" y="1131"/>
                  </a:cubicBezTo>
                  <a:moveTo>
                    <a:pt x="352" y="1131"/>
                  </a:moveTo>
                  <a:cubicBezTo>
                    <a:pt x="345" y="1131"/>
                    <a:pt x="345" y="1131"/>
                    <a:pt x="345" y="1131"/>
                  </a:cubicBezTo>
                  <a:cubicBezTo>
                    <a:pt x="345" y="1138"/>
                    <a:pt x="345" y="1138"/>
                    <a:pt x="345" y="1138"/>
                  </a:cubicBezTo>
                  <a:cubicBezTo>
                    <a:pt x="352" y="1138"/>
                    <a:pt x="352" y="1138"/>
                    <a:pt x="352" y="1138"/>
                  </a:cubicBezTo>
                  <a:cubicBezTo>
                    <a:pt x="352" y="1131"/>
                    <a:pt x="352" y="1131"/>
                    <a:pt x="352" y="1131"/>
                  </a:cubicBezTo>
                  <a:moveTo>
                    <a:pt x="367" y="1131"/>
                  </a:moveTo>
                  <a:cubicBezTo>
                    <a:pt x="360" y="1131"/>
                    <a:pt x="360" y="1131"/>
                    <a:pt x="360" y="1131"/>
                  </a:cubicBezTo>
                  <a:cubicBezTo>
                    <a:pt x="360" y="1138"/>
                    <a:pt x="360" y="1138"/>
                    <a:pt x="360" y="1138"/>
                  </a:cubicBezTo>
                  <a:cubicBezTo>
                    <a:pt x="367" y="1138"/>
                    <a:pt x="367" y="1138"/>
                    <a:pt x="367" y="1138"/>
                  </a:cubicBezTo>
                  <a:cubicBezTo>
                    <a:pt x="367" y="1131"/>
                    <a:pt x="367" y="1131"/>
                    <a:pt x="367" y="1131"/>
                  </a:cubicBezTo>
                  <a:moveTo>
                    <a:pt x="381" y="1131"/>
                  </a:moveTo>
                  <a:cubicBezTo>
                    <a:pt x="374" y="1131"/>
                    <a:pt x="374" y="1131"/>
                    <a:pt x="374" y="1131"/>
                  </a:cubicBezTo>
                  <a:cubicBezTo>
                    <a:pt x="374" y="1138"/>
                    <a:pt x="374" y="1138"/>
                    <a:pt x="374" y="1138"/>
                  </a:cubicBezTo>
                  <a:cubicBezTo>
                    <a:pt x="381" y="1138"/>
                    <a:pt x="381" y="1138"/>
                    <a:pt x="381" y="1138"/>
                  </a:cubicBezTo>
                  <a:cubicBezTo>
                    <a:pt x="381" y="1131"/>
                    <a:pt x="381" y="1131"/>
                    <a:pt x="381" y="1131"/>
                  </a:cubicBezTo>
                  <a:moveTo>
                    <a:pt x="396" y="1131"/>
                  </a:moveTo>
                  <a:cubicBezTo>
                    <a:pt x="389" y="1131"/>
                    <a:pt x="389" y="1131"/>
                    <a:pt x="389" y="1131"/>
                  </a:cubicBezTo>
                  <a:cubicBezTo>
                    <a:pt x="389" y="1138"/>
                    <a:pt x="389" y="1138"/>
                    <a:pt x="389" y="1138"/>
                  </a:cubicBezTo>
                  <a:cubicBezTo>
                    <a:pt x="396" y="1138"/>
                    <a:pt x="396" y="1138"/>
                    <a:pt x="396" y="1138"/>
                  </a:cubicBezTo>
                  <a:cubicBezTo>
                    <a:pt x="396" y="1131"/>
                    <a:pt x="396" y="1131"/>
                    <a:pt x="396" y="1131"/>
                  </a:cubicBezTo>
                  <a:moveTo>
                    <a:pt x="411" y="1131"/>
                  </a:moveTo>
                  <a:cubicBezTo>
                    <a:pt x="404" y="1131"/>
                    <a:pt x="404" y="1131"/>
                    <a:pt x="404" y="1131"/>
                  </a:cubicBezTo>
                  <a:cubicBezTo>
                    <a:pt x="404" y="1138"/>
                    <a:pt x="404" y="1138"/>
                    <a:pt x="404" y="1138"/>
                  </a:cubicBezTo>
                  <a:cubicBezTo>
                    <a:pt x="411" y="1138"/>
                    <a:pt x="411" y="1138"/>
                    <a:pt x="411" y="1138"/>
                  </a:cubicBezTo>
                  <a:cubicBezTo>
                    <a:pt x="411" y="1131"/>
                    <a:pt x="411" y="1131"/>
                    <a:pt x="411" y="1131"/>
                  </a:cubicBezTo>
                  <a:moveTo>
                    <a:pt x="426" y="1131"/>
                  </a:moveTo>
                  <a:cubicBezTo>
                    <a:pt x="419" y="1131"/>
                    <a:pt x="419" y="1131"/>
                    <a:pt x="419" y="1131"/>
                  </a:cubicBezTo>
                  <a:cubicBezTo>
                    <a:pt x="419" y="1138"/>
                    <a:pt x="419" y="1138"/>
                    <a:pt x="419" y="1138"/>
                  </a:cubicBezTo>
                  <a:cubicBezTo>
                    <a:pt x="426" y="1138"/>
                    <a:pt x="426" y="1138"/>
                    <a:pt x="426" y="1138"/>
                  </a:cubicBezTo>
                  <a:cubicBezTo>
                    <a:pt x="426" y="1131"/>
                    <a:pt x="426" y="1131"/>
                    <a:pt x="426" y="1131"/>
                  </a:cubicBezTo>
                  <a:moveTo>
                    <a:pt x="440" y="1131"/>
                  </a:moveTo>
                  <a:cubicBezTo>
                    <a:pt x="433" y="1131"/>
                    <a:pt x="433" y="1131"/>
                    <a:pt x="433" y="1131"/>
                  </a:cubicBezTo>
                  <a:cubicBezTo>
                    <a:pt x="433" y="1138"/>
                    <a:pt x="433" y="1138"/>
                    <a:pt x="433" y="1138"/>
                  </a:cubicBezTo>
                  <a:cubicBezTo>
                    <a:pt x="440" y="1138"/>
                    <a:pt x="440" y="1138"/>
                    <a:pt x="440" y="1138"/>
                  </a:cubicBezTo>
                  <a:cubicBezTo>
                    <a:pt x="440" y="1131"/>
                    <a:pt x="440" y="1131"/>
                    <a:pt x="440" y="1131"/>
                  </a:cubicBezTo>
                  <a:moveTo>
                    <a:pt x="455" y="1131"/>
                  </a:moveTo>
                  <a:cubicBezTo>
                    <a:pt x="448" y="1131"/>
                    <a:pt x="448" y="1131"/>
                    <a:pt x="448" y="1131"/>
                  </a:cubicBezTo>
                  <a:cubicBezTo>
                    <a:pt x="448" y="1138"/>
                    <a:pt x="448" y="1138"/>
                    <a:pt x="448" y="1138"/>
                  </a:cubicBezTo>
                  <a:cubicBezTo>
                    <a:pt x="455" y="1138"/>
                    <a:pt x="455" y="1138"/>
                    <a:pt x="455" y="1138"/>
                  </a:cubicBezTo>
                  <a:cubicBezTo>
                    <a:pt x="455" y="1131"/>
                    <a:pt x="455" y="1131"/>
                    <a:pt x="455" y="1131"/>
                  </a:cubicBezTo>
                  <a:moveTo>
                    <a:pt x="470" y="1131"/>
                  </a:moveTo>
                  <a:cubicBezTo>
                    <a:pt x="463" y="1131"/>
                    <a:pt x="463" y="1131"/>
                    <a:pt x="463" y="1131"/>
                  </a:cubicBezTo>
                  <a:cubicBezTo>
                    <a:pt x="463" y="1138"/>
                    <a:pt x="463" y="1138"/>
                    <a:pt x="463" y="1138"/>
                  </a:cubicBezTo>
                  <a:cubicBezTo>
                    <a:pt x="470" y="1138"/>
                    <a:pt x="470" y="1138"/>
                    <a:pt x="470" y="1138"/>
                  </a:cubicBezTo>
                  <a:cubicBezTo>
                    <a:pt x="470" y="1131"/>
                    <a:pt x="470" y="1131"/>
                    <a:pt x="470" y="1131"/>
                  </a:cubicBezTo>
                  <a:moveTo>
                    <a:pt x="485" y="1131"/>
                  </a:moveTo>
                  <a:cubicBezTo>
                    <a:pt x="478" y="1131"/>
                    <a:pt x="478" y="1131"/>
                    <a:pt x="478" y="1131"/>
                  </a:cubicBezTo>
                  <a:cubicBezTo>
                    <a:pt x="478" y="1138"/>
                    <a:pt x="478" y="1138"/>
                    <a:pt x="478" y="1138"/>
                  </a:cubicBezTo>
                  <a:cubicBezTo>
                    <a:pt x="485" y="1138"/>
                    <a:pt x="485" y="1138"/>
                    <a:pt x="485" y="1138"/>
                  </a:cubicBezTo>
                  <a:cubicBezTo>
                    <a:pt x="485" y="1131"/>
                    <a:pt x="485" y="1131"/>
                    <a:pt x="485" y="1131"/>
                  </a:cubicBezTo>
                  <a:moveTo>
                    <a:pt x="499" y="1131"/>
                  </a:moveTo>
                  <a:cubicBezTo>
                    <a:pt x="492" y="1131"/>
                    <a:pt x="492" y="1131"/>
                    <a:pt x="492" y="1131"/>
                  </a:cubicBezTo>
                  <a:cubicBezTo>
                    <a:pt x="492" y="1138"/>
                    <a:pt x="492" y="1138"/>
                    <a:pt x="492" y="1138"/>
                  </a:cubicBezTo>
                  <a:cubicBezTo>
                    <a:pt x="499" y="1138"/>
                    <a:pt x="499" y="1138"/>
                    <a:pt x="499" y="1138"/>
                  </a:cubicBezTo>
                  <a:cubicBezTo>
                    <a:pt x="499" y="1131"/>
                    <a:pt x="499" y="1131"/>
                    <a:pt x="499" y="1131"/>
                  </a:cubicBezTo>
                  <a:moveTo>
                    <a:pt x="514" y="1131"/>
                  </a:moveTo>
                  <a:cubicBezTo>
                    <a:pt x="507" y="1131"/>
                    <a:pt x="507" y="1131"/>
                    <a:pt x="507" y="1131"/>
                  </a:cubicBezTo>
                  <a:cubicBezTo>
                    <a:pt x="507" y="1138"/>
                    <a:pt x="507" y="1138"/>
                    <a:pt x="507" y="1138"/>
                  </a:cubicBezTo>
                  <a:cubicBezTo>
                    <a:pt x="514" y="1138"/>
                    <a:pt x="514" y="1138"/>
                    <a:pt x="514" y="1138"/>
                  </a:cubicBezTo>
                  <a:cubicBezTo>
                    <a:pt x="514" y="1131"/>
                    <a:pt x="514" y="1131"/>
                    <a:pt x="514" y="1131"/>
                  </a:cubicBezTo>
                  <a:moveTo>
                    <a:pt x="529" y="1131"/>
                  </a:moveTo>
                  <a:cubicBezTo>
                    <a:pt x="522" y="1131"/>
                    <a:pt x="522" y="1131"/>
                    <a:pt x="522" y="1131"/>
                  </a:cubicBezTo>
                  <a:cubicBezTo>
                    <a:pt x="522" y="1138"/>
                    <a:pt x="522" y="1138"/>
                    <a:pt x="522" y="1138"/>
                  </a:cubicBezTo>
                  <a:cubicBezTo>
                    <a:pt x="529" y="1138"/>
                    <a:pt x="529" y="1138"/>
                    <a:pt x="529" y="1138"/>
                  </a:cubicBezTo>
                  <a:cubicBezTo>
                    <a:pt x="529" y="1131"/>
                    <a:pt x="529" y="1131"/>
                    <a:pt x="529" y="1131"/>
                  </a:cubicBezTo>
                  <a:moveTo>
                    <a:pt x="544" y="1131"/>
                  </a:moveTo>
                  <a:cubicBezTo>
                    <a:pt x="537" y="1131"/>
                    <a:pt x="537" y="1131"/>
                    <a:pt x="537" y="1131"/>
                  </a:cubicBezTo>
                  <a:cubicBezTo>
                    <a:pt x="537" y="1138"/>
                    <a:pt x="537" y="1138"/>
                    <a:pt x="537" y="1138"/>
                  </a:cubicBezTo>
                  <a:cubicBezTo>
                    <a:pt x="544" y="1138"/>
                    <a:pt x="544" y="1138"/>
                    <a:pt x="544" y="1138"/>
                  </a:cubicBezTo>
                  <a:cubicBezTo>
                    <a:pt x="544" y="1131"/>
                    <a:pt x="544" y="1131"/>
                    <a:pt x="544" y="1131"/>
                  </a:cubicBezTo>
                  <a:moveTo>
                    <a:pt x="219" y="1117"/>
                  </a:moveTo>
                  <a:cubicBezTo>
                    <a:pt x="212" y="1117"/>
                    <a:pt x="212" y="1117"/>
                    <a:pt x="212" y="1117"/>
                  </a:cubicBezTo>
                  <a:cubicBezTo>
                    <a:pt x="212" y="1124"/>
                    <a:pt x="212" y="1124"/>
                    <a:pt x="212" y="1124"/>
                  </a:cubicBezTo>
                  <a:cubicBezTo>
                    <a:pt x="219" y="1124"/>
                    <a:pt x="219" y="1124"/>
                    <a:pt x="219" y="1124"/>
                  </a:cubicBezTo>
                  <a:cubicBezTo>
                    <a:pt x="219" y="1117"/>
                    <a:pt x="219" y="1117"/>
                    <a:pt x="219" y="1117"/>
                  </a:cubicBezTo>
                  <a:moveTo>
                    <a:pt x="234" y="1117"/>
                  </a:moveTo>
                  <a:cubicBezTo>
                    <a:pt x="227" y="1117"/>
                    <a:pt x="227" y="1117"/>
                    <a:pt x="227" y="1117"/>
                  </a:cubicBezTo>
                  <a:cubicBezTo>
                    <a:pt x="227" y="1124"/>
                    <a:pt x="227" y="1124"/>
                    <a:pt x="227" y="1124"/>
                  </a:cubicBezTo>
                  <a:cubicBezTo>
                    <a:pt x="234" y="1124"/>
                    <a:pt x="234" y="1124"/>
                    <a:pt x="234" y="1124"/>
                  </a:cubicBezTo>
                  <a:cubicBezTo>
                    <a:pt x="234" y="1117"/>
                    <a:pt x="234" y="1117"/>
                    <a:pt x="234" y="1117"/>
                  </a:cubicBezTo>
                  <a:moveTo>
                    <a:pt x="249" y="1117"/>
                  </a:moveTo>
                  <a:cubicBezTo>
                    <a:pt x="242" y="1117"/>
                    <a:pt x="242" y="1117"/>
                    <a:pt x="242" y="1117"/>
                  </a:cubicBezTo>
                  <a:cubicBezTo>
                    <a:pt x="242" y="1124"/>
                    <a:pt x="242" y="1124"/>
                    <a:pt x="242" y="1124"/>
                  </a:cubicBezTo>
                  <a:cubicBezTo>
                    <a:pt x="249" y="1124"/>
                    <a:pt x="249" y="1124"/>
                    <a:pt x="249" y="1124"/>
                  </a:cubicBezTo>
                  <a:cubicBezTo>
                    <a:pt x="249" y="1117"/>
                    <a:pt x="249" y="1117"/>
                    <a:pt x="249" y="1117"/>
                  </a:cubicBezTo>
                  <a:moveTo>
                    <a:pt x="263" y="1117"/>
                  </a:moveTo>
                  <a:cubicBezTo>
                    <a:pt x="256" y="1117"/>
                    <a:pt x="256" y="1117"/>
                    <a:pt x="256" y="1117"/>
                  </a:cubicBezTo>
                  <a:cubicBezTo>
                    <a:pt x="256" y="1124"/>
                    <a:pt x="256" y="1124"/>
                    <a:pt x="256" y="1124"/>
                  </a:cubicBezTo>
                  <a:cubicBezTo>
                    <a:pt x="263" y="1124"/>
                    <a:pt x="263" y="1124"/>
                    <a:pt x="263" y="1124"/>
                  </a:cubicBezTo>
                  <a:cubicBezTo>
                    <a:pt x="263" y="1117"/>
                    <a:pt x="263" y="1117"/>
                    <a:pt x="263" y="1117"/>
                  </a:cubicBezTo>
                  <a:moveTo>
                    <a:pt x="278" y="1117"/>
                  </a:moveTo>
                  <a:cubicBezTo>
                    <a:pt x="271" y="1117"/>
                    <a:pt x="271" y="1117"/>
                    <a:pt x="271" y="1117"/>
                  </a:cubicBezTo>
                  <a:cubicBezTo>
                    <a:pt x="271" y="1124"/>
                    <a:pt x="271" y="1124"/>
                    <a:pt x="271" y="1124"/>
                  </a:cubicBezTo>
                  <a:cubicBezTo>
                    <a:pt x="278" y="1124"/>
                    <a:pt x="278" y="1124"/>
                    <a:pt x="278" y="1124"/>
                  </a:cubicBezTo>
                  <a:cubicBezTo>
                    <a:pt x="278" y="1117"/>
                    <a:pt x="278" y="1117"/>
                    <a:pt x="278" y="1117"/>
                  </a:cubicBezTo>
                  <a:moveTo>
                    <a:pt x="293" y="1117"/>
                  </a:moveTo>
                  <a:cubicBezTo>
                    <a:pt x="286" y="1117"/>
                    <a:pt x="286" y="1117"/>
                    <a:pt x="286" y="1117"/>
                  </a:cubicBezTo>
                  <a:cubicBezTo>
                    <a:pt x="286" y="1124"/>
                    <a:pt x="286" y="1124"/>
                    <a:pt x="286" y="1124"/>
                  </a:cubicBezTo>
                  <a:cubicBezTo>
                    <a:pt x="293" y="1124"/>
                    <a:pt x="293" y="1124"/>
                    <a:pt x="293" y="1124"/>
                  </a:cubicBezTo>
                  <a:cubicBezTo>
                    <a:pt x="293" y="1117"/>
                    <a:pt x="293" y="1117"/>
                    <a:pt x="293" y="1117"/>
                  </a:cubicBezTo>
                  <a:moveTo>
                    <a:pt x="308" y="1117"/>
                  </a:moveTo>
                  <a:cubicBezTo>
                    <a:pt x="301" y="1117"/>
                    <a:pt x="301" y="1117"/>
                    <a:pt x="301" y="1117"/>
                  </a:cubicBezTo>
                  <a:cubicBezTo>
                    <a:pt x="301" y="1124"/>
                    <a:pt x="301" y="1124"/>
                    <a:pt x="301" y="1124"/>
                  </a:cubicBezTo>
                  <a:cubicBezTo>
                    <a:pt x="308" y="1124"/>
                    <a:pt x="308" y="1124"/>
                    <a:pt x="308" y="1124"/>
                  </a:cubicBezTo>
                  <a:cubicBezTo>
                    <a:pt x="308" y="1117"/>
                    <a:pt x="308" y="1117"/>
                    <a:pt x="308" y="1117"/>
                  </a:cubicBezTo>
                  <a:moveTo>
                    <a:pt x="322" y="1117"/>
                  </a:moveTo>
                  <a:cubicBezTo>
                    <a:pt x="315" y="1117"/>
                    <a:pt x="315" y="1117"/>
                    <a:pt x="315" y="1117"/>
                  </a:cubicBezTo>
                  <a:cubicBezTo>
                    <a:pt x="315" y="1124"/>
                    <a:pt x="315" y="1124"/>
                    <a:pt x="315" y="1124"/>
                  </a:cubicBezTo>
                  <a:cubicBezTo>
                    <a:pt x="322" y="1124"/>
                    <a:pt x="322" y="1124"/>
                    <a:pt x="322" y="1124"/>
                  </a:cubicBezTo>
                  <a:cubicBezTo>
                    <a:pt x="322" y="1117"/>
                    <a:pt x="322" y="1117"/>
                    <a:pt x="322" y="1117"/>
                  </a:cubicBezTo>
                  <a:moveTo>
                    <a:pt x="337" y="1117"/>
                  </a:moveTo>
                  <a:cubicBezTo>
                    <a:pt x="330" y="1117"/>
                    <a:pt x="330" y="1117"/>
                    <a:pt x="330" y="1117"/>
                  </a:cubicBezTo>
                  <a:cubicBezTo>
                    <a:pt x="330" y="1124"/>
                    <a:pt x="330" y="1124"/>
                    <a:pt x="330" y="1124"/>
                  </a:cubicBezTo>
                  <a:cubicBezTo>
                    <a:pt x="337" y="1124"/>
                    <a:pt x="337" y="1124"/>
                    <a:pt x="337" y="1124"/>
                  </a:cubicBezTo>
                  <a:cubicBezTo>
                    <a:pt x="337" y="1117"/>
                    <a:pt x="337" y="1117"/>
                    <a:pt x="337" y="1117"/>
                  </a:cubicBezTo>
                  <a:moveTo>
                    <a:pt x="352" y="1117"/>
                  </a:moveTo>
                  <a:cubicBezTo>
                    <a:pt x="345" y="1117"/>
                    <a:pt x="345" y="1117"/>
                    <a:pt x="345" y="1117"/>
                  </a:cubicBezTo>
                  <a:cubicBezTo>
                    <a:pt x="345" y="1124"/>
                    <a:pt x="345" y="1124"/>
                    <a:pt x="345" y="1124"/>
                  </a:cubicBezTo>
                  <a:cubicBezTo>
                    <a:pt x="352" y="1124"/>
                    <a:pt x="352" y="1124"/>
                    <a:pt x="352" y="1124"/>
                  </a:cubicBezTo>
                  <a:cubicBezTo>
                    <a:pt x="352" y="1117"/>
                    <a:pt x="352" y="1117"/>
                    <a:pt x="352" y="1117"/>
                  </a:cubicBezTo>
                  <a:moveTo>
                    <a:pt x="367" y="1117"/>
                  </a:moveTo>
                  <a:cubicBezTo>
                    <a:pt x="360" y="1117"/>
                    <a:pt x="360" y="1117"/>
                    <a:pt x="360" y="1117"/>
                  </a:cubicBezTo>
                  <a:cubicBezTo>
                    <a:pt x="360" y="1124"/>
                    <a:pt x="360" y="1124"/>
                    <a:pt x="360" y="1124"/>
                  </a:cubicBezTo>
                  <a:cubicBezTo>
                    <a:pt x="367" y="1124"/>
                    <a:pt x="367" y="1124"/>
                    <a:pt x="367" y="1124"/>
                  </a:cubicBezTo>
                  <a:cubicBezTo>
                    <a:pt x="367" y="1117"/>
                    <a:pt x="367" y="1117"/>
                    <a:pt x="367" y="1117"/>
                  </a:cubicBezTo>
                  <a:moveTo>
                    <a:pt x="381" y="1117"/>
                  </a:moveTo>
                  <a:cubicBezTo>
                    <a:pt x="374" y="1117"/>
                    <a:pt x="374" y="1117"/>
                    <a:pt x="374" y="1117"/>
                  </a:cubicBezTo>
                  <a:cubicBezTo>
                    <a:pt x="374" y="1124"/>
                    <a:pt x="374" y="1124"/>
                    <a:pt x="374" y="1124"/>
                  </a:cubicBezTo>
                  <a:cubicBezTo>
                    <a:pt x="381" y="1124"/>
                    <a:pt x="381" y="1124"/>
                    <a:pt x="381" y="1124"/>
                  </a:cubicBezTo>
                  <a:cubicBezTo>
                    <a:pt x="381" y="1117"/>
                    <a:pt x="381" y="1117"/>
                    <a:pt x="381" y="1117"/>
                  </a:cubicBezTo>
                  <a:moveTo>
                    <a:pt x="396" y="1117"/>
                  </a:moveTo>
                  <a:cubicBezTo>
                    <a:pt x="389" y="1117"/>
                    <a:pt x="389" y="1117"/>
                    <a:pt x="389" y="1117"/>
                  </a:cubicBezTo>
                  <a:cubicBezTo>
                    <a:pt x="389" y="1124"/>
                    <a:pt x="389" y="1124"/>
                    <a:pt x="389" y="1124"/>
                  </a:cubicBezTo>
                  <a:cubicBezTo>
                    <a:pt x="396" y="1124"/>
                    <a:pt x="396" y="1124"/>
                    <a:pt x="396" y="1124"/>
                  </a:cubicBezTo>
                  <a:cubicBezTo>
                    <a:pt x="396" y="1117"/>
                    <a:pt x="396" y="1117"/>
                    <a:pt x="396" y="1117"/>
                  </a:cubicBezTo>
                  <a:moveTo>
                    <a:pt x="411" y="1117"/>
                  </a:moveTo>
                  <a:cubicBezTo>
                    <a:pt x="404" y="1117"/>
                    <a:pt x="404" y="1117"/>
                    <a:pt x="404" y="1117"/>
                  </a:cubicBezTo>
                  <a:cubicBezTo>
                    <a:pt x="404" y="1124"/>
                    <a:pt x="404" y="1124"/>
                    <a:pt x="404" y="1124"/>
                  </a:cubicBezTo>
                  <a:cubicBezTo>
                    <a:pt x="411" y="1124"/>
                    <a:pt x="411" y="1124"/>
                    <a:pt x="411" y="1124"/>
                  </a:cubicBezTo>
                  <a:cubicBezTo>
                    <a:pt x="411" y="1117"/>
                    <a:pt x="411" y="1117"/>
                    <a:pt x="411" y="1117"/>
                  </a:cubicBezTo>
                  <a:moveTo>
                    <a:pt x="426" y="1117"/>
                  </a:moveTo>
                  <a:cubicBezTo>
                    <a:pt x="419" y="1117"/>
                    <a:pt x="419" y="1117"/>
                    <a:pt x="419" y="1117"/>
                  </a:cubicBezTo>
                  <a:cubicBezTo>
                    <a:pt x="419" y="1124"/>
                    <a:pt x="419" y="1124"/>
                    <a:pt x="419" y="1124"/>
                  </a:cubicBezTo>
                  <a:cubicBezTo>
                    <a:pt x="426" y="1124"/>
                    <a:pt x="426" y="1124"/>
                    <a:pt x="426" y="1124"/>
                  </a:cubicBezTo>
                  <a:cubicBezTo>
                    <a:pt x="426" y="1117"/>
                    <a:pt x="426" y="1117"/>
                    <a:pt x="426" y="1117"/>
                  </a:cubicBezTo>
                  <a:moveTo>
                    <a:pt x="440" y="1117"/>
                  </a:moveTo>
                  <a:cubicBezTo>
                    <a:pt x="433" y="1117"/>
                    <a:pt x="433" y="1117"/>
                    <a:pt x="433" y="1117"/>
                  </a:cubicBezTo>
                  <a:cubicBezTo>
                    <a:pt x="433" y="1124"/>
                    <a:pt x="433" y="1124"/>
                    <a:pt x="433" y="1124"/>
                  </a:cubicBezTo>
                  <a:cubicBezTo>
                    <a:pt x="440" y="1124"/>
                    <a:pt x="440" y="1124"/>
                    <a:pt x="440" y="1124"/>
                  </a:cubicBezTo>
                  <a:cubicBezTo>
                    <a:pt x="440" y="1117"/>
                    <a:pt x="440" y="1117"/>
                    <a:pt x="440" y="1117"/>
                  </a:cubicBezTo>
                  <a:moveTo>
                    <a:pt x="455" y="1117"/>
                  </a:moveTo>
                  <a:cubicBezTo>
                    <a:pt x="448" y="1117"/>
                    <a:pt x="448" y="1117"/>
                    <a:pt x="448" y="1117"/>
                  </a:cubicBezTo>
                  <a:cubicBezTo>
                    <a:pt x="448" y="1124"/>
                    <a:pt x="448" y="1124"/>
                    <a:pt x="448" y="1124"/>
                  </a:cubicBezTo>
                  <a:cubicBezTo>
                    <a:pt x="455" y="1124"/>
                    <a:pt x="455" y="1124"/>
                    <a:pt x="455" y="1124"/>
                  </a:cubicBezTo>
                  <a:cubicBezTo>
                    <a:pt x="455" y="1117"/>
                    <a:pt x="455" y="1117"/>
                    <a:pt x="455" y="1117"/>
                  </a:cubicBezTo>
                  <a:moveTo>
                    <a:pt x="470" y="1117"/>
                  </a:moveTo>
                  <a:cubicBezTo>
                    <a:pt x="463" y="1117"/>
                    <a:pt x="463" y="1117"/>
                    <a:pt x="463" y="1117"/>
                  </a:cubicBezTo>
                  <a:cubicBezTo>
                    <a:pt x="463" y="1124"/>
                    <a:pt x="463" y="1124"/>
                    <a:pt x="463" y="1124"/>
                  </a:cubicBezTo>
                  <a:cubicBezTo>
                    <a:pt x="470" y="1124"/>
                    <a:pt x="470" y="1124"/>
                    <a:pt x="470" y="1124"/>
                  </a:cubicBezTo>
                  <a:cubicBezTo>
                    <a:pt x="470" y="1117"/>
                    <a:pt x="470" y="1117"/>
                    <a:pt x="470" y="1117"/>
                  </a:cubicBezTo>
                  <a:moveTo>
                    <a:pt x="485" y="1117"/>
                  </a:moveTo>
                  <a:cubicBezTo>
                    <a:pt x="478" y="1117"/>
                    <a:pt x="478" y="1117"/>
                    <a:pt x="478" y="1117"/>
                  </a:cubicBezTo>
                  <a:cubicBezTo>
                    <a:pt x="478" y="1124"/>
                    <a:pt x="478" y="1124"/>
                    <a:pt x="478" y="1124"/>
                  </a:cubicBezTo>
                  <a:cubicBezTo>
                    <a:pt x="485" y="1124"/>
                    <a:pt x="485" y="1124"/>
                    <a:pt x="485" y="1124"/>
                  </a:cubicBezTo>
                  <a:cubicBezTo>
                    <a:pt x="485" y="1117"/>
                    <a:pt x="485" y="1117"/>
                    <a:pt x="485" y="1117"/>
                  </a:cubicBezTo>
                  <a:moveTo>
                    <a:pt x="499" y="1117"/>
                  </a:moveTo>
                  <a:cubicBezTo>
                    <a:pt x="492" y="1117"/>
                    <a:pt x="492" y="1117"/>
                    <a:pt x="492" y="1117"/>
                  </a:cubicBezTo>
                  <a:cubicBezTo>
                    <a:pt x="492" y="1124"/>
                    <a:pt x="492" y="1124"/>
                    <a:pt x="492" y="1124"/>
                  </a:cubicBezTo>
                  <a:cubicBezTo>
                    <a:pt x="499" y="1124"/>
                    <a:pt x="499" y="1124"/>
                    <a:pt x="499" y="1124"/>
                  </a:cubicBezTo>
                  <a:cubicBezTo>
                    <a:pt x="499" y="1117"/>
                    <a:pt x="499" y="1117"/>
                    <a:pt x="499" y="1117"/>
                  </a:cubicBezTo>
                  <a:moveTo>
                    <a:pt x="514" y="1117"/>
                  </a:moveTo>
                  <a:cubicBezTo>
                    <a:pt x="507" y="1117"/>
                    <a:pt x="507" y="1117"/>
                    <a:pt x="507" y="1117"/>
                  </a:cubicBezTo>
                  <a:cubicBezTo>
                    <a:pt x="507" y="1124"/>
                    <a:pt x="507" y="1124"/>
                    <a:pt x="507" y="1124"/>
                  </a:cubicBezTo>
                  <a:cubicBezTo>
                    <a:pt x="514" y="1124"/>
                    <a:pt x="514" y="1124"/>
                    <a:pt x="514" y="1124"/>
                  </a:cubicBezTo>
                  <a:cubicBezTo>
                    <a:pt x="514" y="1117"/>
                    <a:pt x="514" y="1117"/>
                    <a:pt x="514" y="1117"/>
                  </a:cubicBezTo>
                  <a:moveTo>
                    <a:pt x="529" y="1117"/>
                  </a:moveTo>
                  <a:cubicBezTo>
                    <a:pt x="522" y="1117"/>
                    <a:pt x="522" y="1117"/>
                    <a:pt x="522" y="1117"/>
                  </a:cubicBezTo>
                  <a:cubicBezTo>
                    <a:pt x="522" y="1124"/>
                    <a:pt x="522" y="1124"/>
                    <a:pt x="522" y="1124"/>
                  </a:cubicBezTo>
                  <a:cubicBezTo>
                    <a:pt x="529" y="1124"/>
                    <a:pt x="529" y="1124"/>
                    <a:pt x="529" y="1124"/>
                  </a:cubicBezTo>
                  <a:cubicBezTo>
                    <a:pt x="529" y="1117"/>
                    <a:pt x="529" y="1117"/>
                    <a:pt x="529" y="1117"/>
                  </a:cubicBezTo>
                  <a:moveTo>
                    <a:pt x="219" y="1102"/>
                  </a:moveTo>
                  <a:cubicBezTo>
                    <a:pt x="212" y="1102"/>
                    <a:pt x="212" y="1102"/>
                    <a:pt x="212" y="1102"/>
                  </a:cubicBezTo>
                  <a:cubicBezTo>
                    <a:pt x="212" y="1109"/>
                    <a:pt x="212" y="1109"/>
                    <a:pt x="212" y="1109"/>
                  </a:cubicBezTo>
                  <a:cubicBezTo>
                    <a:pt x="219" y="1109"/>
                    <a:pt x="219" y="1109"/>
                    <a:pt x="219" y="1109"/>
                  </a:cubicBezTo>
                  <a:cubicBezTo>
                    <a:pt x="219" y="1102"/>
                    <a:pt x="219" y="1102"/>
                    <a:pt x="219" y="1102"/>
                  </a:cubicBezTo>
                  <a:moveTo>
                    <a:pt x="234" y="1102"/>
                  </a:moveTo>
                  <a:cubicBezTo>
                    <a:pt x="227" y="1102"/>
                    <a:pt x="227" y="1102"/>
                    <a:pt x="227" y="1102"/>
                  </a:cubicBezTo>
                  <a:cubicBezTo>
                    <a:pt x="227" y="1109"/>
                    <a:pt x="227" y="1109"/>
                    <a:pt x="227" y="1109"/>
                  </a:cubicBezTo>
                  <a:cubicBezTo>
                    <a:pt x="234" y="1109"/>
                    <a:pt x="234" y="1109"/>
                    <a:pt x="234" y="1109"/>
                  </a:cubicBezTo>
                  <a:cubicBezTo>
                    <a:pt x="234" y="1102"/>
                    <a:pt x="234" y="1102"/>
                    <a:pt x="234" y="1102"/>
                  </a:cubicBezTo>
                  <a:moveTo>
                    <a:pt x="249" y="1102"/>
                  </a:moveTo>
                  <a:cubicBezTo>
                    <a:pt x="242" y="1102"/>
                    <a:pt x="242" y="1102"/>
                    <a:pt x="242" y="1102"/>
                  </a:cubicBezTo>
                  <a:cubicBezTo>
                    <a:pt x="242" y="1109"/>
                    <a:pt x="242" y="1109"/>
                    <a:pt x="242" y="1109"/>
                  </a:cubicBezTo>
                  <a:cubicBezTo>
                    <a:pt x="249" y="1109"/>
                    <a:pt x="249" y="1109"/>
                    <a:pt x="249" y="1109"/>
                  </a:cubicBezTo>
                  <a:cubicBezTo>
                    <a:pt x="249" y="1102"/>
                    <a:pt x="249" y="1102"/>
                    <a:pt x="249" y="1102"/>
                  </a:cubicBezTo>
                  <a:moveTo>
                    <a:pt x="263" y="1102"/>
                  </a:moveTo>
                  <a:cubicBezTo>
                    <a:pt x="256" y="1102"/>
                    <a:pt x="256" y="1102"/>
                    <a:pt x="256" y="1102"/>
                  </a:cubicBezTo>
                  <a:cubicBezTo>
                    <a:pt x="256" y="1109"/>
                    <a:pt x="256" y="1109"/>
                    <a:pt x="256" y="1109"/>
                  </a:cubicBezTo>
                  <a:cubicBezTo>
                    <a:pt x="263" y="1109"/>
                    <a:pt x="263" y="1109"/>
                    <a:pt x="263" y="1109"/>
                  </a:cubicBezTo>
                  <a:cubicBezTo>
                    <a:pt x="263" y="1102"/>
                    <a:pt x="263" y="1102"/>
                    <a:pt x="263" y="1102"/>
                  </a:cubicBezTo>
                  <a:moveTo>
                    <a:pt x="278" y="1102"/>
                  </a:moveTo>
                  <a:cubicBezTo>
                    <a:pt x="271" y="1102"/>
                    <a:pt x="271" y="1102"/>
                    <a:pt x="271" y="1102"/>
                  </a:cubicBezTo>
                  <a:cubicBezTo>
                    <a:pt x="271" y="1109"/>
                    <a:pt x="271" y="1109"/>
                    <a:pt x="271" y="1109"/>
                  </a:cubicBezTo>
                  <a:cubicBezTo>
                    <a:pt x="278" y="1109"/>
                    <a:pt x="278" y="1109"/>
                    <a:pt x="278" y="1109"/>
                  </a:cubicBezTo>
                  <a:cubicBezTo>
                    <a:pt x="278" y="1102"/>
                    <a:pt x="278" y="1102"/>
                    <a:pt x="278" y="1102"/>
                  </a:cubicBezTo>
                  <a:moveTo>
                    <a:pt x="293" y="1102"/>
                  </a:moveTo>
                  <a:cubicBezTo>
                    <a:pt x="286" y="1102"/>
                    <a:pt x="286" y="1102"/>
                    <a:pt x="286" y="1102"/>
                  </a:cubicBezTo>
                  <a:cubicBezTo>
                    <a:pt x="286" y="1109"/>
                    <a:pt x="286" y="1109"/>
                    <a:pt x="286" y="1109"/>
                  </a:cubicBezTo>
                  <a:cubicBezTo>
                    <a:pt x="293" y="1109"/>
                    <a:pt x="293" y="1109"/>
                    <a:pt x="293" y="1109"/>
                  </a:cubicBezTo>
                  <a:cubicBezTo>
                    <a:pt x="293" y="1102"/>
                    <a:pt x="293" y="1102"/>
                    <a:pt x="293" y="1102"/>
                  </a:cubicBezTo>
                  <a:moveTo>
                    <a:pt x="308" y="1102"/>
                  </a:moveTo>
                  <a:cubicBezTo>
                    <a:pt x="301" y="1102"/>
                    <a:pt x="301" y="1102"/>
                    <a:pt x="301" y="1102"/>
                  </a:cubicBezTo>
                  <a:cubicBezTo>
                    <a:pt x="301" y="1109"/>
                    <a:pt x="301" y="1109"/>
                    <a:pt x="301" y="1109"/>
                  </a:cubicBezTo>
                  <a:cubicBezTo>
                    <a:pt x="308" y="1109"/>
                    <a:pt x="308" y="1109"/>
                    <a:pt x="308" y="1109"/>
                  </a:cubicBezTo>
                  <a:cubicBezTo>
                    <a:pt x="308" y="1102"/>
                    <a:pt x="308" y="1102"/>
                    <a:pt x="308" y="1102"/>
                  </a:cubicBezTo>
                  <a:moveTo>
                    <a:pt x="322" y="1102"/>
                  </a:moveTo>
                  <a:cubicBezTo>
                    <a:pt x="315" y="1102"/>
                    <a:pt x="315" y="1102"/>
                    <a:pt x="315" y="1102"/>
                  </a:cubicBezTo>
                  <a:cubicBezTo>
                    <a:pt x="315" y="1109"/>
                    <a:pt x="315" y="1109"/>
                    <a:pt x="315" y="1109"/>
                  </a:cubicBezTo>
                  <a:cubicBezTo>
                    <a:pt x="322" y="1109"/>
                    <a:pt x="322" y="1109"/>
                    <a:pt x="322" y="1109"/>
                  </a:cubicBezTo>
                  <a:cubicBezTo>
                    <a:pt x="322" y="1102"/>
                    <a:pt x="322" y="1102"/>
                    <a:pt x="322" y="1102"/>
                  </a:cubicBezTo>
                  <a:moveTo>
                    <a:pt x="337" y="1102"/>
                  </a:moveTo>
                  <a:cubicBezTo>
                    <a:pt x="330" y="1102"/>
                    <a:pt x="330" y="1102"/>
                    <a:pt x="330" y="1102"/>
                  </a:cubicBezTo>
                  <a:cubicBezTo>
                    <a:pt x="330" y="1109"/>
                    <a:pt x="330" y="1109"/>
                    <a:pt x="330" y="1109"/>
                  </a:cubicBezTo>
                  <a:cubicBezTo>
                    <a:pt x="337" y="1109"/>
                    <a:pt x="337" y="1109"/>
                    <a:pt x="337" y="1109"/>
                  </a:cubicBezTo>
                  <a:cubicBezTo>
                    <a:pt x="337" y="1102"/>
                    <a:pt x="337" y="1102"/>
                    <a:pt x="337" y="1102"/>
                  </a:cubicBezTo>
                  <a:moveTo>
                    <a:pt x="352" y="1102"/>
                  </a:moveTo>
                  <a:cubicBezTo>
                    <a:pt x="345" y="1102"/>
                    <a:pt x="345" y="1102"/>
                    <a:pt x="345" y="1102"/>
                  </a:cubicBezTo>
                  <a:cubicBezTo>
                    <a:pt x="345" y="1109"/>
                    <a:pt x="345" y="1109"/>
                    <a:pt x="345" y="1109"/>
                  </a:cubicBezTo>
                  <a:cubicBezTo>
                    <a:pt x="352" y="1109"/>
                    <a:pt x="352" y="1109"/>
                    <a:pt x="352" y="1109"/>
                  </a:cubicBezTo>
                  <a:cubicBezTo>
                    <a:pt x="352" y="1102"/>
                    <a:pt x="352" y="1102"/>
                    <a:pt x="352" y="1102"/>
                  </a:cubicBezTo>
                  <a:moveTo>
                    <a:pt x="367" y="1102"/>
                  </a:moveTo>
                  <a:cubicBezTo>
                    <a:pt x="360" y="1102"/>
                    <a:pt x="360" y="1102"/>
                    <a:pt x="360" y="1102"/>
                  </a:cubicBezTo>
                  <a:cubicBezTo>
                    <a:pt x="360" y="1109"/>
                    <a:pt x="360" y="1109"/>
                    <a:pt x="360" y="1109"/>
                  </a:cubicBezTo>
                  <a:cubicBezTo>
                    <a:pt x="367" y="1109"/>
                    <a:pt x="367" y="1109"/>
                    <a:pt x="367" y="1109"/>
                  </a:cubicBezTo>
                  <a:cubicBezTo>
                    <a:pt x="367" y="1102"/>
                    <a:pt x="367" y="1102"/>
                    <a:pt x="367" y="1102"/>
                  </a:cubicBezTo>
                  <a:moveTo>
                    <a:pt x="381" y="1102"/>
                  </a:moveTo>
                  <a:cubicBezTo>
                    <a:pt x="374" y="1102"/>
                    <a:pt x="374" y="1102"/>
                    <a:pt x="374" y="1102"/>
                  </a:cubicBezTo>
                  <a:cubicBezTo>
                    <a:pt x="374" y="1109"/>
                    <a:pt x="374" y="1109"/>
                    <a:pt x="374" y="1109"/>
                  </a:cubicBezTo>
                  <a:cubicBezTo>
                    <a:pt x="381" y="1109"/>
                    <a:pt x="381" y="1109"/>
                    <a:pt x="381" y="1109"/>
                  </a:cubicBezTo>
                  <a:cubicBezTo>
                    <a:pt x="381" y="1102"/>
                    <a:pt x="381" y="1102"/>
                    <a:pt x="381" y="1102"/>
                  </a:cubicBezTo>
                  <a:moveTo>
                    <a:pt x="396" y="1102"/>
                  </a:moveTo>
                  <a:cubicBezTo>
                    <a:pt x="389" y="1102"/>
                    <a:pt x="389" y="1102"/>
                    <a:pt x="389" y="1102"/>
                  </a:cubicBezTo>
                  <a:cubicBezTo>
                    <a:pt x="389" y="1109"/>
                    <a:pt x="389" y="1109"/>
                    <a:pt x="389" y="1109"/>
                  </a:cubicBezTo>
                  <a:cubicBezTo>
                    <a:pt x="396" y="1109"/>
                    <a:pt x="396" y="1109"/>
                    <a:pt x="396" y="1109"/>
                  </a:cubicBezTo>
                  <a:cubicBezTo>
                    <a:pt x="396" y="1102"/>
                    <a:pt x="396" y="1102"/>
                    <a:pt x="396" y="1102"/>
                  </a:cubicBezTo>
                  <a:moveTo>
                    <a:pt x="411" y="1102"/>
                  </a:moveTo>
                  <a:cubicBezTo>
                    <a:pt x="404" y="1102"/>
                    <a:pt x="404" y="1102"/>
                    <a:pt x="404" y="1102"/>
                  </a:cubicBezTo>
                  <a:cubicBezTo>
                    <a:pt x="404" y="1109"/>
                    <a:pt x="404" y="1109"/>
                    <a:pt x="404" y="1109"/>
                  </a:cubicBezTo>
                  <a:cubicBezTo>
                    <a:pt x="411" y="1109"/>
                    <a:pt x="411" y="1109"/>
                    <a:pt x="411" y="1109"/>
                  </a:cubicBezTo>
                  <a:cubicBezTo>
                    <a:pt x="411" y="1102"/>
                    <a:pt x="411" y="1102"/>
                    <a:pt x="411" y="1102"/>
                  </a:cubicBezTo>
                  <a:moveTo>
                    <a:pt x="426" y="1102"/>
                  </a:moveTo>
                  <a:cubicBezTo>
                    <a:pt x="419" y="1102"/>
                    <a:pt x="419" y="1102"/>
                    <a:pt x="419" y="1102"/>
                  </a:cubicBezTo>
                  <a:cubicBezTo>
                    <a:pt x="419" y="1109"/>
                    <a:pt x="419" y="1109"/>
                    <a:pt x="419" y="1109"/>
                  </a:cubicBezTo>
                  <a:cubicBezTo>
                    <a:pt x="426" y="1109"/>
                    <a:pt x="426" y="1109"/>
                    <a:pt x="426" y="1109"/>
                  </a:cubicBezTo>
                  <a:cubicBezTo>
                    <a:pt x="426" y="1102"/>
                    <a:pt x="426" y="1102"/>
                    <a:pt x="426" y="1102"/>
                  </a:cubicBezTo>
                  <a:moveTo>
                    <a:pt x="440" y="1102"/>
                  </a:moveTo>
                  <a:cubicBezTo>
                    <a:pt x="433" y="1102"/>
                    <a:pt x="433" y="1102"/>
                    <a:pt x="433" y="1102"/>
                  </a:cubicBezTo>
                  <a:cubicBezTo>
                    <a:pt x="433" y="1109"/>
                    <a:pt x="433" y="1109"/>
                    <a:pt x="433" y="1109"/>
                  </a:cubicBezTo>
                  <a:cubicBezTo>
                    <a:pt x="440" y="1109"/>
                    <a:pt x="440" y="1109"/>
                    <a:pt x="440" y="1109"/>
                  </a:cubicBezTo>
                  <a:cubicBezTo>
                    <a:pt x="440" y="1102"/>
                    <a:pt x="440" y="1102"/>
                    <a:pt x="440" y="1102"/>
                  </a:cubicBezTo>
                  <a:moveTo>
                    <a:pt x="455" y="1102"/>
                  </a:moveTo>
                  <a:cubicBezTo>
                    <a:pt x="448" y="1102"/>
                    <a:pt x="448" y="1102"/>
                    <a:pt x="448" y="1102"/>
                  </a:cubicBezTo>
                  <a:cubicBezTo>
                    <a:pt x="448" y="1109"/>
                    <a:pt x="448" y="1109"/>
                    <a:pt x="448" y="1109"/>
                  </a:cubicBezTo>
                  <a:cubicBezTo>
                    <a:pt x="455" y="1109"/>
                    <a:pt x="455" y="1109"/>
                    <a:pt x="455" y="1109"/>
                  </a:cubicBezTo>
                  <a:cubicBezTo>
                    <a:pt x="455" y="1102"/>
                    <a:pt x="455" y="1102"/>
                    <a:pt x="455" y="1102"/>
                  </a:cubicBezTo>
                  <a:moveTo>
                    <a:pt x="470" y="1102"/>
                  </a:moveTo>
                  <a:cubicBezTo>
                    <a:pt x="463" y="1102"/>
                    <a:pt x="463" y="1102"/>
                    <a:pt x="463" y="1102"/>
                  </a:cubicBezTo>
                  <a:cubicBezTo>
                    <a:pt x="463" y="1109"/>
                    <a:pt x="463" y="1109"/>
                    <a:pt x="463" y="1109"/>
                  </a:cubicBezTo>
                  <a:cubicBezTo>
                    <a:pt x="470" y="1109"/>
                    <a:pt x="470" y="1109"/>
                    <a:pt x="470" y="1109"/>
                  </a:cubicBezTo>
                  <a:cubicBezTo>
                    <a:pt x="470" y="1102"/>
                    <a:pt x="470" y="1102"/>
                    <a:pt x="470" y="1102"/>
                  </a:cubicBezTo>
                  <a:moveTo>
                    <a:pt x="485" y="1102"/>
                  </a:moveTo>
                  <a:cubicBezTo>
                    <a:pt x="478" y="1102"/>
                    <a:pt x="478" y="1102"/>
                    <a:pt x="478" y="1102"/>
                  </a:cubicBezTo>
                  <a:cubicBezTo>
                    <a:pt x="478" y="1109"/>
                    <a:pt x="478" y="1109"/>
                    <a:pt x="478" y="1109"/>
                  </a:cubicBezTo>
                  <a:cubicBezTo>
                    <a:pt x="485" y="1109"/>
                    <a:pt x="485" y="1109"/>
                    <a:pt x="485" y="1109"/>
                  </a:cubicBezTo>
                  <a:cubicBezTo>
                    <a:pt x="485" y="1102"/>
                    <a:pt x="485" y="1102"/>
                    <a:pt x="485" y="1102"/>
                  </a:cubicBezTo>
                  <a:moveTo>
                    <a:pt x="499" y="1102"/>
                  </a:moveTo>
                  <a:cubicBezTo>
                    <a:pt x="492" y="1102"/>
                    <a:pt x="492" y="1102"/>
                    <a:pt x="492" y="1102"/>
                  </a:cubicBezTo>
                  <a:cubicBezTo>
                    <a:pt x="492" y="1109"/>
                    <a:pt x="492" y="1109"/>
                    <a:pt x="492" y="1109"/>
                  </a:cubicBezTo>
                  <a:cubicBezTo>
                    <a:pt x="499" y="1109"/>
                    <a:pt x="499" y="1109"/>
                    <a:pt x="499" y="1109"/>
                  </a:cubicBezTo>
                  <a:cubicBezTo>
                    <a:pt x="499" y="1102"/>
                    <a:pt x="499" y="1102"/>
                    <a:pt x="499" y="1102"/>
                  </a:cubicBezTo>
                  <a:moveTo>
                    <a:pt x="514" y="1102"/>
                  </a:moveTo>
                  <a:cubicBezTo>
                    <a:pt x="507" y="1102"/>
                    <a:pt x="507" y="1102"/>
                    <a:pt x="507" y="1102"/>
                  </a:cubicBezTo>
                  <a:cubicBezTo>
                    <a:pt x="507" y="1109"/>
                    <a:pt x="507" y="1109"/>
                    <a:pt x="507" y="1109"/>
                  </a:cubicBezTo>
                  <a:cubicBezTo>
                    <a:pt x="514" y="1109"/>
                    <a:pt x="514" y="1109"/>
                    <a:pt x="514" y="1109"/>
                  </a:cubicBezTo>
                  <a:cubicBezTo>
                    <a:pt x="514" y="1102"/>
                    <a:pt x="514" y="1102"/>
                    <a:pt x="514" y="1102"/>
                  </a:cubicBezTo>
                  <a:moveTo>
                    <a:pt x="529" y="1102"/>
                  </a:moveTo>
                  <a:cubicBezTo>
                    <a:pt x="522" y="1102"/>
                    <a:pt x="522" y="1102"/>
                    <a:pt x="522" y="1102"/>
                  </a:cubicBezTo>
                  <a:cubicBezTo>
                    <a:pt x="522" y="1109"/>
                    <a:pt x="522" y="1109"/>
                    <a:pt x="522" y="1109"/>
                  </a:cubicBezTo>
                  <a:cubicBezTo>
                    <a:pt x="529" y="1109"/>
                    <a:pt x="529" y="1109"/>
                    <a:pt x="529" y="1109"/>
                  </a:cubicBezTo>
                  <a:cubicBezTo>
                    <a:pt x="529" y="1102"/>
                    <a:pt x="529" y="1102"/>
                    <a:pt x="529" y="1102"/>
                  </a:cubicBezTo>
                  <a:moveTo>
                    <a:pt x="234" y="1087"/>
                  </a:moveTo>
                  <a:cubicBezTo>
                    <a:pt x="227" y="1087"/>
                    <a:pt x="227" y="1087"/>
                    <a:pt x="227" y="1087"/>
                  </a:cubicBezTo>
                  <a:cubicBezTo>
                    <a:pt x="227" y="1094"/>
                    <a:pt x="227" y="1094"/>
                    <a:pt x="227" y="1094"/>
                  </a:cubicBezTo>
                  <a:cubicBezTo>
                    <a:pt x="234" y="1094"/>
                    <a:pt x="234" y="1094"/>
                    <a:pt x="234" y="1094"/>
                  </a:cubicBezTo>
                  <a:cubicBezTo>
                    <a:pt x="234" y="1087"/>
                    <a:pt x="234" y="1087"/>
                    <a:pt x="234" y="1087"/>
                  </a:cubicBezTo>
                  <a:moveTo>
                    <a:pt x="249" y="1087"/>
                  </a:moveTo>
                  <a:cubicBezTo>
                    <a:pt x="242" y="1087"/>
                    <a:pt x="242" y="1087"/>
                    <a:pt x="242" y="1087"/>
                  </a:cubicBezTo>
                  <a:cubicBezTo>
                    <a:pt x="242" y="1094"/>
                    <a:pt x="242" y="1094"/>
                    <a:pt x="242" y="1094"/>
                  </a:cubicBezTo>
                  <a:cubicBezTo>
                    <a:pt x="249" y="1094"/>
                    <a:pt x="249" y="1094"/>
                    <a:pt x="249" y="1094"/>
                  </a:cubicBezTo>
                  <a:cubicBezTo>
                    <a:pt x="249" y="1087"/>
                    <a:pt x="249" y="1087"/>
                    <a:pt x="249" y="1087"/>
                  </a:cubicBezTo>
                  <a:moveTo>
                    <a:pt x="263" y="1087"/>
                  </a:moveTo>
                  <a:cubicBezTo>
                    <a:pt x="256" y="1087"/>
                    <a:pt x="256" y="1087"/>
                    <a:pt x="256" y="1087"/>
                  </a:cubicBezTo>
                  <a:cubicBezTo>
                    <a:pt x="256" y="1094"/>
                    <a:pt x="256" y="1094"/>
                    <a:pt x="256" y="1094"/>
                  </a:cubicBezTo>
                  <a:cubicBezTo>
                    <a:pt x="263" y="1094"/>
                    <a:pt x="263" y="1094"/>
                    <a:pt x="263" y="1094"/>
                  </a:cubicBezTo>
                  <a:cubicBezTo>
                    <a:pt x="263" y="1087"/>
                    <a:pt x="263" y="1087"/>
                    <a:pt x="263" y="1087"/>
                  </a:cubicBezTo>
                  <a:moveTo>
                    <a:pt x="278" y="1087"/>
                  </a:moveTo>
                  <a:cubicBezTo>
                    <a:pt x="271" y="1087"/>
                    <a:pt x="271" y="1087"/>
                    <a:pt x="271" y="1087"/>
                  </a:cubicBezTo>
                  <a:cubicBezTo>
                    <a:pt x="271" y="1094"/>
                    <a:pt x="271" y="1094"/>
                    <a:pt x="271" y="1094"/>
                  </a:cubicBezTo>
                  <a:cubicBezTo>
                    <a:pt x="278" y="1094"/>
                    <a:pt x="278" y="1094"/>
                    <a:pt x="278" y="1094"/>
                  </a:cubicBezTo>
                  <a:cubicBezTo>
                    <a:pt x="278" y="1087"/>
                    <a:pt x="278" y="1087"/>
                    <a:pt x="278" y="1087"/>
                  </a:cubicBezTo>
                  <a:moveTo>
                    <a:pt x="293" y="1087"/>
                  </a:moveTo>
                  <a:cubicBezTo>
                    <a:pt x="286" y="1087"/>
                    <a:pt x="286" y="1087"/>
                    <a:pt x="286" y="1087"/>
                  </a:cubicBezTo>
                  <a:cubicBezTo>
                    <a:pt x="286" y="1094"/>
                    <a:pt x="286" y="1094"/>
                    <a:pt x="286" y="1094"/>
                  </a:cubicBezTo>
                  <a:cubicBezTo>
                    <a:pt x="293" y="1094"/>
                    <a:pt x="293" y="1094"/>
                    <a:pt x="293" y="1094"/>
                  </a:cubicBezTo>
                  <a:cubicBezTo>
                    <a:pt x="293" y="1087"/>
                    <a:pt x="293" y="1087"/>
                    <a:pt x="293" y="1087"/>
                  </a:cubicBezTo>
                  <a:moveTo>
                    <a:pt x="308" y="1087"/>
                  </a:moveTo>
                  <a:cubicBezTo>
                    <a:pt x="301" y="1087"/>
                    <a:pt x="301" y="1087"/>
                    <a:pt x="301" y="1087"/>
                  </a:cubicBezTo>
                  <a:cubicBezTo>
                    <a:pt x="301" y="1094"/>
                    <a:pt x="301" y="1094"/>
                    <a:pt x="301" y="1094"/>
                  </a:cubicBezTo>
                  <a:cubicBezTo>
                    <a:pt x="308" y="1094"/>
                    <a:pt x="308" y="1094"/>
                    <a:pt x="308" y="1094"/>
                  </a:cubicBezTo>
                  <a:cubicBezTo>
                    <a:pt x="308" y="1087"/>
                    <a:pt x="308" y="1087"/>
                    <a:pt x="308" y="1087"/>
                  </a:cubicBezTo>
                  <a:moveTo>
                    <a:pt x="322" y="1087"/>
                  </a:moveTo>
                  <a:cubicBezTo>
                    <a:pt x="315" y="1087"/>
                    <a:pt x="315" y="1087"/>
                    <a:pt x="315" y="1087"/>
                  </a:cubicBezTo>
                  <a:cubicBezTo>
                    <a:pt x="315" y="1094"/>
                    <a:pt x="315" y="1094"/>
                    <a:pt x="315" y="1094"/>
                  </a:cubicBezTo>
                  <a:cubicBezTo>
                    <a:pt x="322" y="1094"/>
                    <a:pt x="322" y="1094"/>
                    <a:pt x="322" y="1094"/>
                  </a:cubicBezTo>
                  <a:cubicBezTo>
                    <a:pt x="322" y="1087"/>
                    <a:pt x="322" y="1087"/>
                    <a:pt x="322" y="1087"/>
                  </a:cubicBezTo>
                  <a:moveTo>
                    <a:pt x="337" y="1087"/>
                  </a:moveTo>
                  <a:cubicBezTo>
                    <a:pt x="330" y="1087"/>
                    <a:pt x="330" y="1087"/>
                    <a:pt x="330" y="1087"/>
                  </a:cubicBezTo>
                  <a:cubicBezTo>
                    <a:pt x="330" y="1094"/>
                    <a:pt x="330" y="1094"/>
                    <a:pt x="330" y="1094"/>
                  </a:cubicBezTo>
                  <a:cubicBezTo>
                    <a:pt x="337" y="1094"/>
                    <a:pt x="337" y="1094"/>
                    <a:pt x="337" y="1094"/>
                  </a:cubicBezTo>
                  <a:cubicBezTo>
                    <a:pt x="337" y="1087"/>
                    <a:pt x="337" y="1087"/>
                    <a:pt x="337" y="1087"/>
                  </a:cubicBezTo>
                  <a:moveTo>
                    <a:pt x="352" y="1087"/>
                  </a:moveTo>
                  <a:cubicBezTo>
                    <a:pt x="345" y="1087"/>
                    <a:pt x="345" y="1087"/>
                    <a:pt x="345" y="1087"/>
                  </a:cubicBezTo>
                  <a:cubicBezTo>
                    <a:pt x="345" y="1094"/>
                    <a:pt x="345" y="1094"/>
                    <a:pt x="345" y="1094"/>
                  </a:cubicBezTo>
                  <a:cubicBezTo>
                    <a:pt x="352" y="1094"/>
                    <a:pt x="352" y="1094"/>
                    <a:pt x="352" y="1094"/>
                  </a:cubicBezTo>
                  <a:cubicBezTo>
                    <a:pt x="352" y="1087"/>
                    <a:pt x="352" y="1087"/>
                    <a:pt x="352" y="1087"/>
                  </a:cubicBezTo>
                  <a:moveTo>
                    <a:pt x="367" y="1087"/>
                  </a:moveTo>
                  <a:cubicBezTo>
                    <a:pt x="360" y="1087"/>
                    <a:pt x="360" y="1087"/>
                    <a:pt x="360" y="1087"/>
                  </a:cubicBezTo>
                  <a:cubicBezTo>
                    <a:pt x="360" y="1094"/>
                    <a:pt x="360" y="1094"/>
                    <a:pt x="360" y="1094"/>
                  </a:cubicBezTo>
                  <a:cubicBezTo>
                    <a:pt x="367" y="1094"/>
                    <a:pt x="367" y="1094"/>
                    <a:pt x="367" y="1094"/>
                  </a:cubicBezTo>
                  <a:cubicBezTo>
                    <a:pt x="367" y="1087"/>
                    <a:pt x="367" y="1087"/>
                    <a:pt x="367" y="1087"/>
                  </a:cubicBezTo>
                  <a:moveTo>
                    <a:pt x="381" y="1087"/>
                  </a:moveTo>
                  <a:cubicBezTo>
                    <a:pt x="374" y="1087"/>
                    <a:pt x="374" y="1087"/>
                    <a:pt x="374" y="1087"/>
                  </a:cubicBezTo>
                  <a:cubicBezTo>
                    <a:pt x="374" y="1094"/>
                    <a:pt x="374" y="1094"/>
                    <a:pt x="374" y="1094"/>
                  </a:cubicBezTo>
                  <a:cubicBezTo>
                    <a:pt x="381" y="1094"/>
                    <a:pt x="381" y="1094"/>
                    <a:pt x="381" y="1094"/>
                  </a:cubicBezTo>
                  <a:cubicBezTo>
                    <a:pt x="381" y="1087"/>
                    <a:pt x="381" y="1087"/>
                    <a:pt x="381" y="1087"/>
                  </a:cubicBezTo>
                  <a:moveTo>
                    <a:pt x="396" y="1087"/>
                  </a:moveTo>
                  <a:cubicBezTo>
                    <a:pt x="389" y="1087"/>
                    <a:pt x="389" y="1087"/>
                    <a:pt x="389" y="1087"/>
                  </a:cubicBezTo>
                  <a:cubicBezTo>
                    <a:pt x="389" y="1094"/>
                    <a:pt x="389" y="1094"/>
                    <a:pt x="389" y="1094"/>
                  </a:cubicBezTo>
                  <a:cubicBezTo>
                    <a:pt x="396" y="1094"/>
                    <a:pt x="396" y="1094"/>
                    <a:pt x="396" y="1094"/>
                  </a:cubicBezTo>
                  <a:cubicBezTo>
                    <a:pt x="396" y="1087"/>
                    <a:pt x="396" y="1087"/>
                    <a:pt x="396" y="1087"/>
                  </a:cubicBezTo>
                  <a:moveTo>
                    <a:pt x="411" y="1087"/>
                  </a:moveTo>
                  <a:cubicBezTo>
                    <a:pt x="404" y="1087"/>
                    <a:pt x="404" y="1087"/>
                    <a:pt x="404" y="1087"/>
                  </a:cubicBezTo>
                  <a:cubicBezTo>
                    <a:pt x="404" y="1094"/>
                    <a:pt x="404" y="1094"/>
                    <a:pt x="404" y="1094"/>
                  </a:cubicBezTo>
                  <a:cubicBezTo>
                    <a:pt x="411" y="1094"/>
                    <a:pt x="411" y="1094"/>
                    <a:pt x="411" y="1094"/>
                  </a:cubicBezTo>
                  <a:cubicBezTo>
                    <a:pt x="411" y="1087"/>
                    <a:pt x="411" y="1087"/>
                    <a:pt x="411" y="1087"/>
                  </a:cubicBezTo>
                  <a:moveTo>
                    <a:pt x="426" y="1087"/>
                  </a:moveTo>
                  <a:cubicBezTo>
                    <a:pt x="419" y="1087"/>
                    <a:pt x="419" y="1087"/>
                    <a:pt x="419" y="1087"/>
                  </a:cubicBezTo>
                  <a:cubicBezTo>
                    <a:pt x="419" y="1094"/>
                    <a:pt x="419" y="1094"/>
                    <a:pt x="419" y="1094"/>
                  </a:cubicBezTo>
                  <a:cubicBezTo>
                    <a:pt x="426" y="1094"/>
                    <a:pt x="426" y="1094"/>
                    <a:pt x="426" y="1094"/>
                  </a:cubicBezTo>
                  <a:cubicBezTo>
                    <a:pt x="426" y="1087"/>
                    <a:pt x="426" y="1087"/>
                    <a:pt x="426" y="1087"/>
                  </a:cubicBezTo>
                  <a:moveTo>
                    <a:pt x="440" y="1087"/>
                  </a:moveTo>
                  <a:cubicBezTo>
                    <a:pt x="433" y="1087"/>
                    <a:pt x="433" y="1087"/>
                    <a:pt x="433" y="1087"/>
                  </a:cubicBezTo>
                  <a:cubicBezTo>
                    <a:pt x="433" y="1094"/>
                    <a:pt x="433" y="1094"/>
                    <a:pt x="433" y="1094"/>
                  </a:cubicBezTo>
                  <a:cubicBezTo>
                    <a:pt x="440" y="1094"/>
                    <a:pt x="440" y="1094"/>
                    <a:pt x="440" y="1094"/>
                  </a:cubicBezTo>
                  <a:cubicBezTo>
                    <a:pt x="440" y="1087"/>
                    <a:pt x="440" y="1087"/>
                    <a:pt x="440" y="1087"/>
                  </a:cubicBezTo>
                  <a:moveTo>
                    <a:pt x="455" y="1087"/>
                  </a:moveTo>
                  <a:cubicBezTo>
                    <a:pt x="448" y="1087"/>
                    <a:pt x="448" y="1087"/>
                    <a:pt x="448" y="1087"/>
                  </a:cubicBezTo>
                  <a:cubicBezTo>
                    <a:pt x="448" y="1094"/>
                    <a:pt x="448" y="1094"/>
                    <a:pt x="448" y="1094"/>
                  </a:cubicBezTo>
                  <a:cubicBezTo>
                    <a:pt x="455" y="1094"/>
                    <a:pt x="455" y="1094"/>
                    <a:pt x="455" y="1094"/>
                  </a:cubicBezTo>
                  <a:cubicBezTo>
                    <a:pt x="455" y="1087"/>
                    <a:pt x="455" y="1087"/>
                    <a:pt x="455" y="1087"/>
                  </a:cubicBezTo>
                  <a:moveTo>
                    <a:pt x="470" y="1087"/>
                  </a:moveTo>
                  <a:cubicBezTo>
                    <a:pt x="463" y="1087"/>
                    <a:pt x="463" y="1087"/>
                    <a:pt x="463" y="1087"/>
                  </a:cubicBezTo>
                  <a:cubicBezTo>
                    <a:pt x="463" y="1094"/>
                    <a:pt x="463" y="1094"/>
                    <a:pt x="463" y="1094"/>
                  </a:cubicBezTo>
                  <a:cubicBezTo>
                    <a:pt x="470" y="1094"/>
                    <a:pt x="470" y="1094"/>
                    <a:pt x="470" y="1094"/>
                  </a:cubicBezTo>
                  <a:cubicBezTo>
                    <a:pt x="470" y="1087"/>
                    <a:pt x="470" y="1087"/>
                    <a:pt x="470" y="1087"/>
                  </a:cubicBezTo>
                  <a:moveTo>
                    <a:pt x="485" y="1087"/>
                  </a:moveTo>
                  <a:cubicBezTo>
                    <a:pt x="478" y="1087"/>
                    <a:pt x="478" y="1087"/>
                    <a:pt x="478" y="1087"/>
                  </a:cubicBezTo>
                  <a:cubicBezTo>
                    <a:pt x="478" y="1094"/>
                    <a:pt x="478" y="1094"/>
                    <a:pt x="478" y="1094"/>
                  </a:cubicBezTo>
                  <a:cubicBezTo>
                    <a:pt x="485" y="1094"/>
                    <a:pt x="485" y="1094"/>
                    <a:pt x="485" y="1094"/>
                  </a:cubicBezTo>
                  <a:cubicBezTo>
                    <a:pt x="485" y="1087"/>
                    <a:pt x="485" y="1087"/>
                    <a:pt x="485" y="1087"/>
                  </a:cubicBezTo>
                  <a:moveTo>
                    <a:pt x="499" y="1087"/>
                  </a:moveTo>
                  <a:cubicBezTo>
                    <a:pt x="492" y="1087"/>
                    <a:pt x="492" y="1087"/>
                    <a:pt x="492" y="1087"/>
                  </a:cubicBezTo>
                  <a:cubicBezTo>
                    <a:pt x="492" y="1094"/>
                    <a:pt x="492" y="1094"/>
                    <a:pt x="492" y="1094"/>
                  </a:cubicBezTo>
                  <a:cubicBezTo>
                    <a:pt x="499" y="1094"/>
                    <a:pt x="499" y="1094"/>
                    <a:pt x="499" y="1094"/>
                  </a:cubicBezTo>
                  <a:cubicBezTo>
                    <a:pt x="499" y="1087"/>
                    <a:pt x="499" y="1087"/>
                    <a:pt x="499" y="1087"/>
                  </a:cubicBezTo>
                  <a:moveTo>
                    <a:pt x="514" y="1087"/>
                  </a:moveTo>
                  <a:cubicBezTo>
                    <a:pt x="507" y="1087"/>
                    <a:pt x="507" y="1087"/>
                    <a:pt x="507" y="1087"/>
                  </a:cubicBezTo>
                  <a:cubicBezTo>
                    <a:pt x="507" y="1094"/>
                    <a:pt x="507" y="1094"/>
                    <a:pt x="507" y="1094"/>
                  </a:cubicBezTo>
                  <a:cubicBezTo>
                    <a:pt x="514" y="1094"/>
                    <a:pt x="514" y="1094"/>
                    <a:pt x="514" y="1094"/>
                  </a:cubicBezTo>
                  <a:cubicBezTo>
                    <a:pt x="514" y="1087"/>
                    <a:pt x="514" y="1087"/>
                    <a:pt x="514" y="1087"/>
                  </a:cubicBezTo>
                  <a:moveTo>
                    <a:pt x="249" y="1072"/>
                  </a:moveTo>
                  <a:cubicBezTo>
                    <a:pt x="242" y="1072"/>
                    <a:pt x="242" y="1072"/>
                    <a:pt x="242" y="1072"/>
                  </a:cubicBezTo>
                  <a:cubicBezTo>
                    <a:pt x="242" y="1079"/>
                    <a:pt x="242" y="1079"/>
                    <a:pt x="242" y="1079"/>
                  </a:cubicBezTo>
                  <a:cubicBezTo>
                    <a:pt x="249" y="1079"/>
                    <a:pt x="249" y="1079"/>
                    <a:pt x="249" y="1079"/>
                  </a:cubicBezTo>
                  <a:cubicBezTo>
                    <a:pt x="249" y="1072"/>
                    <a:pt x="249" y="1072"/>
                    <a:pt x="249" y="1072"/>
                  </a:cubicBezTo>
                  <a:moveTo>
                    <a:pt x="263" y="1072"/>
                  </a:moveTo>
                  <a:cubicBezTo>
                    <a:pt x="256" y="1072"/>
                    <a:pt x="256" y="1072"/>
                    <a:pt x="256" y="1072"/>
                  </a:cubicBezTo>
                  <a:cubicBezTo>
                    <a:pt x="256" y="1079"/>
                    <a:pt x="256" y="1079"/>
                    <a:pt x="256" y="1079"/>
                  </a:cubicBezTo>
                  <a:cubicBezTo>
                    <a:pt x="263" y="1079"/>
                    <a:pt x="263" y="1079"/>
                    <a:pt x="263" y="1079"/>
                  </a:cubicBezTo>
                  <a:cubicBezTo>
                    <a:pt x="263" y="1072"/>
                    <a:pt x="263" y="1072"/>
                    <a:pt x="263" y="1072"/>
                  </a:cubicBezTo>
                  <a:moveTo>
                    <a:pt x="278" y="1072"/>
                  </a:moveTo>
                  <a:cubicBezTo>
                    <a:pt x="271" y="1072"/>
                    <a:pt x="271" y="1072"/>
                    <a:pt x="271" y="1072"/>
                  </a:cubicBezTo>
                  <a:cubicBezTo>
                    <a:pt x="271" y="1079"/>
                    <a:pt x="271" y="1079"/>
                    <a:pt x="271" y="1079"/>
                  </a:cubicBezTo>
                  <a:cubicBezTo>
                    <a:pt x="278" y="1079"/>
                    <a:pt x="278" y="1079"/>
                    <a:pt x="278" y="1079"/>
                  </a:cubicBezTo>
                  <a:cubicBezTo>
                    <a:pt x="278" y="1072"/>
                    <a:pt x="278" y="1072"/>
                    <a:pt x="278" y="1072"/>
                  </a:cubicBezTo>
                  <a:moveTo>
                    <a:pt x="293" y="1072"/>
                  </a:moveTo>
                  <a:cubicBezTo>
                    <a:pt x="286" y="1072"/>
                    <a:pt x="286" y="1072"/>
                    <a:pt x="286" y="1072"/>
                  </a:cubicBezTo>
                  <a:cubicBezTo>
                    <a:pt x="286" y="1079"/>
                    <a:pt x="286" y="1079"/>
                    <a:pt x="286" y="1079"/>
                  </a:cubicBezTo>
                  <a:cubicBezTo>
                    <a:pt x="293" y="1079"/>
                    <a:pt x="293" y="1079"/>
                    <a:pt x="293" y="1079"/>
                  </a:cubicBezTo>
                  <a:cubicBezTo>
                    <a:pt x="293" y="1072"/>
                    <a:pt x="293" y="1072"/>
                    <a:pt x="293" y="1072"/>
                  </a:cubicBezTo>
                  <a:moveTo>
                    <a:pt x="308" y="1072"/>
                  </a:moveTo>
                  <a:cubicBezTo>
                    <a:pt x="301" y="1072"/>
                    <a:pt x="301" y="1072"/>
                    <a:pt x="301" y="1072"/>
                  </a:cubicBezTo>
                  <a:cubicBezTo>
                    <a:pt x="301" y="1079"/>
                    <a:pt x="301" y="1079"/>
                    <a:pt x="301" y="1079"/>
                  </a:cubicBezTo>
                  <a:cubicBezTo>
                    <a:pt x="308" y="1079"/>
                    <a:pt x="308" y="1079"/>
                    <a:pt x="308" y="1079"/>
                  </a:cubicBezTo>
                  <a:cubicBezTo>
                    <a:pt x="308" y="1072"/>
                    <a:pt x="308" y="1072"/>
                    <a:pt x="308" y="1072"/>
                  </a:cubicBezTo>
                  <a:moveTo>
                    <a:pt x="322" y="1072"/>
                  </a:moveTo>
                  <a:cubicBezTo>
                    <a:pt x="315" y="1072"/>
                    <a:pt x="315" y="1072"/>
                    <a:pt x="315" y="1072"/>
                  </a:cubicBezTo>
                  <a:cubicBezTo>
                    <a:pt x="315" y="1079"/>
                    <a:pt x="315" y="1079"/>
                    <a:pt x="315" y="1079"/>
                  </a:cubicBezTo>
                  <a:cubicBezTo>
                    <a:pt x="322" y="1079"/>
                    <a:pt x="322" y="1079"/>
                    <a:pt x="322" y="1079"/>
                  </a:cubicBezTo>
                  <a:cubicBezTo>
                    <a:pt x="322" y="1072"/>
                    <a:pt x="322" y="1072"/>
                    <a:pt x="322" y="1072"/>
                  </a:cubicBezTo>
                  <a:moveTo>
                    <a:pt x="337" y="1072"/>
                  </a:moveTo>
                  <a:cubicBezTo>
                    <a:pt x="330" y="1072"/>
                    <a:pt x="330" y="1072"/>
                    <a:pt x="330" y="1072"/>
                  </a:cubicBezTo>
                  <a:cubicBezTo>
                    <a:pt x="330" y="1079"/>
                    <a:pt x="330" y="1079"/>
                    <a:pt x="330" y="1079"/>
                  </a:cubicBezTo>
                  <a:cubicBezTo>
                    <a:pt x="337" y="1079"/>
                    <a:pt x="337" y="1079"/>
                    <a:pt x="337" y="1079"/>
                  </a:cubicBezTo>
                  <a:cubicBezTo>
                    <a:pt x="337" y="1072"/>
                    <a:pt x="337" y="1072"/>
                    <a:pt x="337" y="1072"/>
                  </a:cubicBezTo>
                  <a:moveTo>
                    <a:pt x="352" y="1072"/>
                  </a:moveTo>
                  <a:cubicBezTo>
                    <a:pt x="345" y="1072"/>
                    <a:pt x="345" y="1072"/>
                    <a:pt x="345" y="1072"/>
                  </a:cubicBezTo>
                  <a:cubicBezTo>
                    <a:pt x="345" y="1079"/>
                    <a:pt x="345" y="1079"/>
                    <a:pt x="345" y="1079"/>
                  </a:cubicBezTo>
                  <a:cubicBezTo>
                    <a:pt x="352" y="1079"/>
                    <a:pt x="352" y="1079"/>
                    <a:pt x="352" y="1079"/>
                  </a:cubicBezTo>
                  <a:cubicBezTo>
                    <a:pt x="352" y="1072"/>
                    <a:pt x="352" y="1072"/>
                    <a:pt x="352" y="1072"/>
                  </a:cubicBezTo>
                  <a:moveTo>
                    <a:pt x="367" y="1072"/>
                  </a:moveTo>
                  <a:cubicBezTo>
                    <a:pt x="360" y="1072"/>
                    <a:pt x="360" y="1072"/>
                    <a:pt x="360" y="1072"/>
                  </a:cubicBezTo>
                  <a:cubicBezTo>
                    <a:pt x="360" y="1079"/>
                    <a:pt x="360" y="1079"/>
                    <a:pt x="360" y="1079"/>
                  </a:cubicBezTo>
                  <a:cubicBezTo>
                    <a:pt x="367" y="1079"/>
                    <a:pt x="367" y="1079"/>
                    <a:pt x="367" y="1079"/>
                  </a:cubicBezTo>
                  <a:cubicBezTo>
                    <a:pt x="367" y="1072"/>
                    <a:pt x="367" y="1072"/>
                    <a:pt x="367" y="1072"/>
                  </a:cubicBezTo>
                  <a:moveTo>
                    <a:pt x="381" y="1072"/>
                  </a:moveTo>
                  <a:cubicBezTo>
                    <a:pt x="374" y="1072"/>
                    <a:pt x="374" y="1072"/>
                    <a:pt x="374" y="1072"/>
                  </a:cubicBezTo>
                  <a:cubicBezTo>
                    <a:pt x="374" y="1079"/>
                    <a:pt x="374" y="1079"/>
                    <a:pt x="374" y="1079"/>
                  </a:cubicBezTo>
                  <a:cubicBezTo>
                    <a:pt x="381" y="1079"/>
                    <a:pt x="381" y="1079"/>
                    <a:pt x="381" y="1079"/>
                  </a:cubicBezTo>
                  <a:cubicBezTo>
                    <a:pt x="381" y="1072"/>
                    <a:pt x="381" y="1072"/>
                    <a:pt x="381" y="1072"/>
                  </a:cubicBezTo>
                  <a:moveTo>
                    <a:pt x="396" y="1072"/>
                  </a:moveTo>
                  <a:cubicBezTo>
                    <a:pt x="389" y="1072"/>
                    <a:pt x="389" y="1072"/>
                    <a:pt x="389" y="1072"/>
                  </a:cubicBezTo>
                  <a:cubicBezTo>
                    <a:pt x="389" y="1079"/>
                    <a:pt x="389" y="1079"/>
                    <a:pt x="389" y="1079"/>
                  </a:cubicBezTo>
                  <a:cubicBezTo>
                    <a:pt x="396" y="1079"/>
                    <a:pt x="396" y="1079"/>
                    <a:pt x="396" y="1079"/>
                  </a:cubicBezTo>
                  <a:cubicBezTo>
                    <a:pt x="396" y="1072"/>
                    <a:pt x="396" y="1072"/>
                    <a:pt x="396" y="1072"/>
                  </a:cubicBezTo>
                  <a:moveTo>
                    <a:pt x="411" y="1072"/>
                  </a:moveTo>
                  <a:cubicBezTo>
                    <a:pt x="404" y="1072"/>
                    <a:pt x="404" y="1072"/>
                    <a:pt x="404" y="1072"/>
                  </a:cubicBezTo>
                  <a:cubicBezTo>
                    <a:pt x="404" y="1079"/>
                    <a:pt x="404" y="1079"/>
                    <a:pt x="404" y="1079"/>
                  </a:cubicBezTo>
                  <a:cubicBezTo>
                    <a:pt x="411" y="1079"/>
                    <a:pt x="411" y="1079"/>
                    <a:pt x="411" y="1079"/>
                  </a:cubicBezTo>
                  <a:cubicBezTo>
                    <a:pt x="411" y="1072"/>
                    <a:pt x="411" y="1072"/>
                    <a:pt x="411" y="1072"/>
                  </a:cubicBezTo>
                  <a:moveTo>
                    <a:pt x="426" y="1072"/>
                  </a:moveTo>
                  <a:cubicBezTo>
                    <a:pt x="419" y="1072"/>
                    <a:pt x="419" y="1072"/>
                    <a:pt x="419" y="1072"/>
                  </a:cubicBezTo>
                  <a:cubicBezTo>
                    <a:pt x="419" y="1079"/>
                    <a:pt x="419" y="1079"/>
                    <a:pt x="419" y="1079"/>
                  </a:cubicBezTo>
                  <a:cubicBezTo>
                    <a:pt x="426" y="1079"/>
                    <a:pt x="426" y="1079"/>
                    <a:pt x="426" y="1079"/>
                  </a:cubicBezTo>
                  <a:cubicBezTo>
                    <a:pt x="426" y="1072"/>
                    <a:pt x="426" y="1072"/>
                    <a:pt x="426" y="1072"/>
                  </a:cubicBezTo>
                  <a:moveTo>
                    <a:pt x="440" y="1072"/>
                  </a:moveTo>
                  <a:cubicBezTo>
                    <a:pt x="433" y="1072"/>
                    <a:pt x="433" y="1072"/>
                    <a:pt x="433" y="1072"/>
                  </a:cubicBezTo>
                  <a:cubicBezTo>
                    <a:pt x="433" y="1079"/>
                    <a:pt x="433" y="1079"/>
                    <a:pt x="433" y="1079"/>
                  </a:cubicBezTo>
                  <a:cubicBezTo>
                    <a:pt x="440" y="1079"/>
                    <a:pt x="440" y="1079"/>
                    <a:pt x="440" y="1079"/>
                  </a:cubicBezTo>
                  <a:cubicBezTo>
                    <a:pt x="440" y="1072"/>
                    <a:pt x="440" y="1072"/>
                    <a:pt x="440" y="1072"/>
                  </a:cubicBezTo>
                  <a:moveTo>
                    <a:pt x="455" y="1072"/>
                  </a:moveTo>
                  <a:cubicBezTo>
                    <a:pt x="448" y="1072"/>
                    <a:pt x="448" y="1072"/>
                    <a:pt x="448" y="1072"/>
                  </a:cubicBezTo>
                  <a:cubicBezTo>
                    <a:pt x="448" y="1079"/>
                    <a:pt x="448" y="1079"/>
                    <a:pt x="448" y="1079"/>
                  </a:cubicBezTo>
                  <a:cubicBezTo>
                    <a:pt x="455" y="1079"/>
                    <a:pt x="455" y="1079"/>
                    <a:pt x="455" y="1079"/>
                  </a:cubicBezTo>
                  <a:cubicBezTo>
                    <a:pt x="455" y="1072"/>
                    <a:pt x="455" y="1072"/>
                    <a:pt x="455" y="1072"/>
                  </a:cubicBezTo>
                  <a:moveTo>
                    <a:pt x="470" y="1072"/>
                  </a:moveTo>
                  <a:cubicBezTo>
                    <a:pt x="463" y="1072"/>
                    <a:pt x="463" y="1072"/>
                    <a:pt x="463" y="1072"/>
                  </a:cubicBezTo>
                  <a:cubicBezTo>
                    <a:pt x="463" y="1079"/>
                    <a:pt x="463" y="1079"/>
                    <a:pt x="463" y="1079"/>
                  </a:cubicBezTo>
                  <a:cubicBezTo>
                    <a:pt x="470" y="1079"/>
                    <a:pt x="470" y="1079"/>
                    <a:pt x="470" y="1079"/>
                  </a:cubicBezTo>
                  <a:cubicBezTo>
                    <a:pt x="470" y="1072"/>
                    <a:pt x="470" y="1072"/>
                    <a:pt x="470" y="1072"/>
                  </a:cubicBezTo>
                  <a:moveTo>
                    <a:pt x="485" y="1072"/>
                  </a:moveTo>
                  <a:cubicBezTo>
                    <a:pt x="478" y="1072"/>
                    <a:pt x="478" y="1072"/>
                    <a:pt x="478" y="1072"/>
                  </a:cubicBezTo>
                  <a:cubicBezTo>
                    <a:pt x="478" y="1079"/>
                    <a:pt x="478" y="1079"/>
                    <a:pt x="478" y="1079"/>
                  </a:cubicBezTo>
                  <a:cubicBezTo>
                    <a:pt x="485" y="1079"/>
                    <a:pt x="485" y="1079"/>
                    <a:pt x="485" y="1079"/>
                  </a:cubicBezTo>
                  <a:cubicBezTo>
                    <a:pt x="485" y="1072"/>
                    <a:pt x="485" y="1072"/>
                    <a:pt x="485" y="1072"/>
                  </a:cubicBezTo>
                  <a:moveTo>
                    <a:pt x="499" y="1072"/>
                  </a:moveTo>
                  <a:cubicBezTo>
                    <a:pt x="492" y="1072"/>
                    <a:pt x="492" y="1072"/>
                    <a:pt x="492" y="1072"/>
                  </a:cubicBezTo>
                  <a:cubicBezTo>
                    <a:pt x="492" y="1079"/>
                    <a:pt x="492" y="1079"/>
                    <a:pt x="492" y="1079"/>
                  </a:cubicBezTo>
                  <a:cubicBezTo>
                    <a:pt x="499" y="1079"/>
                    <a:pt x="499" y="1079"/>
                    <a:pt x="499" y="1079"/>
                  </a:cubicBezTo>
                  <a:cubicBezTo>
                    <a:pt x="499" y="1072"/>
                    <a:pt x="499" y="1072"/>
                    <a:pt x="499" y="1072"/>
                  </a:cubicBezTo>
                  <a:moveTo>
                    <a:pt x="263" y="1058"/>
                  </a:moveTo>
                  <a:cubicBezTo>
                    <a:pt x="256" y="1058"/>
                    <a:pt x="256" y="1058"/>
                    <a:pt x="256" y="1058"/>
                  </a:cubicBezTo>
                  <a:cubicBezTo>
                    <a:pt x="256" y="1065"/>
                    <a:pt x="256" y="1065"/>
                    <a:pt x="256" y="1065"/>
                  </a:cubicBezTo>
                  <a:cubicBezTo>
                    <a:pt x="263" y="1065"/>
                    <a:pt x="263" y="1065"/>
                    <a:pt x="263" y="1065"/>
                  </a:cubicBezTo>
                  <a:cubicBezTo>
                    <a:pt x="263" y="1058"/>
                    <a:pt x="263" y="1058"/>
                    <a:pt x="263" y="1058"/>
                  </a:cubicBezTo>
                  <a:moveTo>
                    <a:pt x="278" y="1058"/>
                  </a:moveTo>
                  <a:cubicBezTo>
                    <a:pt x="271" y="1058"/>
                    <a:pt x="271" y="1058"/>
                    <a:pt x="271" y="1058"/>
                  </a:cubicBezTo>
                  <a:cubicBezTo>
                    <a:pt x="271" y="1065"/>
                    <a:pt x="271" y="1065"/>
                    <a:pt x="271" y="1065"/>
                  </a:cubicBezTo>
                  <a:cubicBezTo>
                    <a:pt x="278" y="1065"/>
                    <a:pt x="278" y="1065"/>
                    <a:pt x="278" y="1065"/>
                  </a:cubicBezTo>
                  <a:cubicBezTo>
                    <a:pt x="278" y="1058"/>
                    <a:pt x="278" y="1058"/>
                    <a:pt x="278" y="1058"/>
                  </a:cubicBezTo>
                  <a:moveTo>
                    <a:pt x="293" y="1058"/>
                  </a:moveTo>
                  <a:cubicBezTo>
                    <a:pt x="286" y="1058"/>
                    <a:pt x="286" y="1058"/>
                    <a:pt x="286" y="1058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93" y="1065"/>
                    <a:pt x="293" y="1065"/>
                    <a:pt x="293" y="1065"/>
                  </a:cubicBezTo>
                  <a:cubicBezTo>
                    <a:pt x="293" y="1058"/>
                    <a:pt x="293" y="1058"/>
                    <a:pt x="293" y="1058"/>
                  </a:cubicBezTo>
                  <a:moveTo>
                    <a:pt x="308" y="1058"/>
                  </a:moveTo>
                  <a:cubicBezTo>
                    <a:pt x="301" y="1058"/>
                    <a:pt x="301" y="1058"/>
                    <a:pt x="301" y="1058"/>
                  </a:cubicBezTo>
                  <a:cubicBezTo>
                    <a:pt x="301" y="1065"/>
                    <a:pt x="301" y="1065"/>
                    <a:pt x="301" y="1065"/>
                  </a:cubicBezTo>
                  <a:cubicBezTo>
                    <a:pt x="308" y="1065"/>
                    <a:pt x="308" y="1065"/>
                    <a:pt x="308" y="1065"/>
                  </a:cubicBezTo>
                  <a:cubicBezTo>
                    <a:pt x="308" y="1058"/>
                    <a:pt x="308" y="1058"/>
                    <a:pt x="308" y="1058"/>
                  </a:cubicBezTo>
                  <a:moveTo>
                    <a:pt x="322" y="1058"/>
                  </a:moveTo>
                  <a:cubicBezTo>
                    <a:pt x="315" y="1058"/>
                    <a:pt x="315" y="1058"/>
                    <a:pt x="315" y="1058"/>
                  </a:cubicBezTo>
                  <a:cubicBezTo>
                    <a:pt x="315" y="1065"/>
                    <a:pt x="315" y="1065"/>
                    <a:pt x="315" y="1065"/>
                  </a:cubicBezTo>
                  <a:cubicBezTo>
                    <a:pt x="322" y="1065"/>
                    <a:pt x="322" y="1065"/>
                    <a:pt x="322" y="1065"/>
                  </a:cubicBezTo>
                  <a:cubicBezTo>
                    <a:pt x="322" y="1058"/>
                    <a:pt x="322" y="1058"/>
                    <a:pt x="322" y="1058"/>
                  </a:cubicBezTo>
                  <a:moveTo>
                    <a:pt x="337" y="1058"/>
                  </a:moveTo>
                  <a:cubicBezTo>
                    <a:pt x="330" y="1058"/>
                    <a:pt x="330" y="1058"/>
                    <a:pt x="330" y="1058"/>
                  </a:cubicBezTo>
                  <a:cubicBezTo>
                    <a:pt x="330" y="1065"/>
                    <a:pt x="330" y="1065"/>
                    <a:pt x="330" y="1065"/>
                  </a:cubicBezTo>
                  <a:cubicBezTo>
                    <a:pt x="337" y="1065"/>
                    <a:pt x="337" y="1065"/>
                    <a:pt x="337" y="1065"/>
                  </a:cubicBezTo>
                  <a:cubicBezTo>
                    <a:pt x="337" y="1058"/>
                    <a:pt x="337" y="1058"/>
                    <a:pt x="337" y="1058"/>
                  </a:cubicBezTo>
                  <a:moveTo>
                    <a:pt x="352" y="1058"/>
                  </a:moveTo>
                  <a:cubicBezTo>
                    <a:pt x="345" y="1058"/>
                    <a:pt x="345" y="1058"/>
                    <a:pt x="345" y="1058"/>
                  </a:cubicBezTo>
                  <a:cubicBezTo>
                    <a:pt x="345" y="1065"/>
                    <a:pt x="345" y="1065"/>
                    <a:pt x="345" y="1065"/>
                  </a:cubicBezTo>
                  <a:cubicBezTo>
                    <a:pt x="352" y="1065"/>
                    <a:pt x="352" y="1065"/>
                    <a:pt x="352" y="1065"/>
                  </a:cubicBezTo>
                  <a:cubicBezTo>
                    <a:pt x="352" y="1058"/>
                    <a:pt x="352" y="1058"/>
                    <a:pt x="352" y="1058"/>
                  </a:cubicBezTo>
                  <a:moveTo>
                    <a:pt x="367" y="1058"/>
                  </a:moveTo>
                  <a:cubicBezTo>
                    <a:pt x="360" y="1058"/>
                    <a:pt x="360" y="1058"/>
                    <a:pt x="360" y="1058"/>
                  </a:cubicBezTo>
                  <a:cubicBezTo>
                    <a:pt x="360" y="1065"/>
                    <a:pt x="360" y="1065"/>
                    <a:pt x="360" y="1065"/>
                  </a:cubicBezTo>
                  <a:cubicBezTo>
                    <a:pt x="367" y="1065"/>
                    <a:pt x="367" y="1065"/>
                    <a:pt x="367" y="1065"/>
                  </a:cubicBezTo>
                  <a:cubicBezTo>
                    <a:pt x="367" y="1058"/>
                    <a:pt x="367" y="1058"/>
                    <a:pt x="367" y="1058"/>
                  </a:cubicBezTo>
                  <a:moveTo>
                    <a:pt x="381" y="1058"/>
                  </a:moveTo>
                  <a:cubicBezTo>
                    <a:pt x="374" y="1058"/>
                    <a:pt x="374" y="1058"/>
                    <a:pt x="374" y="1058"/>
                  </a:cubicBezTo>
                  <a:cubicBezTo>
                    <a:pt x="374" y="1065"/>
                    <a:pt x="374" y="1065"/>
                    <a:pt x="374" y="1065"/>
                  </a:cubicBezTo>
                  <a:cubicBezTo>
                    <a:pt x="381" y="1065"/>
                    <a:pt x="381" y="1065"/>
                    <a:pt x="381" y="1065"/>
                  </a:cubicBezTo>
                  <a:cubicBezTo>
                    <a:pt x="381" y="1058"/>
                    <a:pt x="381" y="1058"/>
                    <a:pt x="381" y="1058"/>
                  </a:cubicBezTo>
                  <a:moveTo>
                    <a:pt x="396" y="1058"/>
                  </a:moveTo>
                  <a:cubicBezTo>
                    <a:pt x="389" y="1058"/>
                    <a:pt x="389" y="1058"/>
                    <a:pt x="389" y="1058"/>
                  </a:cubicBezTo>
                  <a:cubicBezTo>
                    <a:pt x="389" y="1065"/>
                    <a:pt x="389" y="1065"/>
                    <a:pt x="389" y="1065"/>
                  </a:cubicBezTo>
                  <a:cubicBezTo>
                    <a:pt x="396" y="1065"/>
                    <a:pt x="396" y="1065"/>
                    <a:pt x="396" y="1065"/>
                  </a:cubicBezTo>
                  <a:cubicBezTo>
                    <a:pt x="396" y="1058"/>
                    <a:pt x="396" y="1058"/>
                    <a:pt x="396" y="1058"/>
                  </a:cubicBezTo>
                  <a:moveTo>
                    <a:pt x="411" y="1058"/>
                  </a:moveTo>
                  <a:cubicBezTo>
                    <a:pt x="404" y="1058"/>
                    <a:pt x="404" y="1058"/>
                    <a:pt x="404" y="1058"/>
                  </a:cubicBezTo>
                  <a:cubicBezTo>
                    <a:pt x="404" y="1065"/>
                    <a:pt x="404" y="1065"/>
                    <a:pt x="404" y="1065"/>
                  </a:cubicBezTo>
                  <a:cubicBezTo>
                    <a:pt x="411" y="1065"/>
                    <a:pt x="411" y="1065"/>
                    <a:pt x="411" y="1065"/>
                  </a:cubicBezTo>
                  <a:cubicBezTo>
                    <a:pt x="411" y="1058"/>
                    <a:pt x="411" y="1058"/>
                    <a:pt x="411" y="1058"/>
                  </a:cubicBezTo>
                  <a:moveTo>
                    <a:pt x="426" y="1058"/>
                  </a:moveTo>
                  <a:cubicBezTo>
                    <a:pt x="419" y="1058"/>
                    <a:pt x="419" y="1058"/>
                    <a:pt x="419" y="1058"/>
                  </a:cubicBezTo>
                  <a:cubicBezTo>
                    <a:pt x="419" y="1065"/>
                    <a:pt x="419" y="1065"/>
                    <a:pt x="419" y="1065"/>
                  </a:cubicBezTo>
                  <a:cubicBezTo>
                    <a:pt x="426" y="1065"/>
                    <a:pt x="426" y="1065"/>
                    <a:pt x="426" y="1065"/>
                  </a:cubicBezTo>
                  <a:cubicBezTo>
                    <a:pt x="426" y="1058"/>
                    <a:pt x="426" y="1058"/>
                    <a:pt x="426" y="1058"/>
                  </a:cubicBezTo>
                  <a:moveTo>
                    <a:pt x="440" y="1058"/>
                  </a:moveTo>
                  <a:cubicBezTo>
                    <a:pt x="433" y="1058"/>
                    <a:pt x="433" y="1058"/>
                    <a:pt x="433" y="1058"/>
                  </a:cubicBezTo>
                  <a:cubicBezTo>
                    <a:pt x="433" y="1065"/>
                    <a:pt x="433" y="1065"/>
                    <a:pt x="433" y="1065"/>
                  </a:cubicBezTo>
                  <a:cubicBezTo>
                    <a:pt x="440" y="1065"/>
                    <a:pt x="440" y="1065"/>
                    <a:pt x="440" y="1065"/>
                  </a:cubicBezTo>
                  <a:cubicBezTo>
                    <a:pt x="440" y="1058"/>
                    <a:pt x="440" y="1058"/>
                    <a:pt x="440" y="1058"/>
                  </a:cubicBezTo>
                  <a:moveTo>
                    <a:pt x="455" y="1058"/>
                  </a:moveTo>
                  <a:cubicBezTo>
                    <a:pt x="448" y="1058"/>
                    <a:pt x="448" y="1058"/>
                    <a:pt x="448" y="1058"/>
                  </a:cubicBezTo>
                  <a:cubicBezTo>
                    <a:pt x="448" y="1065"/>
                    <a:pt x="448" y="1065"/>
                    <a:pt x="448" y="1065"/>
                  </a:cubicBezTo>
                  <a:cubicBezTo>
                    <a:pt x="455" y="1065"/>
                    <a:pt x="455" y="1065"/>
                    <a:pt x="455" y="1065"/>
                  </a:cubicBezTo>
                  <a:cubicBezTo>
                    <a:pt x="455" y="1058"/>
                    <a:pt x="455" y="1058"/>
                    <a:pt x="455" y="1058"/>
                  </a:cubicBezTo>
                  <a:moveTo>
                    <a:pt x="470" y="1058"/>
                  </a:moveTo>
                  <a:cubicBezTo>
                    <a:pt x="463" y="1058"/>
                    <a:pt x="463" y="1058"/>
                    <a:pt x="463" y="1058"/>
                  </a:cubicBezTo>
                  <a:cubicBezTo>
                    <a:pt x="463" y="1065"/>
                    <a:pt x="463" y="1065"/>
                    <a:pt x="463" y="1065"/>
                  </a:cubicBezTo>
                  <a:cubicBezTo>
                    <a:pt x="470" y="1065"/>
                    <a:pt x="470" y="1065"/>
                    <a:pt x="470" y="1065"/>
                  </a:cubicBezTo>
                  <a:cubicBezTo>
                    <a:pt x="470" y="1058"/>
                    <a:pt x="470" y="1058"/>
                    <a:pt x="470" y="1058"/>
                  </a:cubicBezTo>
                  <a:moveTo>
                    <a:pt x="485" y="1058"/>
                  </a:moveTo>
                  <a:cubicBezTo>
                    <a:pt x="478" y="1058"/>
                    <a:pt x="478" y="1058"/>
                    <a:pt x="478" y="1058"/>
                  </a:cubicBezTo>
                  <a:cubicBezTo>
                    <a:pt x="478" y="1065"/>
                    <a:pt x="478" y="1065"/>
                    <a:pt x="478" y="1065"/>
                  </a:cubicBezTo>
                  <a:cubicBezTo>
                    <a:pt x="485" y="1065"/>
                    <a:pt x="485" y="1065"/>
                    <a:pt x="485" y="1065"/>
                  </a:cubicBezTo>
                  <a:cubicBezTo>
                    <a:pt x="485" y="1058"/>
                    <a:pt x="485" y="1058"/>
                    <a:pt x="485" y="1058"/>
                  </a:cubicBezTo>
                  <a:moveTo>
                    <a:pt x="293" y="1043"/>
                  </a:moveTo>
                  <a:cubicBezTo>
                    <a:pt x="286" y="1043"/>
                    <a:pt x="286" y="1043"/>
                    <a:pt x="286" y="1043"/>
                  </a:cubicBezTo>
                  <a:cubicBezTo>
                    <a:pt x="286" y="1050"/>
                    <a:pt x="286" y="1050"/>
                    <a:pt x="286" y="1050"/>
                  </a:cubicBezTo>
                  <a:cubicBezTo>
                    <a:pt x="293" y="1050"/>
                    <a:pt x="293" y="1050"/>
                    <a:pt x="293" y="1050"/>
                  </a:cubicBezTo>
                  <a:cubicBezTo>
                    <a:pt x="293" y="1043"/>
                    <a:pt x="293" y="1043"/>
                    <a:pt x="293" y="1043"/>
                  </a:cubicBezTo>
                  <a:moveTo>
                    <a:pt x="308" y="1043"/>
                  </a:moveTo>
                  <a:cubicBezTo>
                    <a:pt x="301" y="1043"/>
                    <a:pt x="301" y="1043"/>
                    <a:pt x="301" y="1043"/>
                  </a:cubicBezTo>
                  <a:cubicBezTo>
                    <a:pt x="301" y="1050"/>
                    <a:pt x="301" y="1050"/>
                    <a:pt x="301" y="1050"/>
                  </a:cubicBezTo>
                  <a:cubicBezTo>
                    <a:pt x="308" y="1050"/>
                    <a:pt x="308" y="1050"/>
                    <a:pt x="308" y="1050"/>
                  </a:cubicBezTo>
                  <a:cubicBezTo>
                    <a:pt x="308" y="1043"/>
                    <a:pt x="308" y="1043"/>
                    <a:pt x="308" y="1043"/>
                  </a:cubicBezTo>
                  <a:moveTo>
                    <a:pt x="322" y="1043"/>
                  </a:moveTo>
                  <a:cubicBezTo>
                    <a:pt x="315" y="1043"/>
                    <a:pt x="315" y="1043"/>
                    <a:pt x="315" y="1043"/>
                  </a:cubicBezTo>
                  <a:cubicBezTo>
                    <a:pt x="315" y="1050"/>
                    <a:pt x="315" y="1050"/>
                    <a:pt x="315" y="1050"/>
                  </a:cubicBezTo>
                  <a:cubicBezTo>
                    <a:pt x="322" y="1050"/>
                    <a:pt x="322" y="1050"/>
                    <a:pt x="322" y="1050"/>
                  </a:cubicBezTo>
                  <a:cubicBezTo>
                    <a:pt x="322" y="1043"/>
                    <a:pt x="322" y="1043"/>
                    <a:pt x="322" y="1043"/>
                  </a:cubicBezTo>
                  <a:moveTo>
                    <a:pt x="337" y="1043"/>
                  </a:moveTo>
                  <a:cubicBezTo>
                    <a:pt x="330" y="1043"/>
                    <a:pt x="330" y="1043"/>
                    <a:pt x="330" y="1043"/>
                  </a:cubicBezTo>
                  <a:cubicBezTo>
                    <a:pt x="330" y="1050"/>
                    <a:pt x="330" y="1050"/>
                    <a:pt x="330" y="1050"/>
                  </a:cubicBezTo>
                  <a:cubicBezTo>
                    <a:pt x="337" y="1050"/>
                    <a:pt x="337" y="1050"/>
                    <a:pt x="337" y="1050"/>
                  </a:cubicBezTo>
                  <a:cubicBezTo>
                    <a:pt x="337" y="1043"/>
                    <a:pt x="337" y="1043"/>
                    <a:pt x="337" y="1043"/>
                  </a:cubicBezTo>
                  <a:moveTo>
                    <a:pt x="352" y="1043"/>
                  </a:moveTo>
                  <a:cubicBezTo>
                    <a:pt x="345" y="1043"/>
                    <a:pt x="345" y="1043"/>
                    <a:pt x="345" y="1043"/>
                  </a:cubicBezTo>
                  <a:cubicBezTo>
                    <a:pt x="345" y="1050"/>
                    <a:pt x="345" y="1050"/>
                    <a:pt x="345" y="1050"/>
                  </a:cubicBezTo>
                  <a:cubicBezTo>
                    <a:pt x="352" y="1050"/>
                    <a:pt x="352" y="1050"/>
                    <a:pt x="352" y="1050"/>
                  </a:cubicBezTo>
                  <a:cubicBezTo>
                    <a:pt x="352" y="1043"/>
                    <a:pt x="352" y="1043"/>
                    <a:pt x="352" y="1043"/>
                  </a:cubicBezTo>
                  <a:moveTo>
                    <a:pt x="367" y="1043"/>
                  </a:moveTo>
                  <a:cubicBezTo>
                    <a:pt x="360" y="1043"/>
                    <a:pt x="360" y="1043"/>
                    <a:pt x="360" y="1043"/>
                  </a:cubicBezTo>
                  <a:cubicBezTo>
                    <a:pt x="360" y="1050"/>
                    <a:pt x="360" y="1050"/>
                    <a:pt x="360" y="1050"/>
                  </a:cubicBezTo>
                  <a:cubicBezTo>
                    <a:pt x="367" y="1050"/>
                    <a:pt x="367" y="1050"/>
                    <a:pt x="367" y="1050"/>
                  </a:cubicBezTo>
                  <a:cubicBezTo>
                    <a:pt x="367" y="1043"/>
                    <a:pt x="367" y="1043"/>
                    <a:pt x="367" y="1043"/>
                  </a:cubicBezTo>
                  <a:moveTo>
                    <a:pt x="381" y="1043"/>
                  </a:moveTo>
                  <a:cubicBezTo>
                    <a:pt x="374" y="1043"/>
                    <a:pt x="374" y="1043"/>
                    <a:pt x="374" y="1043"/>
                  </a:cubicBezTo>
                  <a:cubicBezTo>
                    <a:pt x="374" y="1050"/>
                    <a:pt x="374" y="1050"/>
                    <a:pt x="374" y="1050"/>
                  </a:cubicBezTo>
                  <a:cubicBezTo>
                    <a:pt x="381" y="1050"/>
                    <a:pt x="381" y="1050"/>
                    <a:pt x="381" y="1050"/>
                  </a:cubicBezTo>
                  <a:cubicBezTo>
                    <a:pt x="381" y="1043"/>
                    <a:pt x="381" y="1043"/>
                    <a:pt x="381" y="1043"/>
                  </a:cubicBezTo>
                  <a:moveTo>
                    <a:pt x="396" y="1043"/>
                  </a:moveTo>
                  <a:cubicBezTo>
                    <a:pt x="389" y="1043"/>
                    <a:pt x="389" y="1043"/>
                    <a:pt x="389" y="1043"/>
                  </a:cubicBezTo>
                  <a:cubicBezTo>
                    <a:pt x="389" y="1050"/>
                    <a:pt x="389" y="1050"/>
                    <a:pt x="389" y="1050"/>
                  </a:cubicBezTo>
                  <a:cubicBezTo>
                    <a:pt x="396" y="1050"/>
                    <a:pt x="396" y="1050"/>
                    <a:pt x="396" y="1050"/>
                  </a:cubicBezTo>
                  <a:cubicBezTo>
                    <a:pt x="396" y="1043"/>
                    <a:pt x="396" y="1043"/>
                    <a:pt x="396" y="1043"/>
                  </a:cubicBezTo>
                  <a:moveTo>
                    <a:pt x="411" y="1043"/>
                  </a:moveTo>
                  <a:cubicBezTo>
                    <a:pt x="404" y="1043"/>
                    <a:pt x="404" y="1043"/>
                    <a:pt x="404" y="1043"/>
                  </a:cubicBezTo>
                  <a:cubicBezTo>
                    <a:pt x="404" y="1050"/>
                    <a:pt x="404" y="1050"/>
                    <a:pt x="404" y="1050"/>
                  </a:cubicBezTo>
                  <a:cubicBezTo>
                    <a:pt x="411" y="1050"/>
                    <a:pt x="411" y="1050"/>
                    <a:pt x="411" y="1050"/>
                  </a:cubicBezTo>
                  <a:cubicBezTo>
                    <a:pt x="411" y="1043"/>
                    <a:pt x="411" y="1043"/>
                    <a:pt x="411" y="1043"/>
                  </a:cubicBezTo>
                  <a:moveTo>
                    <a:pt x="426" y="1043"/>
                  </a:moveTo>
                  <a:cubicBezTo>
                    <a:pt x="419" y="1043"/>
                    <a:pt x="419" y="1043"/>
                    <a:pt x="419" y="1043"/>
                  </a:cubicBezTo>
                  <a:cubicBezTo>
                    <a:pt x="419" y="1050"/>
                    <a:pt x="419" y="1050"/>
                    <a:pt x="419" y="1050"/>
                  </a:cubicBezTo>
                  <a:cubicBezTo>
                    <a:pt x="426" y="1050"/>
                    <a:pt x="426" y="1050"/>
                    <a:pt x="426" y="1050"/>
                  </a:cubicBezTo>
                  <a:cubicBezTo>
                    <a:pt x="426" y="1043"/>
                    <a:pt x="426" y="1043"/>
                    <a:pt x="426" y="1043"/>
                  </a:cubicBezTo>
                  <a:moveTo>
                    <a:pt x="440" y="1043"/>
                  </a:moveTo>
                  <a:cubicBezTo>
                    <a:pt x="433" y="1043"/>
                    <a:pt x="433" y="1043"/>
                    <a:pt x="433" y="1043"/>
                  </a:cubicBezTo>
                  <a:cubicBezTo>
                    <a:pt x="433" y="1050"/>
                    <a:pt x="433" y="1050"/>
                    <a:pt x="433" y="1050"/>
                  </a:cubicBezTo>
                  <a:cubicBezTo>
                    <a:pt x="440" y="1050"/>
                    <a:pt x="440" y="1050"/>
                    <a:pt x="440" y="1050"/>
                  </a:cubicBezTo>
                  <a:cubicBezTo>
                    <a:pt x="440" y="1043"/>
                    <a:pt x="440" y="1043"/>
                    <a:pt x="440" y="1043"/>
                  </a:cubicBezTo>
                  <a:moveTo>
                    <a:pt x="455" y="1043"/>
                  </a:moveTo>
                  <a:cubicBezTo>
                    <a:pt x="448" y="1043"/>
                    <a:pt x="448" y="1043"/>
                    <a:pt x="448" y="1043"/>
                  </a:cubicBezTo>
                  <a:cubicBezTo>
                    <a:pt x="448" y="1050"/>
                    <a:pt x="448" y="1050"/>
                    <a:pt x="448" y="1050"/>
                  </a:cubicBezTo>
                  <a:cubicBezTo>
                    <a:pt x="455" y="1050"/>
                    <a:pt x="455" y="1050"/>
                    <a:pt x="455" y="1050"/>
                  </a:cubicBezTo>
                  <a:cubicBezTo>
                    <a:pt x="455" y="1043"/>
                    <a:pt x="455" y="1043"/>
                    <a:pt x="455" y="1043"/>
                  </a:cubicBezTo>
                  <a:moveTo>
                    <a:pt x="337" y="1028"/>
                  </a:moveTo>
                  <a:cubicBezTo>
                    <a:pt x="330" y="1028"/>
                    <a:pt x="330" y="1028"/>
                    <a:pt x="330" y="1028"/>
                  </a:cubicBezTo>
                  <a:cubicBezTo>
                    <a:pt x="330" y="1035"/>
                    <a:pt x="330" y="1035"/>
                    <a:pt x="330" y="1035"/>
                  </a:cubicBezTo>
                  <a:cubicBezTo>
                    <a:pt x="337" y="1035"/>
                    <a:pt x="337" y="1035"/>
                    <a:pt x="337" y="1035"/>
                  </a:cubicBezTo>
                  <a:cubicBezTo>
                    <a:pt x="337" y="1028"/>
                    <a:pt x="337" y="1028"/>
                    <a:pt x="337" y="1028"/>
                  </a:cubicBezTo>
                  <a:moveTo>
                    <a:pt x="352" y="1028"/>
                  </a:moveTo>
                  <a:cubicBezTo>
                    <a:pt x="345" y="1028"/>
                    <a:pt x="345" y="1028"/>
                    <a:pt x="345" y="1028"/>
                  </a:cubicBezTo>
                  <a:cubicBezTo>
                    <a:pt x="345" y="1035"/>
                    <a:pt x="345" y="1035"/>
                    <a:pt x="345" y="1035"/>
                  </a:cubicBezTo>
                  <a:cubicBezTo>
                    <a:pt x="352" y="1035"/>
                    <a:pt x="352" y="1035"/>
                    <a:pt x="352" y="1035"/>
                  </a:cubicBezTo>
                  <a:cubicBezTo>
                    <a:pt x="352" y="1028"/>
                    <a:pt x="352" y="1028"/>
                    <a:pt x="352" y="1028"/>
                  </a:cubicBezTo>
                  <a:moveTo>
                    <a:pt x="367" y="1028"/>
                  </a:moveTo>
                  <a:cubicBezTo>
                    <a:pt x="360" y="1028"/>
                    <a:pt x="360" y="1028"/>
                    <a:pt x="360" y="1028"/>
                  </a:cubicBezTo>
                  <a:cubicBezTo>
                    <a:pt x="360" y="1035"/>
                    <a:pt x="360" y="1035"/>
                    <a:pt x="360" y="1035"/>
                  </a:cubicBezTo>
                  <a:cubicBezTo>
                    <a:pt x="367" y="1035"/>
                    <a:pt x="367" y="1035"/>
                    <a:pt x="367" y="1035"/>
                  </a:cubicBezTo>
                  <a:cubicBezTo>
                    <a:pt x="367" y="1028"/>
                    <a:pt x="367" y="1028"/>
                    <a:pt x="367" y="1028"/>
                  </a:cubicBezTo>
                  <a:moveTo>
                    <a:pt x="381" y="1028"/>
                  </a:moveTo>
                  <a:cubicBezTo>
                    <a:pt x="374" y="1028"/>
                    <a:pt x="374" y="1028"/>
                    <a:pt x="374" y="1028"/>
                  </a:cubicBezTo>
                  <a:cubicBezTo>
                    <a:pt x="374" y="1035"/>
                    <a:pt x="374" y="1035"/>
                    <a:pt x="374" y="1035"/>
                  </a:cubicBezTo>
                  <a:cubicBezTo>
                    <a:pt x="381" y="1035"/>
                    <a:pt x="381" y="1035"/>
                    <a:pt x="381" y="1035"/>
                  </a:cubicBezTo>
                  <a:cubicBezTo>
                    <a:pt x="381" y="1028"/>
                    <a:pt x="381" y="1028"/>
                    <a:pt x="381" y="1028"/>
                  </a:cubicBezTo>
                  <a:moveTo>
                    <a:pt x="396" y="1028"/>
                  </a:moveTo>
                  <a:cubicBezTo>
                    <a:pt x="389" y="1028"/>
                    <a:pt x="389" y="1028"/>
                    <a:pt x="389" y="1028"/>
                  </a:cubicBezTo>
                  <a:cubicBezTo>
                    <a:pt x="389" y="1035"/>
                    <a:pt x="389" y="1035"/>
                    <a:pt x="389" y="1035"/>
                  </a:cubicBezTo>
                  <a:cubicBezTo>
                    <a:pt x="396" y="1035"/>
                    <a:pt x="396" y="1035"/>
                    <a:pt x="396" y="1035"/>
                  </a:cubicBezTo>
                  <a:cubicBezTo>
                    <a:pt x="396" y="1028"/>
                    <a:pt x="396" y="1028"/>
                    <a:pt x="396" y="1028"/>
                  </a:cubicBezTo>
                  <a:moveTo>
                    <a:pt x="411" y="1028"/>
                  </a:moveTo>
                  <a:cubicBezTo>
                    <a:pt x="404" y="1028"/>
                    <a:pt x="404" y="1028"/>
                    <a:pt x="404" y="1028"/>
                  </a:cubicBezTo>
                  <a:cubicBezTo>
                    <a:pt x="404" y="1035"/>
                    <a:pt x="404" y="1035"/>
                    <a:pt x="404" y="1035"/>
                  </a:cubicBezTo>
                  <a:cubicBezTo>
                    <a:pt x="411" y="1035"/>
                    <a:pt x="411" y="1035"/>
                    <a:pt x="411" y="1035"/>
                  </a:cubicBezTo>
                  <a:cubicBezTo>
                    <a:pt x="411" y="1028"/>
                    <a:pt x="411" y="1028"/>
                    <a:pt x="411" y="1028"/>
                  </a:cubicBezTo>
                  <a:moveTo>
                    <a:pt x="109" y="786"/>
                  </a:moveTo>
                  <a:cubicBezTo>
                    <a:pt x="109" y="769"/>
                    <a:pt x="109" y="769"/>
                    <a:pt x="109" y="769"/>
                  </a:cubicBezTo>
                  <a:cubicBezTo>
                    <a:pt x="150" y="769"/>
                    <a:pt x="150" y="769"/>
                    <a:pt x="150" y="769"/>
                  </a:cubicBezTo>
                  <a:cubicBezTo>
                    <a:pt x="150" y="786"/>
                    <a:pt x="150" y="786"/>
                    <a:pt x="150" y="786"/>
                  </a:cubicBezTo>
                  <a:cubicBezTo>
                    <a:pt x="109" y="786"/>
                    <a:pt x="109" y="786"/>
                    <a:pt x="109" y="786"/>
                  </a:cubicBezTo>
                  <a:moveTo>
                    <a:pt x="178" y="786"/>
                  </a:moveTo>
                  <a:cubicBezTo>
                    <a:pt x="174" y="786"/>
                    <a:pt x="170" y="782"/>
                    <a:pt x="170" y="777"/>
                  </a:cubicBezTo>
                  <a:cubicBezTo>
                    <a:pt x="170" y="773"/>
                    <a:pt x="174" y="769"/>
                    <a:pt x="178" y="769"/>
                  </a:cubicBezTo>
                  <a:cubicBezTo>
                    <a:pt x="183" y="769"/>
                    <a:pt x="187" y="773"/>
                    <a:pt x="187" y="777"/>
                  </a:cubicBezTo>
                  <a:cubicBezTo>
                    <a:pt x="187" y="782"/>
                    <a:pt x="183" y="786"/>
                    <a:pt x="178" y="786"/>
                  </a:cubicBezTo>
                  <a:moveTo>
                    <a:pt x="227" y="786"/>
                  </a:moveTo>
                  <a:cubicBezTo>
                    <a:pt x="223" y="786"/>
                    <a:pt x="219" y="782"/>
                    <a:pt x="219" y="777"/>
                  </a:cubicBezTo>
                  <a:cubicBezTo>
                    <a:pt x="219" y="773"/>
                    <a:pt x="223" y="769"/>
                    <a:pt x="227" y="769"/>
                  </a:cubicBezTo>
                  <a:cubicBezTo>
                    <a:pt x="232" y="769"/>
                    <a:pt x="236" y="773"/>
                    <a:pt x="236" y="777"/>
                  </a:cubicBezTo>
                  <a:cubicBezTo>
                    <a:pt x="236" y="782"/>
                    <a:pt x="232" y="786"/>
                    <a:pt x="227" y="786"/>
                  </a:cubicBezTo>
                  <a:moveTo>
                    <a:pt x="256" y="786"/>
                  </a:moveTo>
                  <a:cubicBezTo>
                    <a:pt x="256" y="769"/>
                    <a:pt x="256" y="769"/>
                    <a:pt x="256" y="769"/>
                  </a:cubicBezTo>
                  <a:cubicBezTo>
                    <a:pt x="296" y="769"/>
                    <a:pt x="296" y="769"/>
                    <a:pt x="296" y="769"/>
                  </a:cubicBezTo>
                  <a:cubicBezTo>
                    <a:pt x="296" y="786"/>
                    <a:pt x="296" y="786"/>
                    <a:pt x="296" y="786"/>
                  </a:cubicBezTo>
                  <a:cubicBezTo>
                    <a:pt x="256" y="786"/>
                    <a:pt x="256" y="786"/>
                    <a:pt x="256" y="786"/>
                  </a:cubicBezTo>
                  <a:moveTo>
                    <a:pt x="318" y="802"/>
                  </a:moveTo>
                  <a:cubicBezTo>
                    <a:pt x="318" y="753"/>
                    <a:pt x="318" y="753"/>
                    <a:pt x="318" y="753"/>
                  </a:cubicBezTo>
                  <a:cubicBezTo>
                    <a:pt x="561" y="753"/>
                    <a:pt x="561" y="753"/>
                    <a:pt x="561" y="753"/>
                  </a:cubicBezTo>
                  <a:cubicBezTo>
                    <a:pt x="561" y="802"/>
                    <a:pt x="561" y="802"/>
                    <a:pt x="561" y="802"/>
                  </a:cubicBezTo>
                  <a:cubicBezTo>
                    <a:pt x="318" y="802"/>
                    <a:pt x="318" y="802"/>
                    <a:pt x="318" y="802"/>
                  </a:cubicBezTo>
                  <a:moveTo>
                    <a:pt x="590" y="802"/>
                  </a:moveTo>
                  <a:cubicBezTo>
                    <a:pt x="586" y="802"/>
                    <a:pt x="583" y="798"/>
                    <a:pt x="583" y="794"/>
                  </a:cubicBezTo>
                  <a:cubicBezTo>
                    <a:pt x="583" y="760"/>
                    <a:pt x="583" y="760"/>
                    <a:pt x="583" y="760"/>
                  </a:cubicBezTo>
                  <a:cubicBezTo>
                    <a:pt x="583" y="756"/>
                    <a:pt x="586" y="753"/>
                    <a:pt x="590" y="753"/>
                  </a:cubicBezTo>
                  <a:cubicBezTo>
                    <a:pt x="624" y="753"/>
                    <a:pt x="624" y="753"/>
                    <a:pt x="624" y="753"/>
                  </a:cubicBezTo>
                  <a:cubicBezTo>
                    <a:pt x="628" y="753"/>
                    <a:pt x="632" y="756"/>
                    <a:pt x="632" y="760"/>
                  </a:cubicBezTo>
                  <a:cubicBezTo>
                    <a:pt x="632" y="794"/>
                    <a:pt x="632" y="794"/>
                    <a:pt x="632" y="794"/>
                  </a:cubicBezTo>
                  <a:cubicBezTo>
                    <a:pt x="632" y="798"/>
                    <a:pt x="628" y="802"/>
                    <a:pt x="624" y="802"/>
                  </a:cubicBezTo>
                  <a:cubicBezTo>
                    <a:pt x="590" y="802"/>
                    <a:pt x="590" y="802"/>
                    <a:pt x="590" y="802"/>
                  </a:cubicBezTo>
                  <a:moveTo>
                    <a:pt x="692" y="689"/>
                  </a:moveTo>
                  <a:cubicBezTo>
                    <a:pt x="49" y="689"/>
                    <a:pt x="49" y="689"/>
                    <a:pt x="49" y="689"/>
                  </a:cubicBezTo>
                  <a:cubicBezTo>
                    <a:pt x="49" y="865"/>
                    <a:pt x="49" y="865"/>
                    <a:pt x="49" y="865"/>
                  </a:cubicBezTo>
                  <a:cubicBezTo>
                    <a:pt x="692" y="865"/>
                    <a:pt x="692" y="865"/>
                    <a:pt x="692" y="865"/>
                  </a:cubicBezTo>
                  <a:cubicBezTo>
                    <a:pt x="692" y="689"/>
                    <a:pt x="692" y="689"/>
                    <a:pt x="692" y="689"/>
                  </a:cubicBezTo>
                  <a:moveTo>
                    <a:pt x="316" y="1028"/>
                  </a:moveTo>
                  <a:cubicBezTo>
                    <a:pt x="333" y="1023"/>
                    <a:pt x="352" y="1020"/>
                    <a:pt x="371" y="1020"/>
                  </a:cubicBezTo>
                  <a:cubicBezTo>
                    <a:pt x="389" y="1020"/>
                    <a:pt x="408" y="1023"/>
                    <a:pt x="425" y="1028"/>
                  </a:cubicBezTo>
                  <a:cubicBezTo>
                    <a:pt x="419" y="1028"/>
                    <a:pt x="419" y="1028"/>
                    <a:pt x="419" y="1028"/>
                  </a:cubicBezTo>
                  <a:cubicBezTo>
                    <a:pt x="419" y="1035"/>
                    <a:pt x="419" y="1035"/>
                    <a:pt x="419" y="1035"/>
                  </a:cubicBezTo>
                  <a:cubicBezTo>
                    <a:pt x="426" y="1035"/>
                    <a:pt x="426" y="1035"/>
                    <a:pt x="426" y="1035"/>
                  </a:cubicBezTo>
                  <a:cubicBezTo>
                    <a:pt x="426" y="1028"/>
                    <a:pt x="426" y="1028"/>
                    <a:pt x="426" y="1028"/>
                  </a:cubicBezTo>
                  <a:cubicBezTo>
                    <a:pt x="428" y="1029"/>
                    <a:pt x="431" y="1030"/>
                    <a:pt x="433" y="1031"/>
                  </a:cubicBezTo>
                  <a:cubicBezTo>
                    <a:pt x="433" y="1035"/>
                    <a:pt x="433" y="1035"/>
                    <a:pt x="433" y="1035"/>
                  </a:cubicBezTo>
                  <a:cubicBezTo>
                    <a:pt x="440" y="1035"/>
                    <a:pt x="440" y="1035"/>
                    <a:pt x="440" y="1035"/>
                  </a:cubicBezTo>
                  <a:cubicBezTo>
                    <a:pt x="440" y="1033"/>
                    <a:pt x="440" y="1033"/>
                    <a:pt x="440" y="1033"/>
                  </a:cubicBezTo>
                  <a:cubicBezTo>
                    <a:pt x="448" y="1036"/>
                    <a:pt x="456" y="1040"/>
                    <a:pt x="463" y="1044"/>
                  </a:cubicBezTo>
                  <a:cubicBezTo>
                    <a:pt x="463" y="1050"/>
                    <a:pt x="463" y="1050"/>
                    <a:pt x="463" y="1050"/>
                  </a:cubicBezTo>
                  <a:cubicBezTo>
                    <a:pt x="470" y="1050"/>
                    <a:pt x="470" y="1050"/>
                    <a:pt x="470" y="1050"/>
                  </a:cubicBezTo>
                  <a:cubicBezTo>
                    <a:pt x="470" y="1048"/>
                    <a:pt x="470" y="1048"/>
                    <a:pt x="470" y="1048"/>
                  </a:cubicBezTo>
                  <a:cubicBezTo>
                    <a:pt x="478" y="1052"/>
                    <a:pt x="485" y="1057"/>
                    <a:pt x="492" y="1063"/>
                  </a:cubicBezTo>
                  <a:cubicBezTo>
                    <a:pt x="492" y="1065"/>
                    <a:pt x="492" y="1065"/>
                    <a:pt x="492" y="1065"/>
                  </a:cubicBezTo>
                  <a:cubicBezTo>
                    <a:pt x="494" y="1065"/>
                    <a:pt x="494" y="1065"/>
                    <a:pt x="494" y="1065"/>
                  </a:cubicBezTo>
                  <a:cubicBezTo>
                    <a:pt x="499" y="1068"/>
                    <a:pt x="503" y="1072"/>
                    <a:pt x="507" y="1076"/>
                  </a:cubicBezTo>
                  <a:cubicBezTo>
                    <a:pt x="507" y="1079"/>
                    <a:pt x="507" y="1079"/>
                    <a:pt x="507" y="1079"/>
                  </a:cubicBezTo>
                  <a:cubicBezTo>
                    <a:pt x="511" y="1079"/>
                    <a:pt x="511" y="1079"/>
                    <a:pt x="511" y="1079"/>
                  </a:cubicBezTo>
                  <a:cubicBezTo>
                    <a:pt x="514" y="1083"/>
                    <a:pt x="518" y="1088"/>
                    <a:pt x="522" y="1092"/>
                  </a:cubicBezTo>
                  <a:cubicBezTo>
                    <a:pt x="522" y="1094"/>
                    <a:pt x="522" y="1094"/>
                    <a:pt x="522" y="1094"/>
                  </a:cubicBezTo>
                  <a:cubicBezTo>
                    <a:pt x="524" y="1094"/>
                    <a:pt x="524" y="1094"/>
                    <a:pt x="524" y="1094"/>
                  </a:cubicBezTo>
                  <a:cubicBezTo>
                    <a:pt x="529" y="1101"/>
                    <a:pt x="534" y="1109"/>
                    <a:pt x="539" y="1117"/>
                  </a:cubicBezTo>
                  <a:cubicBezTo>
                    <a:pt x="537" y="1117"/>
                    <a:pt x="537" y="1117"/>
                    <a:pt x="537" y="1117"/>
                  </a:cubicBezTo>
                  <a:cubicBezTo>
                    <a:pt x="537" y="1124"/>
                    <a:pt x="537" y="1124"/>
                    <a:pt x="537" y="1124"/>
                  </a:cubicBezTo>
                  <a:cubicBezTo>
                    <a:pt x="543" y="1124"/>
                    <a:pt x="543" y="1124"/>
                    <a:pt x="543" y="1124"/>
                  </a:cubicBezTo>
                  <a:cubicBezTo>
                    <a:pt x="547" y="1131"/>
                    <a:pt x="550" y="1138"/>
                    <a:pt x="553" y="1146"/>
                  </a:cubicBezTo>
                  <a:cubicBezTo>
                    <a:pt x="551" y="1146"/>
                    <a:pt x="551" y="1146"/>
                    <a:pt x="551" y="1146"/>
                  </a:cubicBezTo>
                  <a:cubicBezTo>
                    <a:pt x="551" y="1153"/>
                    <a:pt x="551" y="1153"/>
                    <a:pt x="551" y="1153"/>
                  </a:cubicBezTo>
                  <a:cubicBezTo>
                    <a:pt x="556" y="1153"/>
                    <a:pt x="556" y="1153"/>
                    <a:pt x="556" y="1153"/>
                  </a:cubicBezTo>
                  <a:cubicBezTo>
                    <a:pt x="557" y="1156"/>
                    <a:pt x="557" y="1158"/>
                    <a:pt x="558" y="1161"/>
                  </a:cubicBezTo>
                  <a:cubicBezTo>
                    <a:pt x="551" y="1161"/>
                    <a:pt x="551" y="1161"/>
                    <a:pt x="551" y="1161"/>
                  </a:cubicBezTo>
                  <a:cubicBezTo>
                    <a:pt x="551" y="1168"/>
                    <a:pt x="551" y="1168"/>
                    <a:pt x="551" y="1168"/>
                  </a:cubicBezTo>
                  <a:cubicBezTo>
                    <a:pt x="558" y="1168"/>
                    <a:pt x="558" y="1168"/>
                    <a:pt x="558" y="1168"/>
                  </a:cubicBezTo>
                  <a:cubicBezTo>
                    <a:pt x="558" y="1161"/>
                    <a:pt x="558" y="1161"/>
                    <a:pt x="558" y="1161"/>
                  </a:cubicBezTo>
                  <a:cubicBezTo>
                    <a:pt x="563" y="1179"/>
                    <a:pt x="566" y="1197"/>
                    <a:pt x="566" y="1216"/>
                  </a:cubicBezTo>
                  <a:cubicBezTo>
                    <a:pt x="566" y="1235"/>
                    <a:pt x="563" y="1253"/>
                    <a:pt x="558" y="1271"/>
                  </a:cubicBezTo>
                  <a:cubicBezTo>
                    <a:pt x="558" y="1264"/>
                    <a:pt x="558" y="1264"/>
                    <a:pt x="558" y="1264"/>
                  </a:cubicBezTo>
                  <a:cubicBezTo>
                    <a:pt x="551" y="1264"/>
                    <a:pt x="551" y="1264"/>
                    <a:pt x="551" y="1264"/>
                  </a:cubicBezTo>
                  <a:cubicBezTo>
                    <a:pt x="551" y="1271"/>
                    <a:pt x="551" y="1271"/>
                    <a:pt x="551" y="1271"/>
                  </a:cubicBezTo>
                  <a:cubicBezTo>
                    <a:pt x="558" y="1271"/>
                    <a:pt x="558" y="1271"/>
                    <a:pt x="558" y="1271"/>
                  </a:cubicBezTo>
                  <a:cubicBezTo>
                    <a:pt x="557" y="1274"/>
                    <a:pt x="557" y="1276"/>
                    <a:pt x="556" y="1279"/>
                  </a:cubicBezTo>
                  <a:cubicBezTo>
                    <a:pt x="551" y="1279"/>
                    <a:pt x="551" y="1279"/>
                    <a:pt x="551" y="1279"/>
                  </a:cubicBezTo>
                  <a:cubicBezTo>
                    <a:pt x="551" y="1286"/>
                    <a:pt x="551" y="1286"/>
                    <a:pt x="551" y="1286"/>
                  </a:cubicBezTo>
                  <a:cubicBezTo>
                    <a:pt x="553" y="1286"/>
                    <a:pt x="553" y="1286"/>
                    <a:pt x="553" y="1286"/>
                  </a:cubicBezTo>
                  <a:cubicBezTo>
                    <a:pt x="550" y="1294"/>
                    <a:pt x="547" y="1301"/>
                    <a:pt x="543" y="1308"/>
                  </a:cubicBezTo>
                  <a:cubicBezTo>
                    <a:pt x="537" y="1308"/>
                    <a:pt x="537" y="1308"/>
                    <a:pt x="537" y="1308"/>
                  </a:cubicBezTo>
                  <a:cubicBezTo>
                    <a:pt x="537" y="1315"/>
                    <a:pt x="537" y="1315"/>
                    <a:pt x="537" y="1315"/>
                  </a:cubicBezTo>
                  <a:cubicBezTo>
                    <a:pt x="539" y="1315"/>
                    <a:pt x="539" y="1315"/>
                    <a:pt x="539" y="1315"/>
                  </a:cubicBezTo>
                  <a:cubicBezTo>
                    <a:pt x="534" y="1323"/>
                    <a:pt x="529" y="1331"/>
                    <a:pt x="524" y="1338"/>
                  </a:cubicBezTo>
                  <a:cubicBezTo>
                    <a:pt x="522" y="1338"/>
                    <a:pt x="522" y="1338"/>
                    <a:pt x="522" y="1338"/>
                  </a:cubicBezTo>
                  <a:cubicBezTo>
                    <a:pt x="522" y="1340"/>
                    <a:pt x="522" y="1340"/>
                    <a:pt x="522" y="1340"/>
                  </a:cubicBezTo>
                  <a:cubicBezTo>
                    <a:pt x="518" y="1344"/>
                    <a:pt x="514" y="1349"/>
                    <a:pt x="511" y="1353"/>
                  </a:cubicBezTo>
                  <a:cubicBezTo>
                    <a:pt x="507" y="1353"/>
                    <a:pt x="507" y="1353"/>
                    <a:pt x="507" y="1353"/>
                  </a:cubicBezTo>
                  <a:cubicBezTo>
                    <a:pt x="507" y="1356"/>
                    <a:pt x="507" y="1356"/>
                    <a:pt x="507" y="1356"/>
                  </a:cubicBezTo>
                  <a:cubicBezTo>
                    <a:pt x="503" y="1360"/>
                    <a:pt x="499" y="1364"/>
                    <a:pt x="494" y="1367"/>
                  </a:cubicBezTo>
                  <a:cubicBezTo>
                    <a:pt x="492" y="1367"/>
                    <a:pt x="492" y="1367"/>
                    <a:pt x="492" y="1367"/>
                  </a:cubicBezTo>
                  <a:cubicBezTo>
                    <a:pt x="492" y="1369"/>
                    <a:pt x="492" y="1369"/>
                    <a:pt x="492" y="1369"/>
                  </a:cubicBezTo>
                  <a:cubicBezTo>
                    <a:pt x="485" y="1375"/>
                    <a:pt x="478" y="1380"/>
                    <a:pt x="470" y="1385"/>
                  </a:cubicBezTo>
                  <a:cubicBezTo>
                    <a:pt x="470" y="1382"/>
                    <a:pt x="470" y="1382"/>
                    <a:pt x="470" y="1382"/>
                  </a:cubicBezTo>
                  <a:cubicBezTo>
                    <a:pt x="463" y="1382"/>
                    <a:pt x="463" y="1382"/>
                    <a:pt x="463" y="1382"/>
                  </a:cubicBezTo>
                  <a:cubicBezTo>
                    <a:pt x="463" y="1388"/>
                    <a:pt x="463" y="1388"/>
                    <a:pt x="463" y="1388"/>
                  </a:cubicBezTo>
                  <a:cubicBezTo>
                    <a:pt x="456" y="1392"/>
                    <a:pt x="448" y="1396"/>
                    <a:pt x="440" y="1399"/>
                  </a:cubicBezTo>
                  <a:cubicBezTo>
                    <a:pt x="440" y="1397"/>
                    <a:pt x="440" y="1397"/>
                    <a:pt x="440" y="1397"/>
                  </a:cubicBezTo>
                  <a:cubicBezTo>
                    <a:pt x="433" y="1397"/>
                    <a:pt x="433" y="1397"/>
                    <a:pt x="433" y="1397"/>
                  </a:cubicBezTo>
                  <a:cubicBezTo>
                    <a:pt x="433" y="1401"/>
                    <a:pt x="433" y="1401"/>
                    <a:pt x="433" y="1401"/>
                  </a:cubicBezTo>
                  <a:cubicBezTo>
                    <a:pt x="431" y="1402"/>
                    <a:pt x="428" y="1403"/>
                    <a:pt x="426" y="1404"/>
                  </a:cubicBezTo>
                  <a:cubicBezTo>
                    <a:pt x="426" y="1397"/>
                    <a:pt x="426" y="1397"/>
                    <a:pt x="426" y="1397"/>
                  </a:cubicBezTo>
                  <a:cubicBezTo>
                    <a:pt x="419" y="1397"/>
                    <a:pt x="419" y="1397"/>
                    <a:pt x="419" y="1397"/>
                  </a:cubicBezTo>
                  <a:cubicBezTo>
                    <a:pt x="419" y="1404"/>
                    <a:pt x="419" y="1404"/>
                    <a:pt x="419" y="1404"/>
                  </a:cubicBezTo>
                  <a:cubicBezTo>
                    <a:pt x="425" y="1404"/>
                    <a:pt x="425" y="1404"/>
                    <a:pt x="425" y="1404"/>
                  </a:cubicBezTo>
                  <a:cubicBezTo>
                    <a:pt x="408" y="1409"/>
                    <a:pt x="390" y="1412"/>
                    <a:pt x="371" y="1412"/>
                  </a:cubicBezTo>
                  <a:cubicBezTo>
                    <a:pt x="352" y="1412"/>
                    <a:pt x="333" y="1409"/>
                    <a:pt x="316" y="1404"/>
                  </a:cubicBezTo>
                  <a:cubicBezTo>
                    <a:pt x="322" y="1404"/>
                    <a:pt x="322" y="1404"/>
                    <a:pt x="322" y="1404"/>
                  </a:cubicBezTo>
                  <a:cubicBezTo>
                    <a:pt x="322" y="1397"/>
                    <a:pt x="322" y="1397"/>
                    <a:pt x="322" y="1397"/>
                  </a:cubicBezTo>
                  <a:cubicBezTo>
                    <a:pt x="315" y="1397"/>
                    <a:pt x="315" y="1397"/>
                    <a:pt x="315" y="1397"/>
                  </a:cubicBezTo>
                  <a:cubicBezTo>
                    <a:pt x="315" y="1404"/>
                    <a:pt x="315" y="1404"/>
                    <a:pt x="315" y="1404"/>
                  </a:cubicBezTo>
                  <a:cubicBezTo>
                    <a:pt x="313" y="1403"/>
                    <a:pt x="310" y="1402"/>
                    <a:pt x="308" y="1401"/>
                  </a:cubicBezTo>
                  <a:cubicBezTo>
                    <a:pt x="308" y="1397"/>
                    <a:pt x="308" y="1397"/>
                    <a:pt x="308" y="1397"/>
                  </a:cubicBezTo>
                  <a:cubicBezTo>
                    <a:pt x="301" y="1397"/>
                    <a:pt x="301" y="1397"/>
                    <a:pt x="301" y="1397"/>
                  </a:cubicBezTo>
                  <a:cubicBezTo>
                    <a:pt x="301" y="1399"/>
                    <a:pt x="301" y="1399"/>
                    <a:pt x="301" y="1399"/>
                  </a:cubicBezTo>
                  <a:cubicBezTo>
                    <a:pt x="293" y="1396"/>
                    <a:pt x="285" y="1392"/>
                    <a:pt x="278" y="1388"/>
                  </a:cubicBezTo>
                  <a:cubicBezTo>
                    <a:pt x="278" y="1382"/>
                    <a:pt x="278" y="1382"/>
                    <a:pt x="278" y="1382"/>
                  </a:cubicBezTo>
                  <a:cubicBezTo>
                    <a:pt x="271" y="1382"/>
                    <a:pt x="271" y="1382"/>
                    <a:pt x="271" y="1382"/>
                  </a:cubicBezTo>
                  <a:cubicBezTo>
                    <a:pt x="271" y="1385"/>
                    <a:pt x="271" y="1385"/>
                    <a:pt x="271" y="1385"/>
                  </a:cubicBezTo>
                  <a:cubicBezTo>
                    <a:pt x="263" y="1380"/>
                    <a:pt x="256" y="1375"/>
                    <a:pt x="249" y="1369"/>
                  </a:cubicBezTo>
                  <a:cubicBezTo>
                    <a:pt x="249" y="1367"/>
                    <a:pt x="249" y="1367"/>
                    <a:pt x="249" y="1367"/>
                  </a:cubicBezTo>
                  <a:cubicBezTo>
                    <a:pt x="247" y="1367"/>
                    <a:pt x="247" y="1367"/>
                    <a:pt x="247" y="1367"/>
                  </a:cubicBezTo>
                  <a:cubicBezTo>
                    <a:pt x="242" y="1364"/>
                    <a:pt x="238" y="1360"/>
                    <a:pt x="234" y="1356"/>
                  </a:cubicBezTo>
                  <a:cubicBezTo>
                    <a:pt x="234" y="1353"/>
                    <a:pt x="234" y="1353"/>
                    <a:pt x="234" y="1353"/>
                  </a:cubicBezTo>
                  <a:cubicBezTo>
                    <a:pt x="231" y="1353"/>
                    <a:pt x="231" y="1353"/>
                    <a:pt x="231" y="1353"/>
                  </a:cubicBezTo>
                  <a:cubicBezTo>
                    <a:pt x="227" y="1349"/>
                    <a:pt x="223" y="1344"/>
                    <a:pt x="219" y="1340"/>
                  </a:cubicBezTo>
                  <a:cubicBezTo>
                    <a:pt x="219" y="1338"/>
                    <a:pt x="219" y="1338"/>
                    <a:pt x="219" y="1338"/>
                  </a:cubicBezTo>
                  <a:cubicBezTo>
                    <a:pt x="218" y="1338"/>
                    <a:pt x="218" y="1338"/>
                    <a:pt x="218" y="1338"/>
                  </a:cubicBezTo>
                  <a:cubicBezTo>
                    <a:pt x="212" y="1331"/>
                    <a:pt x="207" y="1323"/>
                    <a:pt x="202" y="1315"/>
                  </a:cubicBezTo>
                  <a:cubicBezTo>
                    <a:pt x="204" y="1315"/>
                    <a:pt x="204" y="1315"/>
                    <a:pt x="204" y="1315"/>
                  </a:cubicBezTo>
                  <a:cubicBezTo>
                    <a:pt x="204" y="1308"/>
                    <a:pt x="204" y="1308"/>
                    <a:pt x="204" y="1308"/>
                  </a:cubicBezTo>
                  <a:cubicBezTo>
                    <a:pt x="198" y="1308"/>
                    <a:pt x="198" y="1308"/>
                    <a:pt x="198" y="1308"/>
                  </a:cubicBezTo>
                  <a:cubicBezTo>
                    <a:pt x="194" y="1301"/>
                    <a:pt x="191" y="1294"/>
                    <a:pt x="188" y="1286"/>
                  </a:cubicBezTo>
                  <a:cubicBezTo>
                    <a:pt x="190" y="1286"/>
                    <a:pt x="190" y="1286"/>
                    <a:pt x="190" y="1286"/>
                  </a:cubicBezTo>
                  <a:cubicBezTo>
                    <a:pt x="190" y="1279"/>
                    <a:pt x="190" y="1279"/>
                    <a:pt x="190" y="1279"/>
                  </a:cubicBezTo>
                  <a:cubicBezTo>
                    <a:pt x="185" y="1279"/>
                    <a:pt x="185" y="1279"/>
                    <a:pt x="185" y="1279"/>
                  </a:cubicBezTo>
                  <a:cubicBezTo>
                    <a:pt x="184" y="1276"/>
                    <a:pt x="184" y="1274"/>
                    <a:pt x="183" y="1271"/>
                  </a:cubicBezTo>
                  <a:cubicBezTo>
                    <a:pt x="190" y="1271"/>
                    <a:pt x="190" y="1271"/>
                    <a:pt x="190" y="1271"/>
                  </a:cubicBezTo>
                  <a:cubicBezTo>
                    <a:pt x="190" y="1264"/>
                    <a:pt x="190" y="1264"/>
                    <a:pt x="190" y="1264"/>
                  </a:cubicBezTo>
                  <a:cubicBezTo>
                    <a:pt x="183" y="1264"/>
                    <a:pt x="183" y="1264"/>
                    <a:pt x="183" y="1264"/>
                  </a:cubicBezTo>
                  <a:cubicBezTo>
                    <a:pt x="183" y="1271"/>
                    <a:pt x="183" y="1271"/>
                    <a:pt x="183" y="1271"/>
                  </a:cubicBezTo>
                  <a:cubicBezTo>
                    <a:pt x="178" y="1253"/>
                    <a:pt x="175" y="1235"/>
                    <a:pt x="175" y="1216"/>
                  </a:cubicBezTo>
                  <a:cubicBezTo>
                    <a:pt x="175" y="1197"/>
                    <a:pt x="178" y="1179"/>
                    <a:pt x="183" y="1161"/>
                  </a:cubicBezTo>
                  <a:cubicBezTo>
                    <a:pt x="183" y="1168"/>
                    <a:pt x="183" y="1168"/>
                    <a:pt x="183" y="1168"/>
                  </a:cubicBezTo>
                  <a:cubicBezTo>
                    <a:pt x="190" y="1168"/>
                    <a:pt x="190" y="1168"/>
                    <a:pt x="190" y="1168"/>
                  </a:cubicBezTo>
                  <a:cubicBezTo>
                    <a:pt x="190" y="1161"/>
                    <a:pt x="190" y="1161"/>
                    <a:pt x="190" y="1161"/>
                  </a:cubicBezTo>
                  <a:cubicBezTo>
                    <a:pt x="183" y="1161"/>
                    <a:pt x="183" y="1161"/>
                    <a:pt x="183" y="1161"/>
                  </a:cubicBezTo>
                  <a:cubicBezTo>
                    <a:pt x="184" y="1158"/>
                    <a:pt x="184" y="1156"/>
                    <a:pt x="185" y="1153"/>
                  </a:cubicBezTo>
                  <a:cubicBezTo>
                    <a:pt x="190" y="1153"/>
                    <a:pt x="190" y="1153"/>
                    <a:pt x="190" y="1153"/>
                  </a:cubicBezTo>
                  <a:cubicBezTo>
                    <a:pt x="190" y="1146"/>
                    <a:pt x="190" y="1146"/>
                    <a:pt x="190" y="1146"/>
                  </a:cubicBezTo>
                  <a:cubicBezTo>
                    <a:pt x="188" y="1146"/>
                    <a:pt x="188" y="1146"/>
                    <a:pt x="188" y="1146"/>
                  </a:cubicBezTo>
                  <a:cubicBezTo>
                    <a:pt x="191" y="1138"/>
                    <a:pt x="194" y="1131"/>
                    <a:pt x="198" y="1124"/>
                  </a:cubicBezTo>
                  <a:cubicBezTo>
                    <a:pt x="204" y="1124"/>
                    <a:pt x="204" y="1124"/>
                    <a:pt x="204" y="1124"/>
                  </a:cubicBezTo>
                  <a:cubicBezTo>
                    <a:pt x="204" y="1117"/>
                    <a:pt x="204" y="1117"/>
                    <a:pt x="204" y="1117"/>
                  </a:cubicBezTo>
                  <a:cubicBezTo>
                    <a:pt x="202" y="1117"/>
                    <a:pt x="202" y="1117"/>
                    <a:pt x="202" y="1117"/>
                  </a:cubicBezTo>
                  <a:cubicBezTo>
                    <a:pt x="207" y="1109"/>
                    <a:pt x="212" y="1101"/>
                    <a:pt x="218" y="1094"/>
                  </a:cubicBezTo>
                  <a:cubicBezTo>
                    <a:pt x="219" y="1094"/>
                    <a:pt x="219" y="1094"/>
                    <a:pt x="219" y="1094"/>
                  </a:cubicBezTo>
                  <a:cubicBezTo>
                    <a:pt x="219" y="1092"/>
                    <a:pt x="219" y="1092"/>
                    <a:pt x="219" y="1092"/>
                  </a:cubicBezTo>
                  <a:cubicBezTo>
                    <a:pt x="223" y="1088"/>
                    <a:pt x="227" y="1083"/>
                    <a:pt x="231" y="1079"/>
                  </a:cubicBezTo>
                  <a:cubicBezTo>
                    <a:pt x="234" y="1079"/>
                    <a:pt x="234" y="1079"/>
                    <a:pt x="234" y="1079"/>
                  </a:cubicBezTo>
                  <a:cubicBezTo>
                    <a:pt x="234" y="1076"/>
                    <a:pt x="234" y="1076"/>
                    <a:pt x="234" y="1076"/>
                  </a:cubicBezTo>
                  <a:cubicBezTo>
                    <a:pt x="238" y="1072"/>
                    <a:pt x="242" y="1068"/>
                    <a:pt x="247" y="1065"/>
                  </a:cubicBezTo>
                  <a:cubicBezTo>
                    <a:pt x="249" y="1065"/>
                    <a:pt x="249" y="1065"/>
                    <a:pt x="249" y="1065"/>
                  </a:cubicBezTo>
                  <a:cubicBezTo>
                    <a:pt x="249" y="1063"/>
                    <a:pt x="249" y="1063"/>
                    <a:pt x="249" y="1063"/>
                  </a:cubicBezTo>
                  <a:cubicBezTo>
                    <a:pt x="256" y="1057"/>
                    <a:pt x="263" y="1052"/>
                    <a:pt x="271" y="1048"/>
                  </a:cubicBezTo>
                  <a:cubicBezTo>
                    <a:pt x="271" y="1050"/>
                    <a:pt x="271" y="1050"/>
                    <a:pt x="271" y="1050"/>
                  </a:cubicBezTo>
                  <a:cubicBezTo>
                    <a:pt x="278" y="1050"/>
                    <a:pt x="278" y="1050"/>
                    <a:pt x="278" y="1050"/>
                  </a:cubicBezTo>
                  <a:cubicBezTo>
                    <a:pt x="278" y="1044"/>
                    <a:pt x="278" y="1044"/>
                    <a:pt x="278" y="1044"/>
                  </a:cubicBezTo>
                  <a:cubicBezTo>
                    <a:pt x="285" y="1040"/>
                    <a:pt x="293" y="1036"/>
                    <a:pt x="301" y="1033"/>
                  </a:cubicBezTo>
                  <a:cubicBezTo>
                    <a:pt x="301" y="1035"/>
                    <a:pt x="301" y="1035"/>
                    <a:pt x="301" y="1035"/>
                  </a:cubicBezTo>
                  <a:cubicBezTo>
                    <a:pt x="308" y="1035"/>
                    <a:pt x="308" y="1035"/>
                    <a:pt x="308" y="1035"/>
                  </a:cubicBezTo>
                  <a:cubicBezTo>
                    <a:pt x="308" y="1031"/>
                    <a:pt x="308" y="1031"/>
                    <a:pt x="308" y="1031"/>
                  </a:cubicBezTo>
                  <a:cubicBezTo>
                    <a:pt x="310" y="1030"/>
                    <a:pt x="313" y="1029"/>
                    <a:pt x="315" y="1028"/>
                  </a:cubicBezTo>
                  <a:cubicBezTo>
                    <a:pt x="315" y="1035"/>
                    <a:pt x="315" y="1035"/>
                    <a:pt x="315" y="1035"/>
                  </a:cubicBezTo>
                  <a:cubicBezTo>
                    <a:pt x="322" y="1035"/>
                    <a:pt x="322" y="1035"/>
                    <a:pt x="322" y="1035"/>
                  </a:cubicBezTo>
                  <a:cubicBezTo>
                    <a:pt x="322" y="1028"/>
                    <a:pt x="322" y="1028"/>
                    <a:pt x="322" y="1028"/>
                  </a:cubicBezTo>
                  <a:cubicBezTo>
                    <a:pt x="316" y="1028"/>
                    <a:pt x="316" y="1028"/>
                    <a:pt x="316" y="1028"/>
                  </a:cubicBezTo>
                  <a:moveTo>
                    <a:pt x="41" y="873"/>
                  </a:moveTo>
                  <a:cubicBezTo>
                    <a:pt x="41" y="681"/>
                    <a:pt x="41" y="681"/>
                    <a:pt x="41" y="681"/>
                  </a:cubicBezTo>
                  <a:cubicBezTo>
                    <a:pt x="700" y="681"/>
                    <a:pt x="700" y="681"/>
                    <a:pt x="700" y="681"/>
                  </a:cubicBezTo>
                  <a:cubicBezTo>
                    <a:pt x="700" y="869"/>
                    <a:pt x="700" y="869"/>
                    <a:pt x="700" y="869"/>
                  </a:cubicBezTo>
                  <a:cubicBezTo>
                    <a:pt x="700" y="873"/>
                    <a:pt x="700" y="873"/>
                    <a:pt x="700" y="873"/>
                  </a:cubicBezTo>
                  <a:cubicBezTo>
                    <a:pt x="41" y="873"/>
                    <a:pt x="41" y="873"/>
                    <a:pt x="41" y="873"/>
                  </a:cubicBezTo>
                  <a:moveTo>
                    <a:pt x="45" y="525"/>
                  </a:moveTo>
                  <a:cubicBezTo>
                    <a:pt x="45" y="341"/>
                    <a:pt x="45" y="341"/>
                    <a:pt x="45" y="341"/>
                  </a:cubicBezTo>
                  <a:cubicBezTo>
                    <a:pt x="696" y="341"/>
                    <a:pt x="696" y="341"/>
                    <a:pt x="696" y="341"/>
                  </a:cubicBezTo>
                  <a:cubicBezTo>
                    <a:pt x="696" y="525"/>
                    <a:pt x="696" y="525"/>
                    <a:pt x="696" y="525"/>
                  </a:cubicBezTo>
                  <a:cubicBezTo>
                    <a:pt x="45" y="525"/>
                    <a:pt x="45" y="525"/>
                    <a:pt x="45" y="525"/>
                  </a:cubicBezTo>
                  <a:moveTo>
                    <a:pt x="45" y="320"/>
                  </a:moveTo>
                  <a:cubicBezTo>
                    <a:pt x="45" y="136"/>
                    <a:pt x="45" y="136"/>
                    <a:pt x="45" y="136"/>
                  </a:cubicBezTo>
                  <a:cubicBezTo>
                    <a:pt x="696" y="136"/>
                    <a:pt x="696" y="136"/>
                    <a:pt x="696" y="136"/>
                  </a:cubicBezTo>
                  <a:cubicBezTo>
                    <a:pt x="696" y="320"/>
                    <a:pt x="696" y="320"/>
                    <a:pt x="696" y="320"/>
                  </a:cubicBezTo>
                  <a:cubicBezTo>
                    <a:pt x="45" y="320"/>
                    <a:pt x="45" y="320"/>
                    <a:pt x="45" y="320"/>
                  </a:cubicBezTo>
                  <a:moveTo>
                    <a:pt x="678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1492"/>
                    <a:pt x="0" y="1492"/>
                    <a:pt x="0" y="1492"/>
                  </a:cubicBezTo>
                  <a:cubicBezTo>
                    <a:pt x="0" y="1527"/>
                    <a:pt x="28" y="1555"/>
                    <a:pt x="63" y="1555"/>
                  </a:cubicBezTo>
                  <a:cubicBezTo>
                    <a:pt x="678" y="1555"/>
                    <a:pt x="678" y="1555"/>
                    <a:pt x="678" y="1555"/>
                  </a:cubicBezTo>
                  <a:cubicBezTo>
                    <a:pt x="713" y="1555"/>
                    <a:pt x="741" y="1527"/>
                    <a:pt x="741" y="1492"/>
                  </a:cubicBezTo>
                  <a:cubicBezTo>
                    <a:pt x="741" y="62"/>
                    <a:pt x="741" y="62"/>
                    <a:pt x="741" y="62"/>
                  </a:cubicBezTo>
                  <a:cubicBezTo>
                    <a:pt x="741" y="28"/>
                    <a:pt x="713" y="0"/>
                    <a:pt x="678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0" name="îṧľíḓé">
              <a:extLst>
                <a:ext uri="{FF2B5EF4-FFF2-40B4-BE49-F238E27FC236}">
                  <a16:creationId xmlns:a16="http://schemas.microsoft.com/office/drawing/2014/main" xmlns="" id="{CD6089F3-7B59-4F15-BAFE-0E4BB487C150}"/>
                </a:ext>
              </a:extLst>
            </p:cNvPr>
            <p:cNvSpPr/>
            <p:nvPr/>
          </p:nvSpPr>
          <p:spPr bwMode="auto">
            <a:xfrm>
              <a:off x="2841076" y="3241765"/>
              <a:ext cx="1417636" cy="40005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" name="ísļïďe">
              <a:extLst>
                <a:ext uri="{FF2B5EF4-FFF2-40B4-BE49-F238E27FC236}">
                  <a16:creationId xmlns:a16="http://schemas.microsoft.com/office/drawing/2014/main" xmlns="" id="{18A0E5D8-4ABA-46DB-8FFB-B28D87A84CB5}"/>
                </a:ext>
              </a:extLst>
            </p:cNvPr>
            <p:cNvSpPr/>
            <p:nvPr/>
          </p:nvSpPr>
          <p:spPr bwMode="auto">
            <a:xfrm>
              <a:off x="2841076" y="3241765"/>
              <a:ext cx="1417636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" name="ïsḻîḑè">
              <a:extLst>
                <a:ext uri="{FF2B5EF4-FFF2-40B4-BE49-F238E27FC236}">
                  <a16:creationId xmlns:a16="http://schemas.microsoft.com/office/drawing/2014/main" xmlns="" id="{986BC857-C179-4B81-85B1-840D6BFCBB8C}"/>
                </a:ext>
              </a:extLst>
            </p:cNvPr>
            <p:cNvSpPr/>
            <p:nvPr/>
          </p:nvSpPr>
          <p:spPr bwMode="auto">
            <a:xfrm>
              <a:off x="2833139" y="4427626"/>
              <a:ext cx="1435099" cy="417512"/>
            </a:xfrm>
            <a:custGeom>
              <a:avLst/>
              <a:gdLst>
                <a:gd name="T0" fmla="*/ 898 w 904"/>
                <a:gd name="T1" fmla="*/ 257 h 263"/>
                <a:gd name="T2" fmla="*/ 898 w 904"/>
                <a:gd name="T3" fmla="*/ 257 h 263"/>
                <a:gd name="T4" fmla="*/ 898 w 904"/>
                <a:gd name="T5" fmla="*/ 252 h 263"/>
                <a:gd name="T6" fmla="*/ 898 w 904"/>
                <a:gd name="T7" fmla="*/ 257 h 263"/>
                <a:gd name="T8" fmla="*/ 904 w 904"/>
                <a:gd name="T9" fmla="*/ 257 h 263"/>
                <a:gd name="T10" fmla="*/ 898 w 904"/>
                <a:gd name="T11" fmla="*/ 257 h 263"/>
                <a:gd name="T12" fmla="*/ 10 w 904"/>
                <a:gd name="T13" fmla="*/ 252 h 263"/>
                <a:gd name="T14" fmla="*/ 10 w 904"/>
                <a:gd name="T15" fmla="*/ 11 h 263"/>
                <a:gd name="T16" fmla="*/ 893 w 904"/>
                <a:gd name="T17" fmla="*/ 11 h 263"/>
                <a:gd name="T18" fmla="*/ 893 w 904"/>
                <a:gd name="T19" fmla="*/ 252 h 263"/>
                <a:gd name="T20" fmla="*/ 10 w 904"/>
                <a:gd name="T21" fmla="*/ 252 h 263"/>
                <a:gd name="T22" fmla="*/ 904 w 904"/>
                <a:gd name="T23" fmla="*/ 0 h 263"/>
                <a:gd name="T24" fmla="*/ 0 w 904"/>
                <a:gd name="T25" fmla="*/ 0 h 263"/>
                <a:gd name="T26" fmla="*/ 0 w 904"/>
                <a:gd name="T27" fmla="*/ 263 h 263"/>
                <a:gd name="T28" fmla="*/ 904 w 904"/>
                <a:gd name="T29" fmla="*/ 263 h 263"/>
                <a:gd name="T30" fmla="*/ 904 w 904"/>
                <a:gd name="T31" fmla="*/ 257 h 263"/>
                <a:gd name="T32" fmla="*/ 904 w 904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4" h="263">
                  <a:moveTo>
                    <a:pt x="898" y="257"/>
                  </a:moveTo>
                  <a:lnTo>
                    <a:pt x="898" y="257"/>
                  </a:lnTo>
                  <a:lnTo>
                    <a:pt x="898" y="252"/>
                  </a:lnTo>
                  <a:lnTo>
                    <a:pt x="898" y="257"/>
                  </a:lnTo>
                  <a:lnTo>
                    <a:pt x="904" y="257"/>
                  </a:lnTo>
                  <a:lnTo>
                    <a:pt x="898" y="257"/>
                  </a:lnTo>
                  <a:close/>
                  <a:moveTo>
                    <a:pt x="10" y="252"/>
                  </a:moveTo>
                  <a:lnTo>
                    <a:pt x="10" y="11"/>
                  </a:lnTo>
                  <a:lnTo>
                    <a:pt x="893" y="11"/>
                  </a:lnTo>
                  <a:lnTo>
                    <a:pt x="893" y="252"/>
                  </a:lnTo>
                  <a:lnTo>
                    <a:pt x="10" y="252"/>
                  </a:lnTo>
                  <a:close/>
                  <a:moveTo>
                    <a:pt x="904" y="0"/>
                  </a:move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7"/>
                  </a:lnTo>
                  <a:lnTo>
                    <a:pt x="904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" name="îṧľídè">
              <a:extLst>
                <a:ext uri="{FF2B5EF4-FFF2-40B4-BE49-F238E27FC236}">
                  <a16:creationId xmlns:a16="http://schemas.microsoft.com/office/drawing/2014/main" xmlns="" id="{D0732394-08DF-46AB-9641-8A5169BD4737}"/>
                </a:ext>
              </a:extLst>
            </p:cNvPr>
            <p:cNvSpPr/>
            <p:nvPr/>
          </p:nvSpPr>
          <p:spPr bwMode="auto">
            <a:xfrm>
              <a:off x="2833139" y="4427626"/>
              <a:ext cx="1435099" cy="417512"/>
            </a:xfrm>
            <a:custGeom>
              <a:avLst/>
              <a:gdLst>
                <a:gd name="T0" fmla="*/ 898 w 904"/>
                <a:gd name="T1" fmla="*/ 257 h 263"/>
                <a:gd name="T2" fmla="*/ 898 w 904"/>
                <a:gd name="T3" fmla="*/ 257 h 263"/>
                <a:gd name="T4" fmla="*/ 898 w 904"/>
                <a:gd name="T5" fmla="*/ 252 h 263"/>
                <a:gd name="T6" fmla="*/ 898 w 904"/>
                <a:gd name="T7" fmla="*/ 257 h 263"/>
                <a:gd name="T8" fmla="*/ 904 w 904"/>
                <a:gd name="T9" fmla="*/ 257 h 263"/>
                <a:gd name="T10" fmla="*/ 898 w 904"/>
                <a:gd name="T11" fmla="*/ 257 h 263"/>
                <a:gd name="T12" fmla="*/ 10 w 904"/>
                <a:gd name="T13" fmla="*/ 252 h 263"/>
                <a:gd name="T14" fmla="*/ 10 w 904"/>
                <a:gd name="T15" fmla="*/ 11 h 263"/>
                <a:gd name="T16" fmla="*/ 893 w 904"/>
                <a:gd name="T17" fmla="*/ 11 h 263"/>
                <a:gd name="T18" fmla="*/ 893 w 904"/>
                <a:gd name="T19" fmla="*/ 252 h 263"/>
                <a:gd name="T20" fmla="*/ 10 w 904"/>
                <a:gd name="T21" fmla="*/ 252 h 263"/>
                <a:gd name="T22" fmla="*/ 904 w 904"/>
                <a:gd name="T23" fmla="*/ 0 h 263"/>
                <a:gd name="T24" fmla="*/ 0 w 904"/>
                <a:gd name="T25" fmla="*/ 0 h 263"/>
                <a:gd name="T26" fmla="*/ 0 w 904"/>
                <a:gd name="T27" fmla="*/ 263 h 263"/>
                <a:gd name="T28" fmla="*/ 904 w 904"/>
                <a:gd name="T29" fmla="*/ 263 h 263"/>
                <a:gd name="T30" fmla="*/ 904 w 904"/>
                <a:gd name="T31" fmla="*/ 257 h 263"/>
                <a:gd name="T32" fmla="*/ 904 w 904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4" h="263">
                  <a:moveTo>
                    <a:pt x="898" y="257"/>
                  </a:moveTo>
                  <a:lnTo>
                    <a:pt x="898" y="257"/>
                  </a:lnTo>
                  <a:lnTo>
                    <a:pt x="898" y="252"/>
                  </a:lnTo>
                  <a:lnTo>
                    <a:pt x="898" y="257"/>
                  </a:lnTo>
                  <a:lnTo>
                    <a:pt x="904" y="257"/>
                  </a:lnTo>
                  <a:lnTo>
                    <a:pt x="898" y="257"/>
                  </a:lnTo>
                  <a:moveTo>
                    <a:pt x="10" y="252"/>
                  </a:moveTo>
                  <a:lnTo>
                    <a:pt x="10" y="11"/>
                  </a:lnTo>
                  <a:lnTo>
                    <a:pt x="893" y="11"/>
                  </a:lnTo>
                  <a:lnTo>
                    <a:pt x="893" y="252"/>
                  </a:lnTo>
                  <a:lnTo>
                    <a:pt x="10" y="252"/>
                  </a:lnTo>
                  <a:moveTo>
                    <a:pt x="904" y="0"/>
                  </a:move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7"/>
                  </a:lnTo>
                  <a:lnTo>
                    <a:pt x="9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4" name="îşliďê">
              <a:extLst>
                <a:ext uri="{FF2B5EF4-FFF2-40B4-BE49-F238E27FC236}">
                  <a16:creationId xmlns:a16="http://schemas.microsoft.com/office/drawing/2014/main" xmlns="" id="{EB8609A0-6B2E-457F-9E85-861936B998FD}"/>
                </a:ext>
              </a:extLst>
            </p:cNvPr>
            <p:cNvSpPr/>
            <p:nvPr/>
          </p:nvSpPr>
          <p:spPr bwMode="auto">
            <a:xfrm>
              <a:off x="2841076" y="3687852"/>
              <a:ext cx="1417636" cy="400050"/>
            </a:xfrm>
            <a:custGeom>
              <a:avLst/>
              <a:gdLst>
                <a:gd name="T0" fmla="*/ 41 w 893"/>
                <a:gd name="T1" fmla="*/ 153 h 252"/>
                <a:gd name="T2" fmla="*/ 41 w 893"/>
                <a:gd name="T3" fmla="*/ 97 h 252"/>
                <a:gd name="T4" fmla="*/ 660 w 893"/>
                <a:gd name="T5" fmla="*/ 97 h 252"/>
                <a:gd name="T6" fmla="*/ 660 w 893"/>
                <a:gd name="T7" fmla="*/ 153 h 252"/>
                <a:gd name="T8" fmla="*/ 41 w 893"/>
                <a:gd name="T9" fmla="*/ 153 h 252"/>
                <a:gd name="T10" fmla="*/ 676 w 893"/>
                <a:gd name="T11" fmla="*/ 153 h 252"/>
                <a:gd name="T12" fmla="*/ 676 w 893"/>
                <a:gd name="T13" fmla="*/ 97 h 252"/>
                <a:gd name="T14" fmla="*/ 724 w 893"/>
                <a:gd name="T15" fmla="*/ 97 h 252"/>
                <a:gd name="T16" fmla="*/ 724 w 893"/>
                <a:gd name="T17" fmla="*/ 153 h 252"/>
                <a:gd name="T18" fmla="*/ 676 w 893"/>
                <a:gd name="T19" fmla="*/ 153 h 252"/>
                <a:gd name="T20" fmla="*/ 741 w 893"/>
                <a:gd name="T21" fmla="*/ 153 h 252"/>
                <a:gd name="T22" fmla="*/ 741 w 893"/>
                <a:gd name="T23" fmla="*/ 97 h 252"/>
                <a:gd name="T24" fmla="*/ 789 w 893"/>
                <a:gd name="T25" fmla="*/ 97 h 252"/>
                <a:gd name="T26" fmla="*/ 789 w 893"/>
                <a:gd name="T27" fmla="*/ 153 h 252"/>
                <a:gd name="T28" fmla="*/ 741 w 893"/>
                <a:gd name="T29" fmla="*/ 153 h 252"/>
                <a:gd name="T30" fmla="*/ 804 w 893"/>
                <a:gd name="T31" fmla="*/ 153 h 252"/>
                <a:gd name="T32" fmla="*/ 804 w 893"/>
                <a:gd name="T33" fmla="*/ 97 h 252"/>
                <a:gd name="T34" fmla="*/ 852 w 893"/>
                <a:gd name="T35" fmla="*/ 97 h 252"/>
                <a:gd name="T36" fmla="*/ 852 w 893"/>
                <a:gd name="T37" fmla="*/ 153 h 252"/>
                <a:gd name="T38" fmla="*/ 804 w 893"/>
                <a:gd name="T39" fmla="*/ 153 h 252"/>
                <a:gd name="T40" fmla="*/ 893 w 893"/>
                <a:gd name="T41" fmla="*/ 0 h 252"/>
                <a:gd name="T42" fmla="*/ 0 w 893"/>
                <a:gd name="T43" fmla="*/ 0 h 252"/>
                <a:gd name="T44" fmla="*/ 0 w 893"/>
                <a:gd name="T45" fmla="*/ 252 h 252"/>
                <a:gd name="T46" fmla="*/ 893 w 893"/>
                <a:gd name="T47" fmla="*/ 252 h 252"/>
                <a:gd name="T48" fmla="*/ 893 w 893"/>
                <a:gd name="T49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3" h="252">
                  <a:moveTo>
                    <a:pt x="41" y="153"/>
                  </a:moveTo>
                  <a:lnTo>
                    <a:pt x="41" y="97"/>
                  </a:lnTo>
                  <a:lnTo>
                    <a:pt x="660" y="97"/>
                  </a:lnTo>
                  <a:lnTo>
                    <a:pt x="660" y="153"/>
                  </a:lnTo>
                  <a:lnTo>
                    <a:pt x="41" y="153"/>
                  </a:lnTo>
                  <a:close/>
                  <a:moveTo>
                    <a:pt x="676" y="153"/>
                  </a:moveTo>
                  <a:lnTo>
                    <a:pt x="676" y="97"/>
                  </a:lnTo>
                  <a:lnTo>
                    <a:pt x="724" y="97"/>
                  </a:lnTo>
                  <a:lnTo>
                    <a:pt x="724" y="153"/>
                  </a:lnTo>
                  <a:lnTo>
                    <a:pt x="676" y="153"/>
                  </a:lnTo>
                  <a:close/>
                  <a:moveTo>
                    <a:pt x="741" y="153"/>
                  </a:moveTo>
                  <a:lnTo>
                    <a:pt x="741" y="97"/>
                  </a:lnTo>
                  <a:lnTo>
                    <a:pt x="789" y="97"/>
                  </a:lnTo>
                  <a:lnTo>
                    <a:pt x="789" y="153"/>
                  </a:lnTo>
                  <a:lnTo>
                    <a:pt x="741" y="153"/>
                  </a:lnTo>
                  <a:close/>
                  <a:moveTo>
                    <a:pt x="804" y="153"/>
                  </a:moveTo>
                  <a:lnTo>
                    <a:pt x="804" y="97"/>
                  </a:lnTo>
                  <a:lnTo>
                    <a:pt x="852" y="97"/>
                  </a:lnTo>
                  <a:lnTo>
                    <a:pt x="852" y="153"/>
                  </a:lnTo>
                  <a:lnTo>
                    <a:pt x="804" y="153"/>
                  </a:lnTo>
                  <a:close/>
                  <a:moveTo>
                    <a:pt x="893" y="0"/>
                  </a:moveTo>
                  <a:lnTo>
                    <a:pt x="0" y="0"/>
                  </a:lnTo>
                  <a:lnTo>
                    <a:pt x="0" y="252"/>
                  </a:lnTo>
                  <a:lnTo>
                    <a:pt x="893" y="252"/>
                  </a:lnTo>
                  <a:lnTo>
                    <a:pt x="893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5" name="iṩḻiḑé">
              <a:extLst>
                <a:ext uri="{FF2B5EF4-FFF2-40B4-BE49-F238E27FC236}">
                  <a16:creationId xmlns:a16="http://schemas.microsoft.com/office/drawing/2014/main" xmlns="" id="{96D0E578-7888-4D38-8DF9-1A1F459D6E99}"/>
                </a:ext>
              </a:extLst>
            </p:cNvPr>
            <p:cNvSpPr/>
            <p:nvPr/>
          </p:nvSpPr>
          <p:spPr bwMode="auto">
            <a:xfrm>
              <a:off x="2841076" y="3687852"/>
              <a:ext cx="1417636" cy="400050"/>
            </a:xfrm>
            <a:custGeom>
              <a:avLst/>
              <a:gdLst>
                <a:gd name="T0" fmla="*/ 41 w 893"/>
                <a:gd name="T1" fmla="*/ 153 h 252"/>
                <a:gd name="T2" fmla="*/ 41 w 893"/>
                <a:gd name="T3" fmla="*/ 97 h 252"/>
                <a:gd name="T4" fmla="*/ 660 w 893"/>
                <a:gd name="T5" fmla="*/ 97 h 252"/>
                <a:gd name="T6" fmla="*/ 660 w 893"/>
                <a:gd name="T7" fmla="*/ 153 h 252"/>
                <a:gd name="T8" fmla="*/ 41 w 893"/>
                <a:gd name="T9" fmla="*/ 153 h 252"/>
                <a:gd name="T10" fmla="*/ 676 w 893"/>
                <a:gd name="T11" fmla="*/ 153 h 252"/>
                <a:gd name="T12" fmla="*/ 676 w 893"/>
                <a:gd name="T13" fmla="*/ 97 h 252"/>
                <a:gd name="T14" fmla="*/ 724 w 893"/>
                <a:gd name="T15" fmla="*/ 97 h 252"/>
                <a:gd name="T16" fmla="*/ 724 w 893"/>
                <a:gd name="T17" fmla="*/ 153 h 252"/>
                <a:gd name="T18" fmla="*/ 676 w 893"/>
                <a:gd name="T19" fmla="*/ 153 h 252"/>
                <a:gd name="T20" fmla="*/ 741 w 893"/>
                <a:gd name="T21" fmla="*/ 153 h 252"/>
                <a:gd name="T22" fmla="*/ 741 w 893"/>
                <a:gd name="T23" fmla="*/ 97 h 252"/>
                <a:gd name="T24" fmla="*/ 789 w 893"/>
                <a:gd name="T25" fmla="*/ 97 h 252"/>
                <a:gd name="T26" fmla="*/ 789 w 893"/>
                <a:gd name="T27" fmla="*/ 153 h 252"/>
                <a:gd name="T28" fmla="*/ 741 w 893"/>
                <a:gd name="T29" fmla="*/ 153 h 252"/>
                <a:gd name="T30" fmla="*/ 804 w 893"/>
                <a:gd name="T31" fmla="*/ 153 h 252"/>
                <a:gd name="T32" fmla="*/ 804 w 893"/>
                <a:gd name="T33" fmla="*/ 97 h 252"/>
                <a:gd name="T34" fmla="*/ 852 w 893"/>
                <a:gd name="T35" fmla="*/ 97 h 252"/>
                <a:gd name="T36" fmla="*/ 852 w 893"/>
                <a:gd name="T37" fmla="*/ 153 h 252"/>
                <a:gd name="T38" fmla="*/ 804 w 893"/>
                <a:gd name="T39" fmla="*/ 153 h 252"/>
                <a:gd name="T40" fmla="*/ 893 w 893"/>
                <a:gd name="T41" fmla="*/ 0 h 252"/>
                <a:gd name="T42" fmla="*/ 0 w 893"/>
                <a:gd name="T43" fmla="*/ 0 h 252"/>
                <a:gd name="T44" fmla="*/ 0 w 893"/>
                <a:gd name="T45" fmla="*/ 252 h 252"/>
                <a:gd name="T46" fmla="*/ 893 w 893"/>
                <a:gd name="T47" fmla="*/ 252 h 252"/>
                <a:gd name="T48" fmla="*/ 893 w 893"/>
                <a:gd name="T49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3" h="252">
                  <a:moveTo>
                    <a:pt x="41" y="153"/>
                  </a:moveTo>
                  <a:lnTo>
                    <a:pt x="41" y="97"/>
                  </a:lnTo>
                  <a:lnTo>
                    <a:pt x="660" y="97"/>
                  </a:lnTo>
                  <a:lnTo>
                    <a:pt x="660" y="153"/>
                  </a:lnTo>
                  <a:lnTo>
                    <a:pt x="41" y="153"/>
                  </a:lnTo>
                  <a:moveTo>
                    <a:pt x="676" y="153"/>
                  </a:moveTo>
                  <a:lnTo>
                    <a:pt x="676" y="97"/>
                  </a:lnTo>
                  <a:lnTo>
                    <a:pt x="724" y="97"/>
                  </a:lnTo>
                  <a:lnTo>
                    <a:pt x="724" y="153"/>
                  </a:lnTo>
                  <a:lnTo>
                    <a:pt x="676" y="153"/>
                  </a:lnTo>
                  <a:moveTo>
                    <a:pt x="741" y="153"/>
                  </a:moveTo>
                  <a:lnTo>
                    <a:pt x="741" y="97"/>
                  </a:lnTo>
                  <a:lnTo>
                    <a:pt x="789" y="97"/>
                  </a:lnTo>
                  <a:lnTo>
                    <a:pt x="789" y="153"/>
                  </a:lnTo>
                  <a:lnTo>
                    <a:pt x="741" y="153"/>
                  </a:lnTo>
                  <a:moveTo>
                    <a:pt x="804" y="153"/>
                  </a:moveTo>
                  <a:lnTo>
                    <a:pt x="804" y="97"/>
                  </a:lnTo>
                  <a:lnTo>
                    <a:pt x="852" y="97"/>
                  </a:lnTo>
                  <a:lnTo>
                    <a:pt x="852" y="153"/>
                  </a:lnTo>
                  <a:lnTo>
                    <a:pt x="804" y="153"/>
                  </a:lnTo>
                  <a:moveTo>
                    <a:pt x="893" y="0"/>
                  </a:moveTo>
                  <a:lnTo>
                    <a:pt x="0" y="0"/>
                  </a:lnTo>
                  <a:lnTo>
                    <a:pt x="0" y="252"/>
                  </a:lnTo>
                  <a:lnTo>
                    <a:pt x="893" y="252"/>
                  </a:lnTo>
                  <a:lnTo>
                    <a:pt x="8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6" name="îšlïḍé">
              <a:extLst>
                <a:ext uri="{FF2B5EF4-FFF2-40B4-BE49-F238E27FC236}">
                  <a16:creationId xmlns:a16="http://schemas.microsoft.com/office/drawing/2014/main" xmlns="" id="{AF70587E-CFBA-4D90-ACE4-739862ED451C}"/>
                </a:ext>
              </a:extLst>
            </p:cNvPr>
            <p:cNvSpPr/>
            <p:nvPr/>
          </p:nvSpPr>
          <p:spPr bwMode="auto">
            <a:xfrm>
              <a:off x="2906164" y="3841839"/>
              <a:ext cx="982662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7" name="ïSļïḍè">
              <a:extLst>
                <a:ext uri="{FF2B5EF4-FFF2-40B4-BE49-F238E27FC236}">
                  <a16:creationId xmlns:a16="http://schemas.microsoft.com/office/drawing/2014/main" xmlns="" id="{313EB2D8-9D37-4C2B-8857-E53106BDA44A}"/>
                </a:ext>
              </a:extLst>
            </p:cNvPr>
            <p:cNvSpPr/>
            <p:nvPr/>
          </p:nvSpPr>
          <p:spPr bwMode="auto">
            <a:xfrm>
              <a:off x="2906164" y="3841839"/>
              <a:ext cx="982662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8" name="ïśḷîḍé">
              <a:extLst>
                <a:ext uri="{FF2B5EF4-FFF2-40B4-BE49-F238E27FC236}">
                  <a16:creationId xmlns:a16="http://schemas.microsoft.com/office/drawing/2014/main" xmlns="" id="{944F6F28-EC57-4030-996B-A9ECD883B8EF}"/>
                </a:ext>
              </a:extLst>
            </p:cNvPr>
            <p:cNvSpPr/>
            <p:nvPr/>
          </p:nvSpPr>
          <p:spPr bwMode="auto">
            <a:xfrm>
              <a:off x="3914225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9" name="í$ļiḓê">
              <a:extLst>
                <a:ext uri="{FF2B5EF4-FFF2-40B4-BE49-F238E27FC236}">
                  <a16:creationId xmlns:a16="http://schemas.microsoft.com/office/drawing/2014/main" xmlns="" id="{5F516507-70F1-4810-9CA3-55A0E87DF493}"/>
                </a:ext>
              </a:extLst>
            </p:cNvPr>
            <p:cNvSpPr/>
            <p:nvPr/>
          </p:nvSpPr>
          <p:spPr bwMode="auto">
            <a:xfrm>
              <a:off x="3914225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0" name="í$lïďè">
              <a:extLst>
                <a:ext uri="{FF2B5EF4-FFF2-40B4-BE49-F238E27FC236}">
                  <a16:creationId xmlns:a16="http://schemas.microsoft.com/office/drawing/2014/main" xmlns="" id="{749BE9EA-41EC-4893-9E39-FFB839B14325}"/>
                </a:ext>
              </a:extLst>
            </p:cNvPr>
            <p:cNvSpPr/>
            <p:nvPr/>
          </p:nvSpPr>
          <p:spPr bwMode="auto">
            <a:xfrm>
              <a:off x="4017413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1" name="iṣļíďé">
              <a:extLst>
                <a:ext uri="{FF2B5EF4-FFF2-40B4-BE49-F238E27FC236}">
                  <a16:creationId xmlns:a16="http://schemas.microsoft.com/office/drawing/2014/main" xmlns="" id="{6F9D6FE0-EA7E-467A-AF50-1039DDC81052}"/>
                </a:ext>
              </a:extLst>
            </p:cNvPr>
            <p:cNvSpPr/>
            <p:nvPr/>
          </p:nvSpPr>
          <p:spPr bwMode="auto">
            <a:xfrm>
              <a:off x="4017413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2" name="iṧľïḍe">
              <a:extLst>
                <a:ext uri="{FF2B5EF4-FFF2-40B4-BE49-F238E27FC236}">
                  <a16:creationId xmlns:a16="http://schemas.microsoft.com/office/drawing/2014/main" xmlns="" id="{62580D1A-7316-4CCB-8B0B-1BBCE24D6234}"/>
                </a:ext>
              </a:extLst>
            </p:cNvPr>
            <p:cNvSpPr/>
            <p:nvPr/>
          </p:nvSpPr>
          <p:spPr bwMode="auto">
            <a:xfrm>
              <a:off x="4117425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3" name="ïŝľïdé">
              <a:extLst>
                <a:ext uri="{FF2B5EF4-FFF2-40B4-BE49-F238E27FC236}">
                  <a16:creationId xmlns:a16="http://schemas.microsoft.com/office/drawing/2014/main" xmlns="" id="{326CD50C-374C-4938-ABCA-DA520B00B1DD}"/>
                </a:ext>
              </a:extLst>
            </p:cNvPr>
            <p:cNvSpPr/>
            <p:nvPr/>
          </p:nvSpPr>
          <p:spPr bwMode="auto">
            <a:xfrm>
              <a:off x="4117425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" name="iṩ1iďè">
              <a:extLst>
                <a:ext uri="{FF2B5EF4-FFF2-40B4-BE49-F238E27FC236}">
                  <a16:creationId xmlns:a16="http://schemas.microsoft.com/office/drawing/2014/main" xmlns="" id="{028DFAC5-041A-49CE-AC84-661951D172C1}"/>
                </a:ext>
              </a:extLst>
            </p:cNvPr>
            <p:cNvSpPr/>
            <p:nvPr/>
          </p:nvSpPr>
          <p:spPr bwMode="auto">
            <a:xfrm>
              <a:off x="2980776" y="4618126"/>
              <a:ext cx="88900" cy="381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5" name="iṩlîḍe">
              <a:extLst>
                <a:ext uri="{FF2B5EF4-FFF2-40B4-BE49-F238E27FC236}">
                  <a16:creationId xmlns:a16="http://schemas.microsoft.com/office/drawing/2014/main" xmlns="" id="{3550A5E0-DB10-49FE-A4C8-C0630C98D8D5}"/>
                </a:ext>
              </a:extLst>
            </p:cNvPr>
            <p:cNvSpPr/>
            <p:nvPr/>
          </p:nvSpPr>
          <p:spPr bwMode="auto">
            <a:xfrm>
              <a:off x="2980776" y="4618126"/>
              <a:ext cx="88900" cy="38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6" name="íSliḓê">
              <a:extLst>
                <a:ext uri="{FF2B5EF4-FFF2-40B4-BE49-F238E27FC236}">
                  <a16:creationId xmlns:a16="http://schemas.microsoft.com/office/drawing/2014/main" xmlns="" id="{3F2D9A5B-E799-44E4-9E2C-B9989408FBF2}"/>
                </a:ext>
              </a:extLst>
            </p:cNvPr>
            <p:cNvSpPr/>
            <p:nvPr/>
          </p:nvSpPr>
          <p:spPr bwMode="auto">
            <a:xfrm>
              <a:off x="3299863" y="4618126"/>
              <a:ext cx="87312" cy="381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7" name="îŝľiḍé">
              <a:extLst>
                <a:ext uri="{FF2B5EF4-FFF2-40B4-BE49-F238E27FC236}">
                  <a16:creationId xmlns:a16="http://schemas.microsoft.com/office/drawing/2014/main" xmlns="" id="{FC7C6F7E-501E-486F-B72F-01E7727853C7}"/>
                </a:ext>
              </a:extLst>
            </p:cNvPr>
            <p:cNvSpPr/>
            <p:nvPr/>
          </p:nvSpPr>
          <p:spPr bwMode="auto">
            <a:xfrm>
              <a:off x="3299863" y="4618126"/>
              <a:ext cx="87312" cy="38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8" name="iṡḷîḍê">
              <a:extLst>
                <a:ext uri="{FF2B5EF4-FFF2-40B4-BE49-F238E27FC236}">
                  <a16:creationId xmlns:a16="http://schemas.microsoft.com/office/drawing/2014/main" xmlns="" id="{12C1BC63-1FF5-41BA-8D57-042072342951}"/>
                </a:ext>
              </a:extLst>
            </p:cNvPr>
            <p:cNvSpPr/>
            <p:nvPr/>
          </p:nvSpPr>
          <p:spPr bwMode="auto">
            <a:xfrm>
              <a:off x="3112539" y="4618126"/>
              <a:ext cx="38100" cy="38100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9" name="íś1îḓè">
              <a:extLst>
                <a:ext uri="{FF2B5EF4-FFF2-40B4-BE49-F238E27FC236}">
                  <a16:creationId xmlns:a16="http://schemas.microsoft.com/office/drawing/2014/main" xmlns="" id="{F7626398-6AFF-449A-B26E-B040DCE8CD40}"/>
                </a:ext>
              </a:extLst>
            </p:cNvPr>
            <p:cNvSpPr/>
            <p:nvPr/>
          </p:nvSpPr>
          <p:spPr bwMode="auto">
            <a:xfrm>
              <a:off x="3220488" y="4618126"/>
              <a:ext cx="36512" cy="38100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0" name="íşḷíḋè">
              <a:extLst>
                <a:ext uri="{FF2B5EF4-FFF2-40B4-BE49-F238E27FC236}">
                  <a16:creationId xmlns:a16="http://schemas.microsoft.com/office/drawing/2014/main" xmlns="" id="{557010A8-852D-46F8-A393-B0312210EBD7}"/>
                </a:ext>
              </a:extLst>
            </p:cNvPr>
            <p:cNvSpPr/>
            <p:nvPr/>
          </p:nvSpPr>
          <p:spPr bwMode="auto">
            <a:xfrm>
              <a:off x="4012650" y="4583201"/>
              <a:ext cx="106362" cy="107950"/>
            </a:xfrm>
            <a:custGeom>
              <a:avLst/>
              <a:gdLst>
                <a:gd name="T0" fmla="*/ 41 w 49"/>
                <a:gd name="T1" fmla="*/ 0 h 49"/>
                <a:gd name="T2" fmla="*/ 7 w 49"/>
                <a:gd name="T3" fmla="*/ 0 h 49"/>
                <a:gd name="T4" fmla="*/ 0 w 49"/>
                <a:gd name="T5" fmla="*/ 7 h 49"/>
                <a:gd name="T6" fmla="*/ 0 w 49"/>
                <a:gd name="T7" fmla="*/ 41 h 49"/>
                <a:gd name="T8" fmla="*/ 7 w 49"/>
                <a:gd name="T9" fmla="*/ 49 h 49"/>
                <a:gd name="T10" fmla="*/ 41 w 49"/>
                <a:gd name="T11" fmla="*/ 49 h 49"/>
                <a:gd name="T12" fmla="*/ 49 w 49"/>
                <a:gd name="T13" fmla="*/ 41 h 49"/>
                <a:gd name="T14" fmla="*/ 49 w 49"/>
                <a:gd name="T15" fmla="*/ 7 h 49"/>
                <a:gd name="T16" fmla="*/ 41 w 49"/>
                <a:gd name="T1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49">
                  <a:moveTo>
                    <a:pt x="41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3" y="49"/>
                    <a:pt x="7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5" y="49"/>
                    <a:pt x="49" y="45"/>
                    <a:pt x="49" y="41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3"/>
                    <a:pt x="45" y="0"/>
                    <a:pt x="41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1" name="íṥľiḑè">
              <a:extLst>
                <a:ext uri="{FF2B5EF4-FFF2-40B4-BE49-F238E27FC236}">
                  <a16:creationId xmlns:a16="http://schemas.microsoft.com/office/drawing/2014/main" xmlns="" id="{EA5C9DE4-2253-48FB-896D-4014A7E436C9}"/>
                </a:ext>
              </a:extLst>
            </p:cNvPr>
            <p:cNvSpPr/>
            <p:nvPr/>
          </p:nvSpPr>
          <p:spPr bwMode="auto">
            <a:xfrm>
              <a:off x="3436388" y="4583201"/>
              <a:ext cx="528637" cy="10795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2" name="ïŝḻîḋè">
              <a:extLst>
                <a:ext uri="{FF2B5EF4-FFF2-40B4-BE49-F238E27FC236}">
                  <a16:creationId xmlns:a16="http://schemas.microsoft.com/office/drawing/2014/main" xmlns="" id="{83EEF58F-467E-46FB-9ADD-AE36564662DD}"/>
                </a:ext>
              </a:extLst>
            </p:cNvPr>
            <p:cNvSpPr/>
            <p:nvPr/>
          </p:nvSpPr>
          <p:spPr bwMode="auto">
            <a:xfrm>
              <a:off x="3436388" y="4583201"/>
              <a:ext cx="528637" cy="107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3" name="íš1ídé">
              <a:extLst>
                <a:ext uri="{FF2B5EF4-FFF2-40B4-BE49-F238E27FC236}">
                  <a16:creationId xmlns:a16="http://schemas.microsoft.com/office/drawing/2014/main" xmlns="" id="{A922443D-0522-4A9D-A58D-D9E0035978DD}"/>
                </a:ext>
              </a:extLst>
            </p:cNvPr>
            <p:cNvSpPr/>
            <p:nvPr/>
          </p:nvSpPr>
          <p:spPr bwMode="auto">
            <a:xfrm>
              <a:off x="3123651" y="5164225"/>
              <a:ext cx="852487" cy="854074"/>
            </a:xfrm>
            <a:custGeom>
              <a:avLst/>
              <a:gdLst>
                <a:gd name="T0" fmla="*/ 147 w 391"/>
                <a:gd name="T1" fmla="*/ 369 h 392"/>
                <a:gd name="T2" fmla="*/ 280 w 391"/>
                <a:gd name="T3" fmla="*/ 362 h 392"/>
                <a:gd name="T4" fmla="*/ 199 w 391"/>
                <a:gd name="T5" fmla="*/ 347 h 392"/>
                <a:gd name="T6" fmla="*/ 81 w 391"/>
                <a:gd name="T7" fmla="*/ 340 h 392"/>
                <a:gd name="T8" fmla="*/ 199 w 391"/>
                <a:gd name="T9" fmla="*/ 340 h 392"/>
                <a:gd name="T10" fmla="*/ 59 w 391"/>
                <a:gd name="T11" fmla="*/ 325 h 392"/>
                <a:gd name="T12" fmla="*/ 192 w 391"/>
                <a:gd name="T13" fmla="*/ 318 h 392"/>
                <a:gd name="T14" fmla="*/ 317 w 391"/>
                <a:gd name="T15" fmla="*/ 318 h 392"/>
                <a:gd name="T16" fmla="*/ 140 w 391"/>
                <a:gd name="T17" fmla="*/ 310 h 392"/>
                <a:gd name="T18" fmla="*/ 258 w 391"/>
                <a:gd name="T19" fmla="*/ 310 h 392"/>
                <a:gd name="T20" fmla="*/ 74 w 391"/>
                <a:gd name="T21" fmla="*/ 295 h 392"/>
                <a:gd name="T22" fmla="*/ 206 w 391"/>
                <a:gd name="T23" fmla="*/ 288 h 392"/>
                <a:gd name="T24" fmla="*/ 332 w 391"/>
                <a:gd name="T25" fmla="*/ 288 h 392"/>
                <a:gd name="T26" fmla="*/ 126 w 391"/>
                <a:gd name="T27" fmla="*/ 281 h 392"/>
                <a:gd name="T28" fmla="*/ 244 w 391"/>
                <a:gd name="T29" fmla="*/ 281 h 392"/>
                <a:gd name="T30" fmla="*/ 29 w 391"/>
                <a:gd name="T31" fmla="*/ 266 h 392"/>
                <a:gd name="T32" fmla="*/ 162 w 391"/>
                <a:gd name="T33" fmla="*/ 259 h 392"/>
                <a:gd name="T34" fmla="*/ 288 w 391"/>
                <a:gd name="T35" fmla="*/ 259 h 392"/>
                <a:gd name="T36" fmla="*/ 67 w 391"/>
                <a:gd name="T37" fmla="*/ 251 h 392"/>
                <a:gd name="T38" fmla="*/ 185 w 391"/>
                <a:gd name="T39" fmla="*/ 251 h 392"/>
                <a:gd name="T40" fmla="*/ 324 w 391"/>
                <a:gd name="T41" fmla="*/ 251 h 392"/>
                <a:gd name="T42" fmla="*/ 88 w 391"/>
                <a:gd name="T43" fmla="*/ 229 h 392"/>
                <a:gd name="T44" fmla="*/ 214 w 391"/>
                <a:gd name="T45" fmla="*/ 229 h 392"/>
                <a:gd name="T46" fmla="*/ 347 w 391"/>
                <a:gd name="T47" fmla="*/ 236 h 392"/>
                <a:gd name="T48" fmla="*/ 81 w 391"/>
                <a:gd name="T49" fmla="*/ 222 h 392"/>
                <a:gd name="T50" fmla="*/ 221 w 391"/>
                <a:gd name="T51" fmla="*/ 222 h 392"/>
                <a:gd name="T52" fmla="*/ 354 w 391"/>
                <a:gd name="T53" fmla="*/ 215 h 392"/>
                <a:gd name="T54" fmla="*/ 96 w 391"/>
                <a:gd name="T55" fmla="*/ 200 h 392"/>
                <a:gd name="T56" fmla="*/ 229 w 391"/>
                <a:gd name="T57" fmla="*/ 207 h 392"/>
                <a:gd name="T58" fmla="*/ 347 w 391"/>
                <a:gd name="T59" fmla="*/ 207 h 392"/>
                <a:gd name="T60" fmla="*/ 103 w 391"/>
                <a:gd name="T61" fmla="*/ 192 h 392"/>
                <a:gd name="T62" fmla="*/ 236 w 391"/>
                <a:gd name="T63" fmla="*/ 185 h 392"/>
                <a:gd name="T64" fmla="*/ 362 w 391"/>
                <a:gd name="T65" fmla="*/ 185 h 392"/>
                <a:gd name="T66" fmla="*/ 111 w 391"/>
                <a:gd name="T67" fmla="*/ 177 h 392"/>
                <a:gd name="T68" fmla="*/ 229 w 391"/>
                <a:gd name="T69" fmla="*/ 177 h 392"/>
                <a:gd name="T70" fmla="*/ 369 w 391"/>
                <a:gd name="T71" fmla="*/ 177 h 392"/>
                <a:gd name="T72" fmla="*/ 118 w 391"/>
                <a:gd name="T73" fmla="*/ 156 h 392"/>
                <a:gd name="T74" fmla="*/ 244 w 391"/>
                <a:gd name="T75" fmla="*/ 156 h 392"/>
                <a:gd name="T76" fmla="*/ 376 w 391"/>
                <a:gd name="T77" fmla="*/ 163 h 392"/>
                <a:gd name="T78" fmla="*/ 126 w 391"/>
                <a:gd name="T79" fmla="*/ 148 h 392"/>
                <a:gd name="T80" fmla="*/ 265 w 391"/>
                <a:gd name="T81" fmla="*/ 148 h 392"/>
                <a:gd name="T82" fmla="*/ 44 w 391"/>
                <a:gd name="T83" fmla="*/ 126 h 392"/>
                <a:gd name="T84" fmla="*/ 170 w 391"/>
                <a:gd name="T85" fmla="*/ 126 h 392"/>
                <a:gd name="T86" fmla="*/ 303 w 391"/>
                <a:gd name="T87" fmla="*/ 133 h 392"/>
                <a:gd name="T88" fmla="*/ 67 w 391"/>
                <a:gd name="T89" fmla="*/ 118 h 392"/>
                <a:gd name="T90" fmla="*/ 206 w 391"/>
                <a:gd name="T91" fmla="*/ 118 h 392"/>
                <a:gd name="T92" fmla="*/ 339 w 391"/>
                <a:gd name="T93" fmla="*/ 111 h 392"/>
                <a:gd name="T94" fmla="*/ 126 w 391"/>
                <a:gd name="T95" fmla="*/ 97 h 392"/>
                <a:gd name="T96" fmla="*/ 258 w 391"/>
                <a:gd name="T97" fmla="*/ 104 h 392"/>
                <a:gd name="T98" fmla="*/ 52 w 391"/>
                <a:gd name="T99" fmla="*/ 89 h 392"/>
                <a:gd name="T100" fmla="*/ 192 w 391"/>
                <a:gd name="T101" fmla="*/ 89 h 392"/>
                <a:gd name="T102" fmla="*/ 324 w 391"/>
                <a:gd name="T103" fmla="*/ 82 h 392"/>
                <a:gd name="T104" fmla="*/ 140 w 391"/>
                <a:gd name="T105" fmla="*/ 67 h 392"/>
                <a:gd name="T106" fmla="*/ 273 w 391"/>
                <a:gd name="T107" fmla="*/ 74 h 392"/>
                <a:gd name="T108" fmla="*/ 111 w 391"/>
                <a:gd name="T109" fmla="*/ 59 h 392"/>
                <a:gd name="T110" fmla="*/ 251 w 391"/>
                <a:gd name="T111" fmla="*/ 59 h 392"/>
                <a:gd name="T112" fmla="*/ 133 w 391"/>
                <a:gd name="T113" fmla="*/ 38 h 392"/>
                <a:gd name="T114" fmla="*/ 258 w 391"/>
                <a:gd name="T115" fmla="*/ 38 h 392"/>
                <a:gd name="T116" fmla="*/ 185 w 391"/>
                <a:gd name="T117" fmla="*/ 30 h 392"/>
                <a:gd name="T118" fmla="*/ 170 w 391"/>
                <a:gd name="T119" fmla="*/ 15 h 392"/>
                <a:gd name="T120" fmla="*/ 27 w 391"/>
                <a:gd name="T121" fmla="*/ 97 h 392"/>
                <a:gd name="T122" fmla="*/ 140 w 391"/>
                <a:gd name="T123" fmla="*/ 384 h 392"/>
                <a:gd name="T124" fmla="*/ 376 w 391"/>
                <a:gd name="T125" fmla="*/ 148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1" h="392">
                  <a:moveTo>
                    <a:pt x="155" y="384"/>
                  </a:moveTo>
                  <a:cubicBezTo>
                    <a:pt x="155" y="377"/>
                    <a:pt x="155" y="377"/>
                    <a:pt x="155" y="377"/>
                  </a:cubicBezTo>
                  <a:cubicBezTo>
                    <a:pt x="162" y="377"/>
                    <a:pt x="162" y="377"/>
                    <a:pt x="162" y="377"/>
                  </a:cubicBezTo>
                  <a:cubicBezTo>
                    <a:pt x="162" y="384"/>
                    <a:pt x="162" y="384"/>
                    <a:pt x="162" y="384"/>
                  </a:cubicBezTo>
                  <a:cubicBezTo>
                    <a:pt x="155" y="384"/>
                    <a:pt x="155" y="384"/>
                    <a:pt x="155" y="384"/>
                  </a:cubicBezTo>
                  <a:moveTo>
                    <a:pt x="170" y="384"/>
                  </a:moveTo>
                  <a:cubicBezTo>
                    <a:pt x="170" y="377"/>
                    <a:pt x="170" y="377"/>
                    <a:pt x="170" y="377"/>
                  </a:cubicBezTo>
                  <a:cubicBezTo>
                    <a:pt x="177" y="377"/>
                    <a:pt x="177" y="377"/>
                    <a:pt x="177" y="377"/>
                  </a:cubicBezTo>
                  <a:cubicBezTo>
                    <a:pt x="177" y="384"/>
                    <a:pt x="177" y="384"/>
                    <a:pt x="177" y="384"/>
                  </a:cubicBezTo>
                  <a:cubicBezTo>
                    <a:pt x="170" y="384"/>
                    <a:pt x="170" y="384"/>
                    <a:pt x="170" y="384"/>
                  </a:cubicBezTo>
                  <a:moveTo>
                    <a:pt x="185" y="384"/>
                  </a:moveTo>
                  <a:cubicBezTo>
                    <a:pt x="185" y="377"/>
                    <a:pt x="185" y="377"/>
                    <a:pt x="185" y="377"/>
                  </a:cubicBezTo>
                  <a:cubicBezTo>
                    <a:pt x="192" y="377"/>
                    <a:pt x="192" y="377"/>
                    <a:pt x="192" y="377"/>
                  </a:cubicBezTo>
                  <a:cubicBezTo>
                    <a:pt x="192" y="384"/>
                    <a:pt x="192" y="384"/>
                    <a:pt x="192" y="384"/>
                  </a:cubicBezTo>
                  <a:cubicBezTo>
                    <a:pt x="185" y="384"/>
                    <a:pt x="185" y="384"/>
                    <a:pt x="185" y="384"/>
                  </a:cubicBezTo>
                  <a:moveTo>
                    <a:pt x="199" y="384"/>
                  </a:moveTo>
                  <a:cubicBezTo>
                    <a:pt x="199" y="377"/>
                    <a:pt x="199" y="377"/>
                    <a:pt x="199" y="377"/>
                  </a:cubicBezTo>
                  <a:cubicBezTo>
                    <a:pt x="206" y="377"/>
                    <a:pt x="206" y="377"/>
                    <a:pt x="206" y="377"/>
                  </a:cubicBezTo>
                  <a:cubicBezTo>
                    <a:pt x="206" y="384"/>
                    <a:pt x="206" y="384"/>
                    <a:pt x="206" y="384"/>
                  </a:cubicBezTo>
                  <a:cubicBezTo>
                    <a:pt x="199" y="384"/>
                    <a:pt x="199" y="384"/>
                    <a:pt x="199" y="384"/>
                  </a:cubicBezTo>
                  <a:moveTo>
                    <a:pt x="214" y="384"/>
                  </a:moveTo>
                  <a:cubicBezTo>
                    <a:pt x="214" y="377"/>
                    <a:pt x="214" y="377"/>
                    <a:pt x="214" y="377"/>
                  </a:cubicBezTo>
                  <a:cubicBezTo>
                    <a:pt x="221" y="377"/>
                    <a:pt x="221" y="377"/>
                    <a:pt x="221" y="377"/>
                  </a:cubicBezTo>
                  <a:cubicBezTo>
                    <a:pt x="221" y="384"/>
                    <a:pt x="221" y="384"/>
                    <a:pt x="221" y="384"/>
                  </a:cubicBezTo>
                  <a:cubicBezTo>
                    <a:pt x="214" y="384"/>
                    <a:pt x="214" y="384"/>
                    <a:pt x="214" y="384"/>
                  </a:cubicBezTo>
                  <a:moveTo>
                    <a:pt x="229" y="384"/>
                  </a:moveTo>
                  <a:cubicBezTo>
                    <a:pt x="229" y="377"/>
                    <a:pt x="229" y="377"/>
                    <a:pt x="229" y="377"/>
                  </a:cubicBezTo>
                  <a:cubicBezTo>
                    <a:pt x="236" y="377"/>
                    <a:pt x="236" y="377"/>
                    <a:pt x="236" y="377"/>
                  </a:cubicBezTo>
                  <a:cubicBezTo>
                    <a:pt x="236" y="384"/>
                    <a:pt x="236" y="384"/>
                    <a:pt x="236" y="384"/>
                  </a:cubicBezTo>
                  <a:cubicBezTo>
                    <a:pt x="229" y="384"/>
                    <a:pt x="229" y="384"/>
                    <a:pt x="229" y="384"/>
                  </a:cubicBezTo>
                  <a:moveTo>
                    <a:pt x="111" y="369"/>
                  </a:moveTo>
                  <a:cubicBezTo>
                    <a:pt x="111" y="362"/>
                    <a:pt x="111" y="362"/>
                    <a:pt x="111" y="362"/>
                  </a:cubicBezTo>
                  <a:cubicBezTo>
                    <a:pt x="118" y="362"/>
                    <a:pt x="118" y="362"/>
                    <a:pt x="118" y="362"/>
                  </a:cubicBezTo>
                  <a:cubicBezTo>
                    <a:pt x="118" y="369"/>
                    <a:pt x="118" y="369"/>
                    <a:pt x="118" y="369"/>
                  </a:cubicBezTo>
                  <a:cubicBezTo>
                    <a:pt x="111" y="369"/>
                    <a:pt x="111" y="369"/>
                    <a:pt x="111" y="369"/>
                  </a:cubicBezTo>
                  <a:moveTo>
                    <a:pt x="126" y="369"/>
                  </a:moveTo>
                  <a:cubicBezTo>
                    <a:pt x="126" y="362"/>
                    <a:pt x="126" y="362"/>
                    <a:pt x="126" y="362"/>
                  </a:cubicBezTo>
                  <a:cubicBezTo>
                    <a:pt x="133" y="362"/>
                    <a:pt x="133" y="362"/>
                    <a:pt x="133" y="362"/>
                  </a:cubicBezTo>
                  <a:cubicBezTo>
                    <a:pt x="133" y="369"/>
                    <a:pt x="133" y="369"/>
                    <a:pt x="133" y="369"/>
                  </a:cubicBezTo>
                  <a:cubicBezTo>
                    <a:pt x="126" y="369"/>
                    <a:pt x="126" y="369"/>
                    <a:pt x="126" y="369"/>
                  </a:cubicBezTo>
                  <a:moveTo>
                    <a:pt x="140" y="369"/>
                  </a:moveTo>
                  <a:cubicBezTo>
                    <a:pt x="140" y="362"/>
                    <a:pt x="140" y="362"/>
                    <a:pt x="140" y="362"/>
                  </a:cubicBezTo>
                  <a:cubicBezTo>
                    <a:pt x="147" y="362"/>
                    <a:pt x="147" y="362"/>
                    <a:pt x="147" y="362"/>
                  </a:cubicBezTo>
                  <a:cubicBezTo>
                    <a:pt x="147" y="369"/>
                    <a:pt x="147" y="369"/>
                    <a:pt x="147" y="369"/>
                  </a:cubicBezTo>
                  <a:cubicBezTo>
                    <a:pt x="140" y="369"/>
                    <a:pt x="140" y="369"/>
                    <a:pt x="140" y="369"/>
                  </a:cubicBezTo>
                  <a:moveTo>
                    <a:pt x="155" y="369"/>
                  </a:moveTo>
                  <a:cubicBezTo>
                    <a:pt x="155" y="362"/>
                    <a:pt x="155" y="362"/>
                    <a:pt x="155" y="362"/>
                  </a:cubicBezTo>
                  <a:cubicBezTo>
                    <a:pt x="162" y="362"/>
                    <a:pt x="162" y="362"/>
                    <a:pt x="162" y="362"/>
                  </a:cubicBezTo>
                  <a:cubicBezTo>
                    <a:pt x="162" y="369"/>
                    <a:pt x="162" y="369"/>
                    <a:pt x="162" y="369"/>
                  </a:cubicBezTo>
                  <a:cubicBezTo>
                    <a:pt x="155" y="369"/>
                    <a:pt x="155" y="369"/>
                    <a:pt x="155" y="369"/>
                  </a:cubicBezTo>
                  <a:moveTo>
                    <a:pt x="170" y="369"/>
                  </a:moveTo>
                  <a:cubicBezTo>
                    <a:pt x="170" y="362"/>
                    <a:pt x="170" y="362"/>
                    <a:pt x="170" y="362"/>
                  </a:cubicBezTo>
                  <a:cubicBezTo>
                    <a:pt x="177" y="362"/>
                    <a:pt x="177" y="362"/>
                    <a:pt x="177" y="362"/>
                  </a:cubicBezTo>
                  <a:cubicBezTo>
                    <a:pt x="177" y="369"/>
                    <a:pt x="177" y="369"/>
                    <a:pt x="177" y="369"/>
                  </a:cubicBezTo>
                  <a:cubicBezTo>
                    <a:pt x="170" y="369"/>
                    <a:pt x="170" y="369"/>
                    <a:pt x="170" y="369"/>
                  </a:cubicBezTo>
                  <a:moveTo>
                    <a:pt x="185" y="369"/>
                  </a:moveTo>
                  <a:cubicBezTo>
                    <a:pt x="185" y="362"/>
                    <a:pt x="185" y="362"/>
                    <a:pt x="185" y="362"/>
                  </a:cubicBezTo>
                  <a:cubicBezTo>
                    <a:pt x="192" y="362"/>
                    <a:pt x="192" y="362"/>
                    <a:pt x="192" y="362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185" y="369"/>
                    <a:pt x="185" y="369"/>
                    <a:pt x="185" y="369"/>
                  </a:cubicBezTo>
                  <a:moveTo>
                    <a:pt x="199" y="369"/>
                  </a:moveTo>
                  <a:cubicBezTo>
                    <a:pt x="199" y="362"/>
                    <a:pt x="199" y="362"/>
                    <a:pt x="199" y="362"/>
                  </a:cubicBezTo>
                  <a:cubicBezTo>
                    <a:pt x="206" y="362"/>
                    <a:pt x="206" y="362"/>
                    <a:pt x="206" y="362"/>
                  </a:cubicBezTo>
                  <a:cubicBezTo>
                    <a:pt x="206" y="369"/>
                    <a:pt x="206" y="369"/>
                    <a:pt x="206" y="369"/>
                  </a:cubicBezTo>
                  <a:cubicBezTo>
                    <a:pt x="199" y="369"/>
                    <a:pt x="199" y="369"/>
                    <a:pt x="199" y="369"/>
                  </a:cubicBezTo>
                  <a:moveTo>
                    <a:pt x="214" y="369"/>
                  </a:moveTo>
                  <a:cubicBezTo>
                    <a:pt x="214" y="362"/>
                    <a:pt x="214" y="362"/>
                    <a:pt x="214" y="362"/>
                  </a:cubicBezTo>
                  <a:cubicBezTo>
                    <a:pt x="221" y="362"/>
                    <a:pt x="221" y="362"/>
                    <a:pt x="221" y="362"/>
                  </a:cubicBezTo>
                  <a:cubicBezTo>
                    <a:pt x="221" y="369"/>
                    <a:pt x="221" y="369"/>
                    <a:pt x="221" y="369"/>
                  </a:cubicBezTo>
                  <a:cubicBezTo>
                    <a:pt x="214" y="369"/>
                    <a:pt x="214" y="369"/>
                    <a:pt x="214" y="369"/>
                  </a:cubicBezTo>
                  <a:moveTo>
                    <a:pt x="229" y="369"/>
                  </a:moveTo>
                  <a:cubicBezTo>
                    <a:pt x="229" y="362"/>
                    <a:pt x="229" y="362"/>
                    <a:pt x="229" y="362"/>
                  </a:cubicBezTo>
                  <a:cubicBezTo>
                    <a:pt x="236" y="362"/>
                    <a:pt x="236" y="362"/>
                    <a:pt x="236" y="362"/>
                  </a:cubicBezTo>
                  <a:cubicBezTo>
                    <a:pt x="236" y="369"/>
                    <a:pt x="236" y="369"/>
                    <a:pt x="236" y="369"/>
                  </a:cubicBezTo>
                  <a:cubicBezTo>
                    <a:pt x="229" y="369"/>
                    <a:pt x="229" y="369"/>
                    <a:pt x="229" y="369"/>
                  </a:cubicBezTo>
                  <a:moveTo>
                    <a:pt x="244" y="369"/>
                  </a:moveTo>
                  <a:cubicBezTo>
                    <a:pt x="244" y="362"/>
                    <a:pt x="244" y="362"/>
                    <a:pt x="244" y="362"/>
                  </a:cubicBezTo>
                  <a:cubicBezTo>
                    <a:pt x="251" y="362"/>
                    <a:pt x="251" y="362"/>
                    <a:pt x="251" y="362"/>
                  </a:cubicBezTo>
                  <a:cubicBezTo>
                    <a:pt x="251" y="369"/>
                    <a:pt x="251" y="369"/>
                    <a:pt x="251" y="369"/>
                  </a:cubicBezTo>
                  <a:cubicBezTo>
                    <a:pt x="244" y="369"/>
                    <a:pt x="244" y="369"/>
                    <a:pt x="244" y="369"/>
                  </a:cubicBezTo>
                  <a:moveTo>
                    <a:pt x="258" y="369"/>
                  </a:moveTo>
                  <a:cubicBezTo>
                    <a:pt x="258" y="362"/>
                    <a:pt x="258" y="362"/>
                    <a:pt x="258" y="362"/>
                  </a:cubicBezTo>
                  <a:cubicBezTo>
                    <a:pt x="265" y="362"/>
                    <a:pt x="265" y="362"/>
                    <a:pt x="265" y="362"/>
                  </a:cubicBezTo>
                  <a:cubicBezTo>
                    <a:pt x="265" y="369"/>
                    <a:pt x="265" y="369"/>
                    <a:pt x="265" y="369"/>
                  </a:cubicBezTo>
                  <a:cubicBezTo>
                    <a:pt x="258" y="369"/>
                    <a:pt x="258" y="369"/>
                    <a:pt x="258" y="369"/>
                  </a:cubicBezTo>
                  <a:moveTo>
                    <a:pt x="273" y="369"/>
                  </a:moveTo>
                  <a:cubicBezTo>
                    <a:pt x="273" y="362"/>
                    <a:pt x="273" y="362"/>
                    <a:pt x="273" y="362"/>
                  </a:cubicBezTo>
                  <a:cubicBezTo>
                    <a:pt x="280" y="362"/>
                    <a:pt x="280" y="362"/>
                    <a:pt x="280" y="362"/>
                  </a:cubicBezTo>
                  <a:cubicBezTo>
                    <a:pt x="280" y="369"/>
                    <a:pt x="280" y="369"/>
                    <a:pt x="280" y="369"/>
                  </a:cubicBezTo>
                  <a:cubicBezTo>
                    <a:pt x="273" y="369"/>
                    <a:pt x="273" y="369"/>
                    <a:pt x="273" y="369"/>
                  </a:cubicBezTo>
                  <a:moveTo>
                    <a:pt x="81" y="354"/>
                  </a:moveTo>
                  <a:cubicBezTo>
                    <a:pt x="81" y="347"/>
                    <a:pt x="81" y="347"/>
                    <a:pt x="81" y="347"/>
                  </a:cubicBezTo>
                  <a:cubicBezTo>
                    <a:pt x="88" y="347"/>
                    <a:pt x="88" y="347"/>
                    <a:pt x="88" y="347"/>
                  </a:cubicBezTo>
                  <a:cubicBezTo>
                    <a:pt x="88" y="354"/>
                    <a:pt x="88" y="354"/>
                    <a:pt x="88" y="354"/>
                  </a:cubicBezTo>
                  <a:cubicBezTo>
                    <a:pt x="81" y="354"/>
                    <a:pt x="81" y="354"/>
                    <a:pt x="81" y="354"/>
                  </a:cubicBezTo>
                  <a:moveTo>
                    <a:pt x="96" y="354"/>
                  </a:moveTo>
                  <a:cubicBezTo>
                    <a:pt x="96" y="347"/>
                    <a:pt x="96" y="347"/>
                    <a:pt x="96" y="347"/>
                  </a:cubicBezTo>
                  <a:cubicBezTo>
                    <a:pt x="103" y="347"/>
                    <a:pt x="103" y="347"/>
                    <a:pt x="103" y="347"/>
                  </a:cubicBezTo>
                  <a:cubicBezTo>
                    <a:pt x="103" y="354"/>
                    <a:pt x="103" y="354"/>
                    <a:pt x="103" y="354"/>
                  </a:cubicBezTo>
                  <a:cubicBezTo>
                    <a:pt x="96" y="354"/>
                    <a:pt x="96" y="354"/>
                    <a:pt x="96" y="354"/>
                  </a:cubicBezTo>
                  <a:moveTo>
                    <a:pt x="111" y="354"/>
                  </a:moveTo>
                  <a:cubicBezTo>
                    <a:pt x="111" y="347"/>
                    <a:pt x="111" y="347"/>
                    <a:pt x="111" y="347"/>
                  </a:cubicBezTo>
                  <a:cubicBezTo>
                    <a:pt x="118" y="347"/>
                    <a:pt x="118" y="347"/>
                    <a:pt x="118" y="347"/>
                  </a:cubicBezTo>
                  <a:cubicBezTo>
                    <a:pt x="118" y="354"/>
                    <a:pt x="118" y="354"/>
                    <a:pt x="118" y="354"/>
                  </a:cubicBezTo>
                  <a:cubicBezTo>
                    <a:pt x="111" y="354"/>
                    <a:pt x="111" y="354"/>
                    <a:pt x="111" y="354"/>
                  </a:cubicBezTo>
                  <a:moveTo>
                    <a:pt x="126" y="354"/>
                  </a:moveTo>
                  <a:cubicBezTo>
                    <a:pt x="126" y="347"/>
                    <a:pt x="126" y="347"/>
                    <a:pt x="126" y="347"/>
                  </a:cubicBezTo>
                  <a:cubicBezTo>
                    <a:pt x="133" y="347"/>
                    <a:pt x="133" y="347"/>
                    <a:pt x="133" y="347"/>
                  </a:cubicBezTo>
                  <a:cubicBezTo>
                    <a:pt x="133" y="354"/>
                    <a:pt x="133" y="354"/>
                    <a:pt x="133" y="354"/>
                  </a:cubicBezTo>
                  <a:cubicBezTo>
                    <a:pt x="126" y="354"/>
                    <a:pt x="126" y="354"/>
                    <a:pt x="126" y="354"/>
                  </a:cubicBezTo>
                  <a:moveTo>
                    <a:pt x="140" y="354"/>
                  </a:moveTo>
                  <a:cubicBezTo>
                    <a:pt x="140" y="347"/>
                    <a:pt x="140" y="347"/>
                    <a:pt x="140" y="347"/>
                  </a:cubicBezTo>
                  <a:cubicBezTo>
                    <a:pt x="147" y="347"/>
                    <a:pt x="147" y="347"/>
                    <a:pt x="147" y="347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0" y="354"/>
                    <a:pt x="140" y="354"/>
                    <a:pt x="140" y="354"/>
                  </a:cubicBezTo>
                  <a:moveTo>
                    <a:pt x="155" y="354"/>
                  </a:moveTo>
                  <a:cubicBezTo>
                    <a:pt x="155" y="347"/>
                    <a:pt x="155" y="347"/>
                    <a:pt x="155" y="347"/>
                  </a:cubicBezTo>
                  <a:cubicBezTo>
                    <a:pt x="162" y="347"/>
                    <a:pt x="162" y="347"/>
                    <a:pt x="162" y="347"/>
                  </a:cubicBezTo>
                  <a:cubicBezTo>
                    <a:pt x="162" y="354"/>
                    <a:pt x="162" y="354"/>
                    <a:pt x="162" y="354"/>
                  </a:cubicBezTo>
                  <a:cubicBezTo>
                    <a:pt x="155" y="354"/>
                    <a:pt x="155" y="354"/>
                    <a:pt x="155" y="354"/>
                  </a:cubicBezTo>
                  <a:moveTo>
                    <a:pt x="170" y="354"/>
                  </a:moveTo>
                  <a:cubicBezTo>
                    <a:pt x="170" y="347"/>
                    <a:pt x="170" y="347"/>
                    <a:pt x="170" y="347"/>
                  </a:cubicBezTo>
                  <a:cubicBezTo>
                    <a:pt x="177" y="347"/>
                    <a:pt x="177" y="347"/>
                    <a:pt x="177" y="347"/>
                  </a:cubicBezTo>
                  <a:cubicBezTo>
                    <a:pt x="177" y="354"/>
                    <a:pt x="177" y="354"/>
                    <a:pt x="177" y="354"/>
                  </a:cubicBezTo>
                  <a:cubicBezTo>
                    <a:pt x="170" y="354"/>
                    <a:pt x="170" y="354"/>
                    <a:pt x="170" y="354"/>
                  </a:cubicBezTo>
                  <a:moveTo>
                    <a:pt x="185" y="354"/>
                  </a:moveTo>
                  <a:cubicBezTo>
                    <a:pt x="185" y="347"/>
                    <a:pt x="185" y="347"/>
                    <a:pt x="185" y="347"/>
                  </a:cubicBezTo>
                  <a:cubicBezTo>
                    <a:pt x="192" y="347"/>
                    <a:pt x="192" y="347"/>
                    <a:pt x="192" y="347"/>
                  </a:cubicBezTo>
                  <a:cubicBezTo>
                    <a:pt x="192" y="354"/>
                    <a:pt x="192" y="354"/>
                    <a:pt x="192" y="354"/>
                  </a:cubicBezTo>
                  <a:cubicBezTo>
                    <a:pt x="185" y="354"/>
                    <a:pt x="185" y="354"/>
                    <a:pt x="185" y="354"/>
                  </a:cubicBezTo>
                  <a:moveTo>
                    <a:pt x="199" y="354"/>
                  </a:moveTo>
                  <a:cubicBezTo>
                    <a:pt x="199" y="347"/>
                    <a:pt x="199" y="347"/>
                    <a:pt x="199" y="347"/>
                  </a:cubicBezTo>
                  <a:cubicBezTo>
                    <a:pt x="206" y="347"/>
                    <a:pt x="206" y="347"/>
                    <a:pt x="206" y="347"/>
                  </a:cubicBezTo>
                  <a:cubicBezTo>
                    <a:pt x="206" y="354"/>
                    <a:pt x="206" y="354"/>
                    <a:pt x="206" y="354"/>
                  </a:cubicBezTo>
                  <a:cubicBezTo>
                    <a:pt x="199" y="354"/>
                    <a:pt x="199" y="354"/>
                    <a:pt x="199" y="354"/>
                  </a:cubicBezTo>
                  <a:moveTo>
                    <a:pt x="214" y="354"/>
                  </a:moveTo>
                  <a:cubicBezTo>
                    <a:pt x="214" y="347"/>
                    <a:pt x="214" y="347"/>
                    <a:pt x="214" y="347"/>
                  </a:cubicBezTo>
                  <a:cubicBezTo>
                    <a:pt x="221" y="347"/>
                    <a:pt x="221" y="347"/>
                    <a:pt x="221" y="347"/>
                  </a:cubicBezTo>
                  <a:cubicBezTo>
                    <a:pt x="221" y="354"/>
                    <a:pt x="221" y="354"/>
                    <a:pt x="221" y="354"/>
                  </a:cubicBezTo>
                  <a:cubicBezTo>
                    <a:pt x="214" y="354"/>
                    <a:pt x="214" y="354"/>
                    <a:pt x="214" y="354"/>
                  </a:cubicBezTo>
                  <a:moveTo>
                    <a:pt x="229" y="354"/>
                  </a:moveTo>
                  <a:cubicBezTo>
                    <a:pt x="229" y="347"/>
                    <a:pt x="229" y="347"/>
                    <a:pt x="229" y="347"/>
                  </a:cubicBezTo>
                  <a:cubicBezTo>
                    <a:pt x="236" y="347"/>
                    <a:pt x="236" y="347"/>
                    <a:pt x="236" y="347"/>
                  </a:cubicBezTo>
                  <a:cubicBezTo>
                    <a:pt x="236" y="354"/>
                    <a:pt x="236" y="354"/>
                    <a:pt x="236" y="354"/>
                  </a:cubicBezTo>
                  <a:cubicBezTo>
                    <a:pt x="229" y="354"/>
                    <a:pt x="229" y="354"/>
                    <a:pt x="229" y="354"/>
                  </a:cubicBezTo>
                  <a:moveTo>
                    <a:pt x="244" y="354"/>
                  </a:moveTo>
                  <a:cubicBezTo>
                    <a:pt x="244" y="347"/>
                    <a:pt x="244" y="347"/>
                    <a:pt x="244" y="347"/>
                  </a:cubicBezTo>
                  <a:cubicBezTo>
                    <a:pt x="251" y="347"/>
                    <a:pt x="251" y="347"/>
                    <a:pt x="251" y="347"/>
                  </a:cubicBezTo>
                  <a:cubicBezTo>
                    <a:pt x="251" y="354"/>
                    <a:pt x="251" y="354"/>
                    <a:pt x="251" y="354"/>
                  </a:cubicBezTo>
                  <a:cubicBezTo>
                    <a:pt x="244" y="354"/>
                    <a:pt x="244" y="354"/>
                    <a:pt x="244" y="354"/>
                  </a:cubicBezTo>
                  <a:moveTo>
                    <a:pt x="258" y="354"/>
                  </a:moveTo>
                  <a:cubicBezTo>
                    <a:pt x="258" y="347"/>
                    <a:pt x="258" y="347"/>
                    <a:pt x="258" y="347"/>
                  </a:cubicBezTo>
                  <a:cubicBezTo>
                    <a:pt x="265" y="347"/>
                    <a:pt x="265" y="347"/>
                    <a:pt x="265" y="347"/>
                  </a:cubicBezTo>
                  <a:cubicBezTo>
                    <a:pt x="265" y="354"/>
                    <a:pt x="265" y="354"/>
                    <a:pt x="265" y="354"/>
                  </a:cubicBezTo>
                  <a:cubicBezTo>
                    <a:pt x="258" y="354"/>
                    <a:pt x="258" y="354"/>
                    <a:pt x="258" y="354"/>
                  </a:cubicBezTo>
                  <a:moveTo>
                    <a:pt x="273" y="354"/>
                  </a:moveTo>
                  <a:cubicBezTo>
                    <a:pt x="273" y="347"/>
                    <a:pt x="273" y="347"/>
                    <a:pt x="273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54"/>
                    <a:pt x="280" y="354"/>
                    <a:pt x="280" y="354"/>
                  </a:cubicBezTo>
                  <a:cubicBezTo>
                    <a:pt x="273" y="354"/>
                    <a:pt x="273" y="354"/>
                    <a:pt x="273" y="354"/>
                  </a:cubicBezTo>
                  <a:moveTo>
                    <a:pt x="288" y="354"/>
                  </a:moveTo>
                  <a:cubicBezTo>
                    <a:pt x="288" y="347"/>
                    <a:pt x="288" y="347"/>
                    <a:pt x="288" y="347"/>
                  </a:cubicBezTo>
                  <a:cubicBezTo>
                    <a:pt x="295" y="347"/>
                    <a:pt x="295" y="347"/>
                    <a:pt x="295" y="347"/>
                  </a:cubicBezTo>
                  <a:cubicBezTo>
                    <a:pt x="295" y="354"/>
                    <a:pt x="295" y="354"/>
                    <a:pt x="295" y="354"/>
                  </a:cubicBezTo>
                  <a:cubicBezTo>
                    <a:pt x="288" y="354"/>
                    <a:pt x="288" y="354"/>
                    <a:pt x="288" y="354"/>
                  </a:cubicBezTo>
                  <a:moveTo>
                    <a:pt x="303" y="354"/>
                  </a:moveTo>
                  <a:cubicBezTo>
                    <a:pt x="303" y="347"/>
                    <a:pt x="303" y="347"/>
                    <a:pt x="303" y="347"/>
                  </a:cubicBezTo>
                  <a:cubicBezTo>
                    <a:pt x="310" y="347"/>
                    <a:pt x="310" y="347"/>
                    <a:pt x="310" y="347"/>
                  </a:cubicBezTo>
                  <a:cubicBezTo>
                    <a:pt x="310" y="354"/>
                    <a:pt x="310" y="354"/>
                    <a:pt x="310" y="354"/>
                  </a:cubicBezTo>
                  <a:cubicBezTo>
                    <a:pt x="303" y="354"/>
                    <a:pt x="303" y="354"/>
                    <a:pt x="303" y="354"/>
                  </a:cubicBezTo>
                  <a:moveTo>
                    <a:pt x="67" y="340"/>
                  </a:moveTo>
                  <a:cubicBezTo>
                    <a:pt x="67" y="333"/>
                    <a:pt x="67" y="333"/>
                    <a:pt x="67" y="333"/>
                  </a:cubicBezTo>
                  <a:cubicBezTo>
                    <a:pt x="74" y="333"/>
                    <a:pt x="74" y="333"/>
                    <a:pt x="74" y="333"/>
                  </a:cubicBezTo>
                  <a:cubicBezTo>
                    <a:pt x="74" y="340"/>
                    <a:pt x="74" y="340"/>
                    <a:pt x="74" y="340"/>
                  </a:cubicBezTo>
                  <a:cubicBezTo>
                    <a:pt x="67" y="340"/>
                    <a:pt x="67" y="340"/>
                    <a:pt x="67" y="340"/>
                  </a:cubicBezTo>
                  <a:moveTo>
                    <a:pt x="81" y="340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88" y="333"/>
                    <a:pt x="88" y="333"/>
                    <a:pt x="88" y="333"/>
                  </a:cubicBezTo>
                  <a:cubicBezTo>
                    <a:pt x="88" y="340"/>
                    <a:pt x="88" y="340"/>
                    <a:pt x="88" y="340"/>
                  </a:cubicBezTo>
                  <a:cubicBezTo>
                    <a:pt x="81" y="340"/>
                    <a:pt x="81" y="340"/>
                    <a:pt x="81" y="340"/>
                  </a:cubicBezTo>
                  <a:moveTo>
                    <a:pt x="96" y="340"/>
                  </a:moveTo>
                  <a:cubicBezTo>
                    <a:pt x="96" y="333"/>
                    <a:pt x="96" y="333"/>
                    <a:pt x="96" y="333"/>
                  </a:cubicBezTo>
                  <a:cubicBezTo>
                    <a:pt x="103" y="333"/>
                    <a:pt x="103" y="333"/>
                    <a:pt x="103" y="333"/>
                  </a:cubicBezTo>
                  <a:cubicBezTo>
                    <a:pt x="103" y="340"/>
                    <a:pt x="103" y="340"/>
                    <a:pt x="103" y="340"/>
                  </a:cubicBezTo>
                  <a:cubicBezTo>
                    <a:pt x="96" y="340"/>
                    <a:pt x="96" y="340"/>
                    <a:pt x="96" y="340"/>
                  </a:cubicBezTo>
                  <a:moveTo>
                    <a:pt x="111" y="340"/>
                  </a:moveTo>
                  <a:cubicBezTo>
                    <a:pt x="111" y="333"/>
                    <a:pt x="111" y="333"/>
                    <a:pt x="111" y="333"/>
                  </a:cubicBezTo>
                  <a:cubicBezTo>
                    <a:pt x="118" y="333"/>
                    <a:pt x="118" y="333"/>
                    <a:pt x="118" y="333"/>
                  </a:cubicBezTo>
                  <a:cubicBezTo>
                    <a:pt x="118" y="340"/>
                    <a:pt x="118" y="340"/>
                    <a:pt x="118" y="340"/>
                  </a:cubicBezTo>
                  <a:cubicBezTo>
                    <a:pt x="111" y="340"/>
                    <a:pt x="111" y="340"/>
                    <a:pt x="111" y="340"/>
                  </a:cubicBezTo>
                  <a:moveTo>
                    <a:pt x="126" y="340"/>
                  </a:moveTo>
                  <a:cubicBezTo>
                    <a:pt x="126" y="333"/>
                    <a:pt x="126" y="333"/>
                    <a:pt x="126" y="333"/>
                  </a:cubicBezTo>
                  <a:cubicBezTo>
                    <a:pt x="133" y="333"/>
                    <a:pt x="133" y="333"/>
                    <a:pt x="133" y="333"/>
                  </a:cubicBezTo>
                  <a:cubicBezTo>
                    <a:pt x="133" y="340"/>
                    <a:pt x="133" y="340"/>
                    <a:pt x="133" y="340"/>
                  </a:cubicBezTo>
                  <a:cubicBezTo>
                    <a:pt x="126" y="340"/>
                    <a:pt x="126" y="340"/>
                    <a:pt x="126" y="340"/>
                  </a:cubicBezTo>
                  <a:moveTo>
                    <a:pt x="140" y="340"/>
                  </a:moveTo>
                  <a:cubicBezTo>
                    <a:pt x="140" y="333"/>
                    <a:pt x="140" y="333"/>
                    <a:pt x="140" y="333"/>
                  </a:cubicBezTo>
                  <a:cubicBezTo>
                    <a:pt x="147" y="333"/>
                    <a:pt x="147" y="333"/>
                    <a:pt x="147" y="333"/>
                  </a:cubicBezTo>
                  <a:cubicBezTo>
                    <a:pt x="147" y="340"/>
                    <a:pt x="147" y="340"/>
                    <a:pt x="147" y="340"/>
                  </a:cubicBezTo>
                  <a:cubicBezTo>
                    <a:pt x="140" y="340"/>
                    <a:pt x="140" y="340"/>
                    <a:pt x="140" y="340"/>
                  </a:cubicBezTo>
                  <a:moveTo>
                    <a:pt x="155" y="340"/>
                  </a:moveTo>
                  <a:cubicBezTo>
                    <a:pt x="155" y="333"/>
                    <a:pt x="155" y="333"/>
                    <a:pt x="155" y="333"/>
                  </a:cubicBezTo>
                  <a:cubicBezTo>
                    <a:pt x="162" y="333"/>
                    <a:pt x="162" y="333"/>
                    <a:pt x="162" y="333"/>
                  </a:cubicBezTo>
                  <a:cubicBezTo>
                    <a:pt x="162" y="340"/>
                    <a:pt x="162" y="340"/>
                    <a:pt x="162" y="340"/>
                  </a:cubicBezTo>
                  <a:cubicBezTo>
                    <a:pt x="155" y="340"/>
                    <a:pt x="155" y="340"/>
                    <a:pt x="155" y="340"/>
                  </a:cubicBezTo>
                  <a:moveTo>
                    <a:pt x="170" y="340"/>
                  </a:moveTo>
                  <a:cubicBezTo>
                    <a:pt x="170" y="333"/>
                    <a:pt x="170" y="333"/>
                    <a:pt x="170" y="333"/>
                  </a:cubicBezTo>
                  <a:cubicBezTo>
                    <a:pt x="177" y="333"/>
                    <a:pt x="177" y="333"/>
                    <a:pt x="177" y="333"/>
                  </a:cubicBezTo>
                  <a:cubicBezTo>
                    <a:pt x="177" y="340"/>
                    <a:pt x="177" y="340"/>
                    <a:pt x="177" y="340"/>
                  </a:cubicBezTo>
                  <a:cubicBezTo>
                    <a:pt x="170" y="340"/>
                    <a:pt x="170" y="340"/>
                    <a:pt x="170" y="340"/>
                  </a:cubicBezTo>
                  <a:moveTo>
                    <a:pt x="185" y="340"/>
                  </a:moveTo>
                  <a:cubicBezTo>
                    <a:pt x="185" y="333"/>
                    <a:pt x="185" y="333"/>
                    <a:pt x="185" y="333"/>
                  </a:cubicBezTo>
                  <a:cubicBezTo>
                    <a:pt x="192" y="333"/>
                    <a:pt x="192" y="333"/>
                    <a:pt x="192" y="333"/>
                  </a:cubicBezTo>
                  <a:cubicBezTo>
                    <a:pt x="192" y="340"/>
                    <a:pt x="192" y="340"/>
                    <a:pt x="192" y="340"/>
                  </a:cubicBezTo>
                  <a:cubicBezTo>
                    <a:pt x="185" y="340"/>
                    <a:pt x="185" y="340"/>
                    <a:pt x="185" y="340"/>
                  </a:cubicBezTo>
                  <a:moveTo>
                    <a:pt x="199" y="340"/>
                  </a:moveTo>
                  <a:cubicBezTo>
                    <a:pt x="199" y="333"/>
                    <a:pt x="199" y="333"/>
                    <a:pt x="199" y="333"/>
                  </a:cubicBezTo>
                  <a:cubicBezTo>
                    <a:pt x="206" y="333"/>
                    <a:pt x="206" y="333"/>
                    <a:pt x="206" y="333"/>
                  </a:cubicBezTo>
                  <a:cubicBezTo>
                    <a:pt x="206" y="340"/>
                    <a:pt x="206" y="340"/>
                    <a:pt x="206" y="340"/>
                  </a:cubicBezTo>
                  <a:cubicBezTo>
                    <a:pt x="199" y="340"/>
                    <a:pt x="199" y="340"/>
                    <a:pt x="199" y="340"/>
                  </a:cubicBezTo>
                  <a:moveTo>
                    <a:pt x="214" y="340"/>
                  </a:moveTo>
                  <a:cubicBezTo>
                    <a:pt x="214" y="333"/>
                    <a:pt x="214" y="333"/>
                    <a:pt x="214" y="333"/>
                  </a:cubicBezTo>
                  <a:cubicBezTo>
                    <a:pt x="221" y="333"/>
                    <a:pt x="221" y="333"/>
                    <a:pt x="221" y="333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14" y="340"/>
                    <a:pt x="214" y="340"/>
                    <a:pt x="214" y="340"/>
                  </a:cubicBezTo>
                  <a:moveTo>
                    <a:pt x="229" y="340"/>
                  </a:moveTo>
                  <a:cubicBezTo>
                    <a:pt x="229" y="333"/>
                    <a:pt x="229" y="333"/>
                    <a:pt x="229" y="333"/>
                  </a:cubicBezTo>
                  <a:cubicBezTo>
                    <a:pt x="236" y="333"/>
                    <a:pt x="236" y="333"/>
                    <a:pt x="236" y="333"/>
                  </a:cubicBezTo>
                  <a:cubicBezTo>
                    <a:pt x="236" y="340"/>
                    <a:pt x="236" y="340"/>
                    <a:pt x="236" y="340"/>
                  </a:cubicBezTo>
                  <a:cubicBezTo>
                    <a:pt x="229" y="340"/>
                    <a:pt x="229" y="340"/>
                    <a:pt x="229" y="340"/>
                  </a:cubicBezTo>
                  <a:moveTo>
                    <a:pt x="244" y="340"/>
                  </a:moveTo>
                  <a:cubicBezTo>
                    <a:pt x="244" y="333"/>
                    <a:pt x="244" y="333"/>
                    <a:pt x="244" y="333"/>
                  </a:cubicBezTo>
                  <a:cubicBezTo>
                    <a:pt x="251" y="333"/>
                    <a:pt x="251" y="333"/>
                    <a:pt x="251" y="333"/>
                  </a:cubicBezTo>
                  <a:cubicBezTo>
                    <a:pt x="251" y="340"/>
                    <a:pt x="251" y="340"/>
                    <a:pt x="251" y="340"/>
                  </a:cubicBezTo>
                  <a:cubicBezTo>
                    <a:pt x="244" y="340"/>
                    <a:pt x="244" y="340"/>
                    <a:pt x="244" y="340"/>
                  </a:cubicBezTo>
                  <a:moveTo>
                    <a:pt x="258" y="340"/>
                  </a:moveTo>
                  <a:cubicBezTo>
                    <a:pt x="258" y="333"/>
                    <a:pt x="258" y="333"/>
                    <a:pt x="258" y="333"/>
                  </a:cubicBezTo>
                  <a:cubicBezTo>
                    <a:pt x="265" y="333"/>
                    <a:pt x="265" y="333"/>
                    <a:pt x="265" y="333"/>
                  </a:cubicBezTo>
                  <a:cubicBezTo>
                    <a:pt x="265" y="340"/>
                    <a:pt x="265" y="340"/>
                    <a:pt x="265" y="340"/>
                  </a:cubicBezTo>
                  <a:cubicBezTo>
                    <a:pt x="258" y="340"/>
                    <a:pt x="258" y="340"/>
                    <a:pt x="258" y="340"/>
                  </a:cubicBezTo>
                  <a:moveTo>
                    <a:pt x="273" y="340"/>
                  </a:moveTo>
                  <a:cubicBezTo>
                    <a:pt x="273" y="333"/>
                    <a:pt x="273" y="333"/>
                    <a:pt x="273" y="333"/>
                  </a:cubicBezTo>
                  <a:cubicBezTo>
                    <a:pt x="280" y="333"/>
                    <a:pt x="280" y="333"/>
                    <a:pt x="280" y="333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73" y="340"/>
                    <a:pt x="273" y="340"/>
                    <a:pt x="273" y="340"/>
                  </a:cubicBezTo>
                  <a:moveTo>
                    <a:pt x="288" y="340"/>
                  </a:moveTo>
                  <a:cubicBezTo>
                    <a:pt x="288" y="333"/>
                    <a:pt x="288" y="333"/>
                    <a:pt x="288" y="333"/>
                  </a:cubicBezTo>
                  <a:cubicBezTo>
                    <a:pt x="295" y="333"/>
                    <a:pt x="295" y="333"/>
                    <a:pt x="295" y="333"/>
                  </a:cubicBezTo>
                  <a:cubicBezTo>
                    <a:pt x="295" y="340"/>
                    <a:pt x="295" y="340"/>
                    <a:pt x="295" y="340"/>
                  </a:cubicBezTo>
                  <a:cubicBezTo>
                    <a:pt x="288" y="340"/>
                    <a:pt x="288" y="340"/>
                    <a:pt x="288" y="340"/>
                  </a:cubicBezTo>
                  <a:moveTo>
                    <a:pt x="303" y="340"/>
                  </a:moveTo>
                  <a:cubicBezTo>
                    <a:pt x="303" y="333"/>
                    <a:pt x="303" y="333"/>
                    <a:pt x="303" y="333"/>
                  </a:cubicBezTo>
                  <a:cubicBezTo>
                    <a:pt x="310" y="333"/>
                    <a:pt x="310" y="333"/>
                    <a:pt x="310" y="333"/>
                  </a:cubicBezTo>
                  <a:cubicBezTo>
                    <a:pt x="310" y="340"/>
                    <a:pt x="310" y="340"/>
                    <a:pt x="310" y="340"/>
                  </a:cubicBezTo>
                  <a:cubicBezTo>
                    <a:pt x="303" y="340"/>
                    <a:pt x="303" y="340"/>
                    <a:pt x="303" y="340"/>
                  </a:cubicBezTo>
                  <a:moveTo>
                    <a:pt x="317" y="340"/>
                  </a:moveTo>
                  <a:cubicBezTo>
                    <a:pt x="317" y="333"/>
                    <a:pt x="317" y="333"/>
                    <a:pt x="317" y="333"/>
                  </a:cubicBezTo>
                  <a:cubicBezTo>
                    <a:pt x="324" y="333"/>
                    <a:pt x="324" y="333"/>
                    <a:pt x="324" y="333"/>
                  </a:cubicBezTo>
                  <a:cubicBezTo>
                    <a:pt x="324" y="340"/>
                    <a:pt x="324" y="340"/>
                    <a:pt x="324" y="340"/>
                  </a:cubicBezTo>
                  <a:cubicBezTo>
                    <a:pt x="317" y="340"/>
                    <a:pt x="317" y="340"/>
                    <a:pt x="317" y="340"/>
                  </a:cubicBezTo>
                  <a:moveTo>
                    <a:pt x="52" y="325"/>
                  </a:moveTo>
                  <a:cubicBezTo>
                    <a:pt x="52" y="318"/>
                    <a:pt x="52" y="318"/>
                    <a:pt x="52" y="318"/>
                  </a:cubicBezTo>
                  <a:cubicBezTo>
                    <a:pt x="59" y="318"/>
                    <a:pt x="59" y="318"/>
                    <a:pt x="59" y="318"/>
                  </a:cubicBezTo>
                  <a:cubicBezTo>
                    <a:pt x="59" y="325"/>
                    <a:pt x="59" y="325"/>
                    <a:pt x="59" y="325"/>
                  </a:cubicBezTo>
                  <a:cubicBezTo>
                    <a:pt x="52" y="325"/>
                    <a:pt x="52" y="325"/>
                    <a:pt x="52" y="325"/>
                  </a:cubicBezTo>
                  <a:moveTo>
                    <a:pt x="67" y="325"/>
                  </a:moveTo>
                  <a:cubicBezTo>
                    <a:pt x="67" y="318"/>
                    <a:pt x="67" y="318"/>
                    <a:pt x="67" y="318"/>
                  </a:cubicBezTo>
                  <a:cubicBezTo>
                    <a:pt x="74" y="318"/>
                    <a:pt x="74" y="318"/>
                    <a:pt x="74" y="318"/>
                  </a:cubicBezTo>
                  <a:cubicBezTo>
                    <a:pt x="74" y="325"/>
                    <a:pt x="74" y="325"/>
                    <a:pt x="74" y="325"/>
                  </a:cubicBezTo>
                  <a:cubicBezTo>
                    <a:pt x="67" y="325"/>
                    <a:pt x="67" y="325"/>
                    <a:pt x="67" y="325"/>
                  </a:cubicBezTo>
                  <a:moveTo>
                    <a:pt x="81" y="325"/>
                  </a:moveTo>
                  <a:cubicBezTo>
                    <a:pt x="81" y="318"/>
                    <a:pt x="81" y="318"/>
                    <a:pt x="81" y="318"/>
                  </a:cubicBezTo>
                  <a:cubicBezTo>
                    <a:pt x="88" y="318"/>
                    <a:pt x="88" y="318"/>
                    <a:pt x="88" y="318"/>
                  </a:cubicBezTo>
                  <a:cubicBezTo>
                    <a:pt x="88" y="325"/>
                    <a:pt x="88" y="325"/>
                    <a:pt x="88" y="325"/>
                  </a:cubicBezTo>
                  <a:cubicBezTo>
                    <a:pt x="81" y="325"/>
                    <a:pt x="81" y="325"/>
                    <a:pt x="81" y="325"/>
                  </a:cubicBezTo>
                  <a:moveTo>
                    <a:pt x="96" y="325"/>
                  </a:moveTo>
                  <a:cubicBezTo>
                    <a:pt x="96" y="318"/>
                    <a:pt x="96" y="318"/>
                    <a:pt x="96" y="318"/>
                  </a:cubicBezTo>
                  <a:cubicBezTo>
                    <a:pt x="103" y="318"/>
                    <a:pt x="103" y="318"/>
                    <a:pt x="103" y="318"/>
                  </a:cubicBezTo>
                  <a:cubicBezTo>
                    <a:pt x="103" y="325"/>
                    <a:pt x="103" y="325"/>
                    <a:pt x="103" y="325"/>
                  </a:cubicBezTo>
                  <a:cubicBezTo>
                    <a:pt x="96" y="325"/>
                    <a:pt x="96" y="325"/>
                    <a:pt x="96" y="325"/>
                  </a:cubicBezTo>
                  <a:moveTo>
                    <a:pt x="111" y="325"/>
                  </a:moveTo>
                  <a:cubicBezTo>
                    <a:pt x="111" y="318"/>
                    <a:pt x="111" y="318"/>
                    <a:pt x="111" y="318"/>
                  </a:cubicBezTo>
                  <a:cubicBezTo>
                    <a:pt x="118" y="318"/>
                    <a:pt x="118" y="318"/>
                    <a:pt x="118" y="318"/>
                  </a:cubicBezTo>
                  <a:cubicBezTo>
                    <a:pt x="118" y="325"/>
                    <a:pt x="118" y="325"/>
                    <a:pt x="118" y="325"/>
                  </a:cubicBezTo>
                  <a:cubicBezTo>
                    <a:pt x="111" y="325"/>
                    <a:pt x="111" y="325"/>
                    <a:pt x="111" y="325"/>
                  </a:cubicBezTo>
                  <a:moveTo>
                    <a:pt x="126" y="325"/>
                  </a:moveTo>
                  <a:cubicBezTo>
                    <a:pt x="126" y="318"/>
                    <a:pt x="126" y="318"/>
                    <a:pt x="126" y="318"/>
                  </a:cubicBezTo>
                  <a:cubicBezTo>
                    <a:pt x="133" y="318"/>
                    <a:pt x="133" y="318"/>
                    <a:pt x="133" y="318"/>
                  </a:cubicBezTo>
                  <a:cubicBezTo>
                    <a:pt x="133" y="325"/>
                    <a:pt x="133" y="325"/>
                    <a:pt x="133" y="325"/>
                  </a:cubicBezTo>
                  <a:cubicBezTo>
                    <a:pt x="126" y="325"/>
                    <a:pt x="126" y="325"/>
                    <a:pt x="126" y="325"/>
                  </a:cubicBezTo>
                  <a:moveTo>
                    <a:pt x="140" y="325"/>
                  </a:moveTo>
                  <a:cubicBezTo>
                    <a:pt x="140" y="318"/>
                    <a:pt x="140" y="318"/>
                    <a:pt x="140" y="318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25"/>
                    <a:pt x="147" y="325"/>
                    <a:pt x="147" y="325"/>
                  </a:cubicBezTo>
                  <a:cubicBezTo>
                    <a:pt x="140" y="325"/>
                    <a:pt x="140" y="325"/>
                    <a:pt x="140" y="325"/>
                  </a:cubicBezTo>
                  <a:moveTo>
                    <a:pt x="155" y="325"/>
                  </a:moveTo>
                  <a:cubicBezTo>
                    <a:pt x="155" y="318"/>
                    <a:pt x="155" y="318"/>
                    <a:pt x="155" y="318"/>
                  </a:cubicBezTo>
                  <a:cubicBezTo>
                    <a:pt x="162" y="318"/>
                    <a:pt x="162" y="318"/>
                    <a:pt x="162" y="318"/>
                  </a:cubicBezTo>
                  <a:cubicBezTo>
                    <a:pt x="162" y="325"/>
                    <a:pt x="162" y="325"/>
                    <a:pt x="162" y="325"/>
                  </a:cubicBezTo>
                  <a:cubicBezTo>
                    <a:pt x="155" y="325"/>
                    <a:pt x="155" y="325"/>
                    <a:pt x="155" y="325"/>
                  </a:cubicBezTo>
                  <a:moveTo>
                    <a:pt x="170" y="325"/>
                  </a:moveTo>
                  <a:cubicBezTo>
                    <a:pt x="170" y="318"/>
                    <a:pt x="170" y="318"/>
                    <a:pt x="170" y="318"/>
                  </a:cubicBezTo>
                  <a:cubicBezTo>
                    <a:pt x="177" y="318"/>
                    <a:pt x="177" y="318"/>
                    <a:pt x="177" y="318"/>
                  </a:cubicBezTo>
                  <a:cubicBezTo>
                    <a:pt x="177" y="325"/>
                    <a:pt x="177" y="325"/>
                    <a:pt x="177" y="325"/>
                  </a:cubicBezTo>
                  <a:cubicBezTo>
                    <a:pt x="170" y="325"/>
                    <a:pt x="170" y="325"/>
                    <a:pt x="170" y="325"/>
                  </a:cubicBezTo>
                  <a:moveTo>
                    <a:pt x="185" y="325"/>
                  </a:moveTo>
                  <a:cubicBezTo>
                    <a:pt x="185" y="318"/>
                    <a:pt x="185" y="318"/>
                    <a:pt x="185" y="318"/>
                  </a:cubicBezTo>
                  <a:cubicBezTo>
                    <a:pt x="192" y="318"/>
                    <a:pt x="192" y="318"/>
                    <a:pt x="192" y="318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85" y="325"/>
                    <a:pt x="185" y="325"/>
                    <a:pt x="185" y="325"/>
                  </a:cubicBezTo>
                  <a:moveTo>
                    <a:pt x="199" y="325"/>
                  </a:moveTo>
                  <a:cubicBezTo>
                    <a:pt x="199" y="318"/>
                    <a:pt x="199" y="318"/>
                    <a:pt x="199" y="318"/>
                  </a:cubicBezTo>
                  <a:cubicBezTo>
                    <a:pt x="206" y="318"/>
                    <a:pt x="206" y="318"/>
                    <a:pt x="206" y="318"/>
                  </a:cubicBezTo>
                  <a:cubicBezTo>
                    <a:pt x="206" y="325"/>
                    <a:pt x="206" y="325"/>
                    <a:pt x="206" y="325"/>
                  </a:cubicBezTo>
                  <a:cubicBezTo>
                    <a:pt x="199" y="325"/>
                    <a:pt x="199" y="325"/>
                    <a:pt x="199" y="325"/>
                  </a:cubicBezTo>
                  <a:moveTo>
                    <a:pt x="214" y="325"/>
                  </a:moveTo>
                  <a:cubicBezTo>
                    <a:pt x="214" y="318"/>
                    <a:pt x="214" y="318"/>
                    <a:pt x="214" y="318"/>
                  </a:cubicBezTo>
                  <a:cubicBezTo>
                    <a:pt x="221" y="318"/>
                    <a:pt x="221" y="318"/>
                    <a:pt x="221" y="318"/>
                  </a:cubicBezTo>
                  <a:cubicBezTo>
                    <a:pt x="221" y="325"/>
                    <a:pt x="221" y="325"/>
                    <a:pt x="221" y="325"/>
                  </a:cubicBezTo>
                  <a:cubicBezTo>
                    <a:pt x="214" y="325"/>
                    <a:pt x="214" y="325"/>
                    <a:pt x="214" y="325"/>
                  </a:cubicBezTo>
                  <a:moveTo>
                    <a:pt x="229" y="325"/>
                  </a:moveTo>
                  <a:cubicBezTo>
                    <a:pt x="229" y="318"/>
                    <a:pt x="229" y="318"/>
                    <a:pt x="229" y="318"/>
                  </a:cubicBezTo>
                  <a:cubicBezTo>
                    <a:pt x="236" y="318"/>
                    <a:pt x="236" y="318"/>
                    <a:pt x="236" y="31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29" y="325"/>
                    <a:pt x="229" y="325"/>
                    <a:pt x="229" y="325"/>
                  </a:cubicBezTo>
                  <a:moveTo>
                    <a:pt x="244" y="325"/>
                  </a:moveTo>
                  <a:cubicBezTo>
                    <a:pt x="244" y="318"/>
                    <a:pt x="244" y="318"/>
                    <a:pt x="244" y="318"/>
                  </a:cubicBezTo>
                  <a:cubicBezTo>
                    <a:pt x="251" y="318"/>
                    <a:pt x="251" y="318"/>
                    <a:pt x="251" y="318"/>
                  </a:cubicBezTo>
                  <a:cubicBezTo>
                    <a:pt x="251" y="325"/>
                    <a:pt x="251" y="325"/>
                    <a:pt x="251" y="325"/>
                  </a:cubicBezTo>
                  <a:cubicBezTo>
                    <a:pt x="244" y="325"/>
                    <a:pt x="244" y="325"/>
                    <a:pt x="244" y="325"/>
                  </a:cubicBezTo>
                  <a:moveTo>
                    <a:pt x="258" y="325"/>
                  </a:moveTo>
                  <a:cubicBezTo>
                    <a:pt x="258" y="318"/>
                    <a:pt x="258" y="318"/>
                    <a:pt x="258" y="318"/>
                  </a:cubicBezTo>
                  <a:cubicBezTo>
                    <a:pt x="265" y="318"/>
                    <a:pt x="265" y="318"/>
                    <a:pt x="265" y="318"/>
                  </a:cubicBezTo>
                  <a:cubicBezTo>
                    <a:pt x="265" y="325"/>
                    <a:pt x="265" y="325"/>
                    <a:pt x="265" y="325"/>
                  </a:cubicBezTo>
                  <a:cubicBezTo>
                    <a:pt x="258" y="325"/>
                    <a:pt x="258" y="325"/>
                    <a:pt x="258" y="325"/>
                  </a:cubicBezTo>
                  <a:moveTo>
                    <a:pt x="273" y="325"/>
                  </a:moveTo>
                  <a:cubicBezTo>
                    <a:pt x="273" y="318"/>
                    <a:pt x="273" y="318"/>
                    <a:pt x="273" y="318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25"/>
                    <a:pt x="280" y="325"/>
                    <a:pt x="280" y="325"/>
                  </a:cubicBezTo>
                  <a:cubicBezTo>
                    <a:pt x="273" y="325"/>
                    <a:pt x="273" y="325"/>
                    <a:pt x="273" y="325"/>
                  </a:cubicBezTo>
                  <a:moveTo>
                    <a:pt x="288" y="325"/>
                  </a:moveTo>
                  <a:cubicBezTo>
                    <a:pt x="288" y="318"/>
                    <a:pt x="288" y="318"/>
                    <a:pt x="288" y="318"/>
                  </a:cubicBezTo>
                  <a:cubicBezTo>
                    <a:pt x="295" y="318"/>
                    <a:pt x="295" y="318"/>
                    <a:pt x="295" y="318"/>
                  </a:cubicBezTo>
                  <a:cubicBezTo>
                    <a:pt x="295" y="325"/>
                    <a:pt x="295" y="325"/>
                    <a:pt x="295" y="325"/>
                  </a:cubicBezTo>
                  <a:cubicBezTo>
                    <a:pt x="288" y="325"/>
                    <a:pt x="288" y="325"/>
                    <a:pt x="288" y="325"/>
                  </a:cubicBezTo>
                  <a:moveTo>
                    <a:pt x="303" y="325"/>
                  </a:moveTo>
                  <a:cubicBezTo>
                    <a:pt x="303" y="318"/>
                    <a:pt x="303" y="318"/>
                    <a:pt x="303" y="318"/>
                  </a:cubicBezTo>
                  <a:cubicBezTo>
                    <a:pt x="310" y="318"/>
                    <a:pt x="310" y="318"/>
                    <a:pt x="310" y="318"/>
                  </a:cubicBezTo>
                  <a:cubicBezTo>
                    <a:pt x="310" y="325"/>
                    <a:pt x="310" y="325"/>
                    <a:pt x="310" y="325"/>
                  </a:cubicBezTo>
                  <a:cubicBezTo>
                    <a:pt x="303" y="325"/>
                    <a:pt x="303" y="325"/>
                    <a:pt x="303" y="325"/>
                  </a:cubicBezTo>
                  <a:moveTo>
                    <a:pt x="317" y="325"/>
                  </a:moveTo>
                  <a:cubicBezTo>
                    <a:pt x="317" y="318"/>
                    <a:pt x="317" y="318"/>
                    <a:pt x="317" y="318"/>
                  </a:cubicBezTo>
                  <a:cubicBezTo>
                    <a:pt x="324" y="318"/>
                    <a:pt x="324" y="318"/>
                    <a:pt x="324" y="318"/>
                  </a:cubicBezTo>
                  <a:cubicBezTo>
                    <a:pt x="324" y="325"/>
                    <a:pt x="324" y="325"/>
                    <a:pt x="324" y="325"/>
                  </a:cubicBezTo>
                  <a:cubicBezTo>
                    <a:pt x="317" y="325"/>
                    <a:pt x="317" y="325"/>
                    <a:pt x="317" y="325"/>
                  </a:cubicBezTo>
                  <a:moveTo>
                    <a:pt x="332" y="325"/>
                  </a:moveTo>
                  <a:cubicBezTo>
                    <a:pt x="332" y="318"/>
                    <a:pt x="332" y="318"/>
                    <a:pt x="332" y="318"/>
                  </a:cubicBezTo>
                  <a:cubicBezTo>
                    <a:pt x="339" y="318"/>
                    <a:pt x="339" y="318"/>
                    <a:pt x="339" y="318"/>
                  </a:cubicBezTo>
                  <a:cubicBezTo>
                    <a:pt x="339" y="325"/>
                    <a:pt x="339" y="325"/>
                    <a:pt x="339" y="325"/>
                  </a:cubicBezTo>
                  <a:cubicBezTo>
                    <a:pt x="332" y="325"/>
                    <a:pt x="332" y="325"/>
                    <a:pt x="332" y="325"/>
                  </a:cubicBezTo>
                  <a:moveTo>
                    <a:pt x="37" y="310"/>
                  </a:moveTo>
                  <a:cubicBezTo>
                    <a:pt x="37" y="303"/>
                    <a:pt x="37" y="303"/>
                    <a:pt x="37" y="303"/>
                  </a:cubicBezTo>
                  <a:cubicBezTo>
                    <a:pt x="44" y="303"/>
                    <a:pt x="44" y="303"/>
                    <a:pt x="44" y="303"/>
                  </a:cubicBezTo>
                  <a:cubicBezTo>
                    <a:pt x="44" y="310"/>
                    <a:pt x="44" y="310"/>
                    <a:pt x="44" y="310"/>
                  </a:cubicBezTo>
                  <a:cubicBezTo>
                    <a:pt x="37" y="310"/>
                    <a:pt x="37" y="310"/>
                    <a:pt x="37" y="310"/>
                  </a:cubicBezTo>
                  <a:moveTo>
                    <a:pt x="52" y="310"/>
                  </a:moveTo>
                  <a:cubicBezTo>
                    <a:pt x="52" y="303"/>
                    <a:pt x="52" y="303"/>
                    <a:pt x="52" y="303"/>
                  </a:cubicBezTo>
                  <a:cubicBezTo>
                    <a:pt x="59" y="303"/>
                    <a:pt x="59" y="303"/>
                    <a:pt x="59" y="303"/>
                  </a:cubicBezTo>
                  <a:cubicBezTo>
                    <a:pt x="59" y="310"/>
                    <a:pt x="59" y="310"/>
                    <a:pt x="59" y="310"/>
                  </a:cubicBezTo>
                  <a:cubicBezTo>
                    <a:pt x="52" y="310"/>
                    <a:pt x="52" y="310"/>
                    <a:pt x="52" y="310"/>
                  </a:cubicBezTo>
                  <a:moveTo>
                    <a:pt x="67" y="310"/>
                  </a:moveTo>
                  <a:cubicBezTo>
                    <a:pt x="67" y="303"/>
                    <a:pt x="67" y="303"/>
                    <a:pt x="67" y="303"/>
                  </a:cubicBezTo>
                  <a:cubicBezTo>
                    <a:pt x="74" y="303"/>
                    <a:pt x="74" y="303"/>
                    <a:pt x="74" y="303"/>
                  </a:cubicBezTo>
                  <a:cubicBezTo>
                    <a:pt x="74" y="310"/>
                    <a:pt x="74" y="310"/>
                    <a:pt x="74" y="310"/>
                  </a:cubicBezTo>
                  <a:cubicBezTo>
                    <a:pt x="67" y="310"/>
                    <a:pt x="67" y="310"/>
                    <a:pt x="67" y="310"/>
                  </a:cubicBezTo>
                  <a:moveTo>
                    <a:pt x="81" y="310"/>
                  </a:moveTo>
                  <a:cubicBezTo>
                    <a:pt x="81" y="303"/>
                    <a:pt x="81" y="303"/>
                    <a:pt x="81" y="303"/>
                  </a:cubicBezTo>
                  <a:cubicBezTo>
                    <a:pt x="88" y="303"/>
                    <a:pt x="88" y="303"/>
                    <a:pt x="88" y="303"/>
                  </a:cubicBezTo>
                  <a:cubicBezTo>
                    <a:pt x="88" y="310"/>
                    <a:pt x="88" y="310"/>
                    <a:pt x="88" y="310"/>
                  </a:cubicBezTo>
                  <a:cubicBezTo>
                    <a:pt x="81" y="310"/>
                    <a:pt x="81" y="310"/>
                    <a:pt x="81" y="310"/>
                  </a:cubicBezTo>
                  <a:moveTo>
                    <a:pt x="96" y="310"/>
                  </a:moveTo>
                  <a:cubicBezTo>
                    <a:pt x="96" y="303"/>
                    <a:pt x="96" y="303"/>
                    <a:pt x="96" y="303"/>
                  </a:cubicBezTo>
                  <a:cubicBezTo>
                    <a:pt x="103" y="303"/>
                    <a:pt x="103" y="303"/>
                    <a:pt x="103" y="303"/>
                  </a:cubicBezTo>
                  <a:cubicBezTo>
                    <a:pt x="103" y="310"/>
                    <a:pt x="103" y="310"/>
                    <a:pt x="103" y="310"/>
                  </a:cubicBezTo>
                  <a:cubicBezTo>
                    <a:pt x="96" y="310"/>
                    <a:pt x="96" y="310"/>
                    <a:pt x="96" y="310"/>
                  </a:cubicBezTo>
                  <a:moveTo>
                    <a:pt x="111" y="310"/>
                  </a:moveTo>
                  <a:cubicBezTo>
                    <a:pt x="111" y="303"/>
                    <a:pt x="111" y="303"/>
                    <a:pt x="111" y="303"/>
                  </a:cubicBezTo>
                  <a:cubicBezTo>
                    <a:pt x="118" y="303"/>
                    <a:pt x="118" y="303"/>
                    <a:pt x="118" y="303"/>
                  </a:cubicBezTo>
                  <a:cubicBezTo>
                    <a:pt x="118" y="310"/>
                    <a:pt x="118" y="310"/>
                    <a:pt x="118" y="310"/>
                  </a:cubicBezTo>
                  <a:cubicBezTo>
                    <a:pt x="111" y="310"/>
                    <a:pt x="111" y="310"/>
                    <a:pt x="111" y="310"/>
                  </a:cubicBezTo>
                  <a:moveTo>
                    <a:pt x="126" y="310"/>
                  </a:moveTo>
                  <a:cubicBezTo>
                    <a:pt x="126" y="303"/>
                    <a:pt x="126" y="303"/>
                    <a:pt x="126" y="303"/>
                  </a:cubicBezTo>
                  <a:cubicBezTo>
                    <a:pt x="133" y="303"/>
                    <a:pt x="133" y="303"/>
                    <a:pt x="133" y="303"/>
                  </a:cubicBezTo>
                  <a:cubicBezTo>
                    <a:pt x="133" y="310"/>
                    <a:pt x="133" y="310"/>
                    <a:pt x="133" y="310"/>
                  </a:cubicBezTo>
                  <a:cubicBezTo>
                    <a:pt x="126" y="310"/>
                    <a:pt x="126" y="310"/>
                    <a:pt x="126" y="310"/>
                  </a:cubicBezTo>
                  <a:moveTo>
                    <a:pt x="140" y="310"/>
                  </a:moveTo>
                  <a:cubicBezTo>
                    <a:pt x="140" y="303"/>
                    <a:pt x="140" y="303"/>
                    <a:pt x="140" y="303"/>
                  </a:cubicBezTo>
                  <a:cubicBezTo>
                    <a:pt x="147" y="303"/>
                    <a:pt x="147" y="303"/>
                    <a:pt x="147" y="303"/>
                  </a:cubicBezTo>
                  <a:cubicBezTo>
                    <a:pt x="147" y="310"/>
                    <a:pt x="147" y="310"/>
                    <a:pt x="147" y="310"/>
                  </a:cubicBezTo>
                  <a:cubicBezTo>
                    <a:pt x="140" y="310"/>
                    <a:pt x="140" y="310"/>
                    <a:pt x="140" y="310"/>
                  </a:cubicBezTo>
                  <a:moveTo>
                    <a:pt x="155" y="310"/>
                  </a:moveTo>
                  <a:cubicBezTo>
                    <a:pt x="155" y="303"/>
                    <a:pt x="155" y="303"/>
                    <a:pt x="155" y="303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10"/>
                    <a:pt x="162" y="310"/>
                    <a:pt x="162" y="310"/>
                  </a:cubicBezTo>
                  <a:cubicBezTo>
                    <a:pt x="155" y="310"/>
                    <a:pt x="155" y="310"/>
                    <a:pt x="155" y="310"/>
                  </a:cubicBezTo>
                  <a:moveTo>
                    <a:pt x="170" y="310"/>
                  </a:moveTo>
                  <a:cubicBezTo>
                    <a:pt x="170" y="303"/>
                    <a:pt x="170" y="303"/>
                    <a:pt x="170" y="303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77" y="310"/>
                    <a:pt x="177" y="310"/>
                    <a:pt x="177" y="310"/>
                  </a:cubicBezTo>
                  <a:cubicBezTo>
                    <a:pt x="170" y="310"/>
                    <a:pt x="170" y="310"/>
                    <a:pt x="170" y="310"/>
                  </a:cubicBezTo>
                  <a:moveTo>
                    <a:pt x="185" y="310"/>
                  </a:moveTo>
                  <a:cubicBezTo>
                    <a:pt x="185" y="303"/>
                    <a:pt x="185" y="303"/>
                    <a:pt x="185" y="303"/>
                  </a:cubicBezTo>
                  <a:cubicBezTo>
                    <a:pt x="192" y="303"/>
                    <a:pt x="192" y="303"/>
                    <a:pt x="192" y="303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5" y="310"/>
                    <a:pt x="185" y="310"/>
                    <a:pt x="185" y="310"/>
                  </a:cubicBezTo>
                  <a:moveTo>
                    <a:pt x="199" y="310"/>
                  </a:moveTo>
                  <a:cubicBezTo>
                    <a:pt x="199" y="303"/>
                    <a:pt x="199" y="303"/>
                    <a:pt x="199" y="303"/>
                  </a:cubicBezTo>
                  <a:cubicBezTo>
                    <a:pt x="206" y="303"/>
                    <a:pt x="206" y="303"/>
                    <a:pt x="206" y="303"/>
                  </a:cubicBezTo>
                  <a:cubicBezTo>
                    <a:pt x="206" y="310"/>
                    <a:pt x="206" y="310"/>
                    <a:pt x="206" y="310"/>
                  </a:cubicBezTo>
                  <a:cubicBezTo>
                    <a:pt x="199" y="310"/>
                    <a:pt x="199" y="310"/>
                    <a:pt x="199" y="310"/>
                  </a:cubicBezTo>
                  <a:moveTo>
                    <a:pt x="214" y="310"/>
                  </a:moveTo>
                  <a:cubicBezTo>
                    <a:pt x="214" y="303"/>
                    <a:pt x="214" y="303"/>
                    <a:pt x="214" y="303"/>
                  </a:cubicBezTo>
                  <a:cubicBezTo>
                    <a:pt x="221" y="303"/>
                    <a:pt x="221" y="303"/>
                    <a:pt x="221" y="303"/>
                  </a:cubicBezTo>
                  <a:cubicBezTo>
                    <a:pt x="221" y="310"/>
                    <a:pt x="221" y="310"/>
                    <a:pt x="221" y="310"/>
                  </a:cubicBezTo>
                  <a:cubicBezTo>
                    <a:pt x="214" y="310"/>
                    <a:pt x="214" y="310"/>
                    <a:pt x="214" y="310"/>
                  </a:cubicBezTo>
                  <a:moveTo>
                    <a:pt x="229" y="310"/>
                  </a:moveTo>
                  <a:cubicBezTo>
                    <a:pt x="229" y="303"/>
                    <a:pt x="229" y="303"/>
                    <a:pt x="229" y="303"/>
                  </a:cubicBezTo>
                  <a:cubicBezTo>
                    <a:pt x="236" y="303"/>
                    <a:pt x="236" y="303"/>
                    <a:pt x="236" y="303"/>
                  </a:cubicBezTo>
                  <a:cubicBezTo>
                    <a:pt x="236" y="310"/>
                    <a:pt x="236" y="310"/>
                    <a:pt x="236" y="310"/>
                  </a:cubicBezTo>
                  <a:cubicBezTo>
                    <a:pt x="229" y="310"/>
                    <a:pt x="229" y="310"/>
                    <a:pt x="229" y="310"/>
                  </a:cubicBezTo>
                  <a:moveTo>
                    <a:pt x="244" y="310"/>
                  </a:moveTo>
                  <a:cubicBezTo>
                    <a:pt x="244" y="303"/>
                    <a:pt x="244" y="303"/>
                    <a:pt x="244" y="303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1" y="310"/>
                    <a:pt x="251" y="310"/>
                    <a:pt x="251" y="310"/>
                  </a:cubicBezTo>
                  <a:cubicBezTo>
                    <a:pt x="244" y="310"/>
                    <a:pt x="244" y="310"/>
                    <a:pt x="244" y="310"/>
                  </a:cubicBezTo>
                  <a:moveTo>
                    <a:pt x="258" y="310"/>
                  </a:moveTo>
                  <a:cubicBezTo>
                    <a:pt x="258" y="303"/>
                    <a:pt x="258" y="303"/>
                    <a:pt x="258" y="303"/>
                  </a:cubicBezTo>
                  <a:cubicBezTo>
                    <a:pt x="265" y="303"/>
                    <a:pt x="265" y="303"/>
                    <a:pt x="265" y="303"/>
                  </a:cubicBezTo>
                  <a:cubicBezTo>
                    <a:pt x="265" y="310"/>
                    <a:pt x="265" y="310"/>
                    <a:pt x="265" y="310"/>
                  </a:cubicBezTo>
                  <a:cubicBezTo>
                    <a:pt x="258" y="310"/>
                    <a:pt x="258" y="310"/>
                    <a:pt x="258" y="310"/>
                  </a:cubicBezTo>
                  <a:moveTo>
                    <a:pt x="273" y="310"/>
                  </a:moveTo>
                  <a:cubicBezTo>
                    <a:pt x="273" y="303"/>
                    <a:pt x="273" y="303"/>
                    <a:pt x="273" y="303"/>
                  </a:cubicBezTo>
                  <a:cubicBezTo>
                    <a:pt x="280" y="303"/>
                    <a:pt x="280" y="303"/>
                    <a:pt x="280" y="303"/>
                  </a:cubicBezTo>
                  <a:cubicBezTo>
                    <a:pt x="280" y="310"/>
                    <a:pt x="280" y="310"/>
                    <a:pt x="280" y="310"/>
                  </a:cubicBezTo>
                  <a:cubicBezTo>
                    <a:pt x="273" y="310"/>
                    <a:pt x="273" y="310"/>
                    <a:pt x="273" y="310"/>
                  </a:cubicBezTo>
                  <a:moveTo>
                    <a:pt x="288" y="310"/>
                  </a:moveTo>
                  <a:cubicBezTo>
                    <a:pt x="288" y="303"/>
                    <a:pt x="288" y="303"/>
                    <a:pt x="288" y="303"/>
                  </a:cubicBezTo>
                  <a:cubicBezTo>
                    <a:pt x="295" y="303"/>
                    <a:pt x="295" y="303"/>
                    <a:pt x="295" y="303"/>
                  </a:cubicBezTo>
                  <a:cubicBezTo>
                    <a:pt x="295" y="310"/>
                    <a:pt x="295" y="310"/>
                    <a:pt x="295" y="310"/>
                  </a:cubicBezTo>
                  <a:cubicBezTo>
                    <a:pt x="288" y="310"/>
                    <a:pt x="288" y="310"/>
                    <a:pt x="288" y="310"/>
                  </a:cubicBezTo>
                  <a:moveTo>
                    <a:pt x="303" y="310"/>
                  </a:moveTo>
                  <a:cubicBezTo>
                    <a:pt x="303" y="303"/>
                    <a:pt x="303" y="303"/>
                    <a:pt x="303" y="303"/>
                  </a:cubicBezTo>
                  <a:cubicBezTo>
                    <a:pt x="310" y="303"/>
                    <a:pt x="310" y="303"/>
                    <a:pt x="310" y="303"/>
                  </a:cubicBezTo>
                  <a:cubicBezTo>
                    <a:pt x="310" y="310"/>
                    <a:pt x="310" y="310"/>
                    <a:pt x="310" y="310"/>
                  </a:cubicBezTo>
                  <a:cubicBezTo>
                    <a:pt x="303" y="310"/>
                    <a:pt x="303" y="310"/>
                    <a:pt x="303" y="310"/>
                  </a:cubicBezTo>
                  <a:moveTo>
                    <a:pt x="317" y="310"/>
                  </a:moveTo>
                  <a:cubicBezTo>
                    <a:pt x="317" y="303"/>
                    <a:pt x="317" y="303"/>
                    <a:pt x="317" y="303"/>
                  </a:cubicBezTo>
                  <a:cubicBezTo>
                    <a:pt x="324" y="303"/>
                    <a:pt x="324" y="303"/>
                    <a:pt x="324" y="303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17" y="310"/>
                    <a:pt x="317" y="310"/>
                    <a:pt x="317" y="310"/>
                  </a:cubicBezTo>
                  <a:moveTo>
                    <a:pt x="332" y="310"/>
                  </a:moveTo>
                  <a:cubicBezTo>
                    <a:pt x="332" y="303"/>
                    <a:pt x="332" y="303"/>
                    <a:pt x="332" y="303"/>
                  </a:cubicBezTo>
                  <a:cubicBezTo>
                    <a:pt x="339" y="303"/>
                    <a:pt x="339" y="303"/>
                    <a:pt x="339" y="303"/>
                  </a:cubicBezTo>
                  <a:cubicBezTo>
                    <a:pt x="339" y="310"/>
                    <a:pt x="339" y="310"/>
                    <a:pt x="339" y="310"/>
                  </a:cubicBezTo>
                  <a:cubicBezTo>
                    <a:pt x="332" y="310"/>
                    <a:pt x="332" y="310"/>
                    <a:pt x="332" y="310"/>
                  </a:cubicBezTo>
                  <a:moveTo>
                    <a:pt x="347" y="310"/>
                  </a:moveTo>
                  <a:cubicBezTo>
                    <a:pt x="347" y="303"/>
                    <a:pt x="347" y="303"/>
                    <a:pt x="347" y="303"/>
                  </a:cubicBezTo>
                  <a:cubicBezTo>
                    <a:pt x="354" y="303"/>
                    <a:pt x="354" y="303"/>
                    <a:pt x="354" y="303"/>
                  </a:cubicBezTo>
                  <a:cubicBezTo>
                    <a:pt x="354" y="310"/>
                    <a:pt x="354" y="310"/>
                    <a:pt x="354" y="310"/>
                  </a:cubicBezTo>
                  <a:cubicBezTo>
                    <a:pt x="347" y="310"/>
                    <a:pt x="347" y="310"/>
                    <a:pt x="347" y="310"/>
                  </a:cubicBezTo>
                  <a:moveTo>
                    <a:pt x="37" y="295"/>
                  </a:moveTo>
                  <a:cubicBezTo>
                    <a:pt x="37" y="288"/>
                    <a:pt x="37" y="288"/>
                    <a:pt x="37" y="288"/>
                  </a:cubicBezTo>
                  <a:cubicBezTo>
                    <a:pt x="44" y="288"/>
                    <a:pt x="44" y="288"/>
                    <a:pt x="44" y="288"/>
                  </a:cubicBezTo>
                  <a:cubicBezTo>
                    <a:pt x="44" y="295"/>
                    <a:pt x="44" y="295"/>
                    <a:pt x="44" y="295"/>
                  </a:cubicBezTo>
                  <a:cubicBezTo>
                    <a:pt x="37" y="295"/>
                    <a:pt x="37" y="295"/>
                    <a:pt x="37" y="295"/>
                  </a:cubicBezTo>
                  <a:moveTo>
                    <a:pt x="52" y="295"/>
                  </a:moveTo>
                  <a:cubicBezTo>
                    <a:pt x="52" y="288"/>
                    <a:pt x="52" y="288"/>
                    <a:pt x="52" y="288"/>
                  </a:cubicBezTo>
                  <a:cubicBezTo>
                    <a:pt x="59" y="288"/>
                    <a:pt x="59" y="288"/>
                    <a:pt x="59" y="288"/>
                  </a:cubicBezTo>
                  <a:cubicBezTo>
                    <a:pt x="59" y="295"/>
                    <a:pt x="59" y="295"/>
                    <a:pt x="59" y="295"/>
                  </a:cubicBezTo>
                  <a:cubicBezTo>
                    <a:pt x="52" y="295"/>
                    <a:pt x="52" y="295"/>
                    <a:pt x="52" y="295"/>
                  </a:cubicBezTo>
                  <a:moveTo>
                    <a:pt x="67" y="295"/>
                  </a:moveTo>
                  <a:cubicBezTo>
                    <a:pt x="67" y="288"/>
                    <a:pt x="67" y="288"/>
                    <a:pt x="67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95"/>
                    <a:pt x="74" y="295"/>
                    <a:pt x="74" y="295"/>
                  </a:cubicBezTo>
                  <a:cubicBezTo>
                    <a:pt x="67" y="295"/>
                    <a:pt x="67" y="295"/>
                    <a:pt x="67" y="295"/>
                  </a:cubicBezTo>
                  <a:moveTo>
                    <a:pt x="81" y="295"/>
                  </a:moveTo>
                  <a:cubicBezTo>
                    <a:pt x="81" y="288"/>
                    <a:pt x="81" y="288"/>
                    <a:pt x="81" y="288"/>
                  </a:cubicBezTo>
                  <a:cubicBezTo>
                    <a:pt x="88" y="288"/>
                    <a:pt x="88" y="288"/>
                    <a:pt x="88" y="288"/>
                  </a:cubicBezTo>
                  <a:cubicBezTo>
                    <a:pt x="88" y="295"/>
                    <a:pt x="88" y="295"/>
                    <a:pt x="88" y="295"/>
                  </a:cubicBezTo>
                  <a:cubicBezTo>
                    <a:pt x="81" y="295"/>
                    <a:pt x="81" y="295"/>
                    <a:pt x="81" y="295"/>
                  </a:cubicBezTo>
                  <a:moveTo>
                    <a:pt x="96" y="295"/>
                  </a:moveTo>
                  <a:cubicBezTo>
                    <a:pt x="96" y="288"/>
                    <a:pt x="96" y="288"/>
                    <a:pt x="96" y="288"/>
                  </a:cubicBezTo>
                  <a:cubicBezTo>
                    <a:pt x="103" y="288"/>
                    <a:pt x="103" y="288"/>
                    <a:pt x="103" y="288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96" y="295"/>
                    <a:pt x="96" y="295"/>
                    <a:pt x="96" y="295"/>
                  </a:cubicBezTo>
                  <a:moveTo>
                    <a:pt x="111" y="295"/>
                  </a:moveTo>
                  <a:cubicBezTo>
                    <a:pt x="111" y="288"/>
                    <a:pt x="111" y="288"/>
                    <a:pt x="111" y="288"/>
                  </a:cubicBezTo>
                  <a:cubicBezTo>
                    <a:pt x="118" y="288"/>
                    <a:pt x="118" y="288"/>
                    <a:pt x="118" y="288"/>
                  </a:cubicBezTo>
                  <a:cubicBezTo>
                    <a:pt x="118" y="295"/>
                    <a:pt x="118" y="295"/>
                    <a:pt x="118" y="295"/>
                  </a:cubicBezTo>
                  <a:cubicBezTo>
                    <a:pt x="111" y="295"/>
                    <a:pt x="111" y="295"/>
                    <a:pt x="111" y="295"/>
                  </a:cubicBezTo>
                  <a:moveTo>
                    <a:pt x="126" y="295"/>
                  </a:moveTo>
                  <a:cubicBezTo>
                    <a:pt x="126" y="288"/>
                    <a:pt x="126" y="288"/>
                    <a:pt x="126" y="288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33" y="295"/>
                    <a:pt x="133" y="295"/>
                    <a:pt x="133" y="295"/>
                  </a:cubicBezTo>
                  <a:cubicBezTo>
                    <a:pt x="126" y="295"/>
                    <a:pt x="126" y="295"/>
                    <a:pt x="126" y="295"/>
                  </a:cubicBezTo>
                  <a:moveTo>
                    <a:pt x="140" y="295"/>
                  </a:moveTo>
                  <a:cubicBezTo>
                    <a:pt x="140" y="288"/>
                    <a:pt x="140" y="288"/>
                    <a:pt x="140" y="288"/>
                  </a:cubicBezTo>
                  <a:cubicBezTo>
                    <a:pt x="147" y="288"/>
                    <a:pt x="147" y="288"/>
                    <a:pt x="147" y="288"/>
                  </a:cubicBezTo>
                  <a:cubicBezTo>
                    <a:pt x="147" y="295"/>
                    <a:pt x="147" y="295"/>
                    <a:pt x="147" y="295"/>
                  </a:cubicBezTo>
                  <a:cubicBezTo>
                    <a:pt x="140" y="295"/>
                    <a:pt x="140" y="295"/>
                    <a:pt x="140" y="295"/>
                  </a:cubicBezTo>
                  <a:moveTo>
                    <a:pt x="155" y="295"/>
                  </a:moveTo>
                  <a:cubicBezTo>
                    <a:pt x="155" y="288"/>
                    <a:pt x="155" y="288"/>
                    <a:pt x="155" y="288"/>
                  </a:cubicBezTo>
                  <a:cubicBezTo>
                    <a:pt x="162" y="288"/>
                    <a:pt x="162" y="288"/>
                    <a:pt x="162" y="288"/>
                  </a:cubicBezTo>
                  <a:cubicBezTo>
                    <a:pt x="162" y="295"/>
                    <a:pt x="162" y="295"/>
                    <a:pt x="162" y="295"/>
                  </a:cubicBezTo>
                  <a:cubicBezTo>
                    <a:pt x="155" y="295"/>
                    <a:pt x="155" y="295"/>
                    <a:pt x="155" y="295"/>
                  </a:cubicBezTo>
                  <a:moveTo>
                    <a:pt x="170" y="295"/>
                  </a:moveTo>
                  <a:cubicBezTo>
                    <a:pt x="170" y="288"/>
                    <a:pt x="170" y="288"/>
                    <a:pt x="170" y="288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177" y="295"/>
                    <a:pt x="177" y="295"/>
                    <a:pt x="177" y="295"/>
                  </a:cubicBezTo>
                  <a:cubicBezTo>
                    <a:pt x="170" y="295"/>
                    <a:pt x="170" y="295"/>
                    <a:pt x="170" y="295"/>
                  </a:cubicBezTo>
                  <a:moveTo>
                    <a:pt x="185" y="295"/>
                  </a:moveTo>
                  <a:cubicBezTo>
                    <a:pt x="185" y="288"/>
                    <a:pt x="185" y="288"/>
                    <a:pt x="18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295"/>
                    <a:pt x="192" y="295"/>
                    <a:pt x="192" y="295"/>
                  </a:cubicBezTo>
                  <a:cubicBezTo>
                    <a:pt x="185" y="295"/>
                    <a:pt x="185" y="295"/>
                    <a:pt x="185" y="295"/>
                  </a:cubicBezTo>
                  <a:moveTo>
                    <a:pt x="199" y="295"/>
                  </a:moveTo>
                  <a:cubicBezTo>
                    <a:pt x="199" y="288"/>
                    <a:pt x="199" y="288"/>
                    <a:pt x="199" y="288"/>
                  </a:cubicBezTo>
                  <a:cubicBezTo>
                    <a:pt x="206" y="288"/>
                    <a:pt x="206" y="288"/>
                    <a:pt x="206" y="288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199" y="295"/>
                    <a:pt x="199" y="295"/>
                    <a:pt x="199" y="295"/>
                  </a:cubicBezTo>
                  <a:moveTo>
                    <a:pt x="214" y="295"/>
                  </a:moveTo>
                  <a:cubicBezTo>
                    <a:pt x="214" y="288"/>
                    <a:pt x="214" y="288"/>
                    <a:pt x="214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95"/>
                    <a:pt x="221" y="295"/>
                    <a:pt x="221" y="295"/>
                  </a:cubicBezTo>
                  <a:cubicBezTo>
                    <a:pt x="214" y="295"/>
                    <a:pt x="214" y="295"/>
                    <a:pt x="214" y="295"/>
                  </a:cubicBezTo>
                  <a:moveTo>
                    <a:pt x="229" y="295"/>
                  </a:moveTo>
                  <a:cubicBezTo>
                    <a:pt x="229" y="288"/>
                    <a:pt x="229" y="288"/>
                    <a:pt x="229" y="288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29" y="295"/>
                    <a:pt x="229" y="295"/>
                    <a:pt x="229" y="295"/>
                  </a:cubicBezTo>
                  <a:moveTo>
                    <a:pt x="244" y="295"/>
                  </a:moveTo>
                  <a:cubicBezTo>
                    <a:pt x="244" y="288"/>
                    <a:pt x="244" y="288"/>
                    <a:pt x="244" y="288"/>
                  </a:cubicBezTo>
                  <a:cubicBezTo>
                    <a:pt x="251" y="288"/>
                    <a:pt x="251" y="288"/>
                    <a:pt x="251" y="288"/>
                  </a:cubicBezTo>
                  <a:cubicBezTo>
                    <a:pt x="251" y="295"/>
                    <a:pt x="251" y="295"/>
                    <a:pt x="251" y="295"/>
                  </a:cubicBezTo>
                  <a:cubicBezTo>
                    <a:pt x="244" y="295"/>
                    <a:pt x="244" y="295"/>
                    <a:pt x="244" y="295"/>
                  </a:cubicBezTo>
                  <a:moveTo>
                    <a:pt x="258" y="295"/>
                  </a:moveTo>
                  <a:cubicBezTo>
                    <a:pt x="258" y="288"/>
                    <a:pt x="258" y="288"/>
                    <a:pt x="258" y="288"/>
                  </a:cubicBezTo>
                  <a:cubicBezTo>
                    <a:pt x="265" y="288"/>
                    <a:pt x="265" y="288"/>
                    <a:pt x="265" y="288"/>
                  </a:cubicBezTo>
                  <a:cubicBezTo>
                    <a:pt x="265" y="295"/>
                    <a:pt x="265" y="295"/>
                    <a:pt x="265" y="295"/>
                  </a:cubicBezTo>
                  <a:cubicBezTo>
                    <a:pt x="258" y="295"/>
                    <a:pt x="258" y="295"/>
                    <a:pt x="258" y="295"/>
                  </a:cubicBezTo>
                  <a:moveTo>
                    <a:pt x="273" y="295"/>
                  </a:moveTo>
                  <a:cubicBezTo>
                    <a:pt x="273" y="288"/>
                    <a:pt x="273" y="288"/>
                    <a:pt x="273" y="288"/>
                  </a:cubicBezTo>
                  <a:cubicBezTo>
                    <a:pt x="280" y="288"/>
                    <a:pt x="280" y="288"/>
                    <a:pt x="280" y="288"/>
                  </a:cubicBezTo>
                  <a:cubicBezTo>
                    <a:pt x="280" y="295"/>
                    <a:pt x="280" y="295"/>
                    <a:pt x="280" y="295"/>
                  </a:cubicBezTo>
                  <a:cubicBezTo>
                    <a:pt x="273" y="295"/>
                    <a:pt x="273" y="295"/>
                    <a:pt x="273" y="295"/>
                  </a:cubicBezTo>
                  <a:moveTo>
                    <a:pt x="288" y="295"/>
                  </a:moveTo>
                  <a:cubicBezTo>
                    <a:pt x="288" y="288"/>
                    <a:pt x="288" y="288"/>
                    <a:pt x="288" y="288"/>
                  </a:cubicBezTo>
                  <a:cubicBezTo>
                    <a:pt x="295" y="288"/>
                    <a:pt x="295" y="288"/>
                    <a:pt x="295" y="288"/>
                  </a:cubicBezTo>
                  <a:cubicBezTo>
                    <a:pt x="295" y="295"/>
                    <a:pt x="295" y="295"/>
                    <a:pt x="295" y="295"/>
                  </a:cubicBezTo>
                  <a:cubicBezTo>
                    <a:pt x="288" y="295"/>
                    <a:pt x="288" y="295"/>
                    <a:pt x="288" y="295"/>
                  </a:cubicBezTo>
                  <a:moveTo>
                    <a:pt x="303" y="295"/>
                  </a:moveTo>
                  <a:cubicBezTo>
                    <a:pt x="303" y="288"/>
                    <a:pt x="303" y="288"/>
                    <a:pt x="303" y="288"/>
                  </a:cubicBezTo>
                  <a:cubicBezTo>
                    <a:pt x="310" y="288"/>
                    <a:pt x="310" y="288"/>
                    <a:pt x="310" y="288"/>
                  </a:cubicBezTo>
                  <a:cubicBezTo>
                    <a:pt x="310" y="295"/>
                    <a:pt x="310" y="295"/>
                    <a:pt x="310" y="295"/>
                  </a:cubicBezTo>
                  <a:cubicBezTo>
                    <a:pt x="303" y="295"/>
                    <a:pt x="303" y="295"/>
                    <a:pt x="303" y="295"/>
                  </a:cubicBezTo>
                  <a:moveTo>
                    <a:pt x="317" y="295"/>
                  </a:moveTo>
                  <a:cubicBezTo>
                    <a:pt x="317" y="288"/>
                    <a:pt x="317" y="288"/>
                    <a:pt x="317" y="288"/>
                  </a:cubicBezTo>
                  <a:cubicBezTo>
                    <a:pt x="324" y="288"/>
                    <a:pt x="324" y="288"/>
                    <a:pt x="324" y="288"/>
                  </a:cubicBezTo>
                  <a:cubicBezTo>
                    <a:pt x="324" y="295"/>
                    <a:pt x="324" y="295"/>
                    <a:pt x="324" y="295"/>
                  </a:cubicBezTo>
                  <a:cubicBezTo>
                    <a:pt x="317" y="295"/>
                    <a:pt x="317" y="295"/>
                    <a:pt x="317" y="295"/>
                  </a:cubicBezTo>
                  <a:moveTo>
                    <a:pt x="332" y="295"/>
                  </a:moveTo>
                  <a:cubicBezTo>
                    <a:pt x="332" y="288"/>
                    <a:pt x="332" y="288"/>
                    <a:pt x="332" y="288"/>
                  </a:cubicBezTo>
                  <a:cubicBezTo>
                    <a:pt x="339" y="288"/>
                    <a:pt x="339" y="288"/>
                    <a:pt x="339" y="288"/>
                  </a:cubicBezTo>
                  <a:cubicBezTo>
                    <a:pt x="339" y="295"/>
                    <a:pt x="339" y="295"/>
                    <a:pt x="339" y="295"/>
                  </a:cubicBezTo>
                  <a:cubicBezTo>
                    <a:pt x="332" y="295"/>
                    <a:pt x="332" y="295"/>
                    <a:pt x="332" y="295"/>
                  </a:cubicBezTo>
                  <a:moveTo>
                    <a:pt x="347" y="295"/>
                  </a:moveTo>
                  <a:cubicBezTo>
                    <a:pt x="347" y="288"/>
                    <a:pt x="347" y="288"/>
                    <a:pt x="347" y="288"/>
                  </a:cubicBezTo>
                  <a:cubicBezTo>
                    <a:pt x="354" y="288"/>
                    <a:pt x="354" y="288"/>
                    <a:pt x="354" y="288"/>
                  </a:cubicBezTo>
                  <a:cubicBezTo>
                    <a:pt x="354" y="295"/>
                    <a:pt x="354" y="295"/>
                    <a:pt x="354" y="295"/>
                  </a:cubicBezTo>
                  <a:cubicBezTo>
                    <a:pt x="347" y="295"/>
                    <a:pt x="347" y="295"/>
                    <a:pt x="347" y="295"/>
                  </a:cubicBezTo>
                  <a:moveTo>
                    <a:pt x="22" y="281"/>
                  </a:moveTo>
                  <a:cubicBezTo>
                    <a:pt x="22" y="274"/>
                    <a:pt x="22" y="274"/>
                    <a:pt x="22" y="274"/>
                  </a:cubicBezTo>
                  <a:cubicBezTo>
                    <a:pt x="29" y="274"/>
                    <a:pt x="29" y="274"/>
                    <a:pt x="29" y="274"/>
                  </a:cubicBezTo>
                  <a:cubicBezTo>
                    <a:pt x="29" y="281"/>
                    <a:pt x="29" y="281"/>
                    <a:pt x="29" y="281"/>
                  </a:cubicBezTo>
                  <a:cubicBezTo>
                    <a:pt x="22" y="281"/>
                    <a:pt x="22" y="281"/>
                    <a:pt x="22" y="281"/>
                  </a:cubicBezTo>
                  <a:moveTo>
                    <a:pt x="37" y="281"/>
                  </a:moveTo>
                  <a:cubicBezTo>
                    <a:pt x="37" y="274"/>
                    <a:pt x="37" y="274"/>
                    <a:pt x="37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81"/>
                    <a:pt x="44" y="281"/>
                    <a:pt x="44" y="281"/>
                  </a:cubicBezTo>
                  <a:cubicBezTo>
                    <a:pt x="37" y="281"/>
                    <a:pt x="37" y="281"/>
                    <a:pt x="37" y="281"/>
                  </a:cubicBezTo>
                  <a:moveTo>
                    <a:pt x="52" y="281"/>
                  </a:moveTo>
                  <a:cubicBezTo>
                    <a:pt x="52" y="274"/>
                    <a:pt x="52" y="274"/>
                    <a:pt x="52" y="274"/>
                  </a:cubicBezTo>
                  <a:cubicBezTo>
                    <a:pt x="59" y="274"/>
                    <a:pt x="59" y="274"/>
                    <a:pt x="59" y="274"/>
                  </a:cubicBezTo>
                  <a:cubicBezTo>
                    <a:pt x="59" y="281"/>
                    <a:pt x="59" y="281"/>
                    <a:pt x="59" y="281"/>
                  </a:cubicBezTo>
                  <a:cubicBezTo>
                    <a:pt x="52" y="281"/>
                    <a:pt x="52" y="281"/>
                    <a:pt x="52" y="281"/>
                  </a:cubicBezTo>
                  <a:moveTo>
                    <a:pt x="67" y="281"/>
                  </a:moveTo>
                  <a:cubicBezTo>
                    <a:pt x="67" y="274"/>
                    <a:pt x="67" y="274"/>
                    <a:pt x="67" y="274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67" y="281"/>
                    <a:pt x="67" y="281"/>
                    <a:pt x="67" y="281"/>
                  </a:cubicBezTo>
                  <a:moveTo>
                    <a:pt x="81" y="281"/>
                  </a:moveTo>
                  <a:cubicBezTo>
                    <a:pt x="81" y="274"/>
                    <a:pt x="81" y="274"/>
                    <a:pt x="81" y="274"/>
                  </a:cubicBezTo>
                  <a:cubicBezTo>
                    <a:pt x="88" y="274"/>
                    <a:pt x="88" y="274"/>
                    <a:pt x="88" y="274"/>
                  </a:cubicBezTo>
                  <a:cubicBezTo>
                    <a:pt x="88" y="281"/>
                    <a:pt x="88" y="281"/>
                    <a:pt x="88" y="281"/>
                  </a:cubicBezTo>
                  <a:cubicBezTo>
                    <a:pt x="81" y="281"/>
                    <a:pt x="81" y="281"/>
                    <a:pt x="81" y="281"/>
                  </a:cubicBezTo>
                  <a:moveTo>
                    <a:pt x="96" y="281"/>
                  </a:moveTo>
                  <a:cubicBezTo>
                    <a:pt x="96" y="274"/>
                    <a:pt x="96" y="274"/>
                    <a:pt x="96" y="274"/>
                  </a:cubicBezTo>
                  <a:cubicBezTo>
                    <a:pt x="103" y="274"/>
                    <a:pt x="103" y="274"/>
                    <a:pt x="103" y="274"/>
                  </a:cubicBezTo>
                  <a:cubicBezTo>
                    <a:pt x="103" y="281"/>
                    <a:pt x="103" y="281"/>
                    <a:pt x="103" y="281"/>
                  </a:cubicBezTo>
                  <a:cubicBezTo>
                    <a:pt x="96" y="281"/>
                    <a:pt x="96" y="281"/>
                    <a:pt x="96" y="281"/>
                  </a:cubicBezTo>
                  <a:moveTo>
                    <a:pt x="111" y="281"/>
                  </a:moveTo>
                  <a:cubicBezTo>
                    <a:pt x="111" y="274"/>
                    <a:pt x="111" y="274"/>
                    <a:pt x="111" y="274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111" y="281"/>
                    <a:pt x="111" y="281"/>
                    <a:pt x="111" y="281"/>
                  </a:cubicBezTo>
                  <a:moveTo>
                    <a:pt x="126" y="281"/>
                  </a:moveTo>
                  <a:cubicBezTo>
                    <a:pt x="126" y="274"/>
                    <a:pt x="126" y="274"/>
                    <a:pt x="126" y="274"/>
                  </a:cubicBezTo>
                  <a:cubicBezTo>
                    <a:pt x="133" y="274"/>
                    <a:pt x="133" y="274"/>
                    <a:pt x="133" y="274"/>
                  </a:cubicBezTo>
                  <a:cubicBezTo>
                    <a:pt x="133" y="281"/>
                    <a:pt x="133" y="281"/>
                    <a:pt x="133" y="281"/>
                  </a:cubicBezTo>
                  <a:cubicBezTo>
                    <a:pt x="126" y="281"/>
                    <a:pt x="126" y="281"/>
                    <a:pt x="126" y="281"/>
                  </a:cubicBezTo>
                  <a:moveTo>
                    <a:pt x="140" y="281"/>
                  </a:moveTo>
                  <a:cubicBezTo>
                    <a:pt x="140" y="274"/>
                    <a:pt x="140" y="274"/>
                    <a:pt x="140" y="274"/>
                  </a:cubicBezTo>
                  <a:cubicBezTo>
                    <a:pt x="147" y="274"/>
                    <a:pt x="147" y="274"/>
                    <a:pt x="147" y="274"/>
                  </a:cubicBezTo>
                  <a:cubicBezTo>
                    <a:pt x="147" y="281"/>
                    <a:pt x="147" y="281"/>
                    <a:pt x="147" y="281"/>
                  </a:cubicBezTo>
                  <a:cubicBezTo>
                    <a:pt x="140" y="281"/>
                    <a:pt x="140" y="281"/>
                    <a:pt x="140" y="281"/>
                  </a:cubicBezTo>
                  <a:moveTo>
                    <a:pt x="155" y="281"/>
                  </a:moveTo>
                  <a:cubicBezTo>
                    <a:pt x="155" y="274"/>
                    <a:pt x="155" y="274"/>
                    <a:pt x="155" y="274"/>
                  </a:cubicBezTo>
                  <a:cubicBezTo>
                    <a:pt x="162" y="274"/>
                    <a:pt x="162" y="274"/>
                    <a:pt x="162" y="274"/>
                  </a:cubicBezTo>
                  <a:cubicBezTo>
                    <a:pt x="162" y="281"/>
                    <a:pt x="162" y="281"/>
                    <a:pt x="162" y="281"/>
                  </a:cubicBezTo>
                  <a:cubicBezTo>
                    <a:pt x="155" y="281"/>
                    <a:pt x="155" y="281"/>
                    <a:pt x="155" y="281"/>
                  </a:cubicBezTo>
                  <a:moveTo>
                    <a:pt x="170" y="281"/>
                  </a:moveTo>
                  <a:cubicBezTo>
                    <a:pt x="170" y="274"/>
                    <a:pt x="170" y="274"/>
                    <a:pt x="170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81"/>
                    <a:pt x="177" y="281"/>
                    <a:pt x="177" y="281"/>
                  </a:cubicBezTo>
                  <a:cubicBezTo>
                    <a:pt x="170" y="281"/>
                    <a:pt x="170" y="281"/>
                    <a:pt x="170" y="281"/>
                  </a:cubicBezTo>
                  <a:moveTo>
                    <a:pt x="185" y="281"/>
                  </a:moveTo>
                  <a:cubicBezTo>
                    <a:pt x="185" y="274"/>
                    <a:pt x="185" y="274"/>
                    <a:pt x="185" y="274"/>
                  </a:cubicBezTo>
                  <a:cubicBezTo>
                    <a:pt x="192" y="274"/>
                    <a:pt x="192" y="274"/>
                    <a:pt x="192" y="274"/>
                  </a:cubicBezTo>
                  <a:cubicBezTo>
                    <a:pt x="192" y="281"/>
                    <a:pt x="192" y="281"/>
                    <a:pt x="192" y="281"/>
                  </a:cubicBezTo>
                  <a:cubicBezTo>
                    <a:pt x="185" y="281"/>
                    <a:pt x="185" y="281"/>
                    <a:pt x="185" y="281"/>
                  </a:cubicBezTo>
                  <a:moveTo>
                    <a:pt x="199" y="281"/>
                  </a:moveTo>
                  <a:cubicBezTo>
                    <a:pt x="199" y="274"/>
                    <a:pt x="199" y="274"/>
                    <a:pt x="199" y="274"/>
                  </a:cubicBezTo>
                  <a:cubicBezTo>
                    <a:pt x="206" y="274"/>
                    <a:pt x="206" y="274"/>
                    <a:pt x="206" y="274"/>
                  </a:cubicBezTo>
                  <a:cubicBezTo>
                    <a:pt x="206" y="281"/>
                    <a:pt x="206" y="281"/>
                    <a:pt x="206" y="281"/>
                  </a:cubicBezTo>
                  <a:cubicBezTo>
                    <a:pt x="199" y="281"/>
                    <a:pt x="199" y="281"/>
                    <a:pt x="199" y="281"/>
                  </a:cubicBezTo>
                  <a:moveTo>
                    <a:pt x="214" y="281"/>
                  </a:moveTo>
                  <a:cubicBezTo>
                    <a:pt x="214" y="274"/>
                    <a:pt x="214" y="274"/>
                    <a:pt x="214" y="274"/>
                  </a:cubicBezTo>
                  <a:cubicBezTo>
                    <a:pt x="221" y="274"/>
                    <a:pt x="221" y="274"/>
                    <a:pt x="221" y="274"/>
                  </a:cubicBezTo>
                  <a:cubicBezTo>
                    <a:pt x="221" y="281"/>
                    <a:pt x="221" y="281"/>
                    <a:pt x="221" y="281"/>
                  </a:cubicBezTo>
                  <a:cubicBezTo>
                    <a:pt x="214" y="281"/>
                    <a:pt x="214" y="281"/>
                    <a:pt x="214" y="281"/>
                  </a:cubicBezTo>
                  <a:moveTo>
                    <a:pt x="229" y="281"/>
                  </a:moveTo>
                  <a:cubicBezTo>
                    <a:pt x="229" y="274"/>
                    <a:pt x="229" y="274"/>
                    <a:pt x="229" y="274"/>
                  </a:cubicBezTo>
                  <a:cubicBezTo>
                    <a:pt x="236" y="274"/>
                    <a:pt x="236" y="274"/>
                    <a:pt x="236" y="274"/>
                  </a:cubicBezTo>
                  <a:cubicBezTo>
                    <a:pt x="236" y="281"/>
                    <a:pt x="236" y="281"/>
                    <a:pt x="236" y="281"/>
                  </a:cubicBezTo>
                  <a:cubicBezTo>
                    <a:pt x="229" y="281"/>
                    <a:pt x="229" y="281"/>
                    <a:pt x="229" y="281"/>
                  </a:cubicBezTo>
                  <a:moveTo>
                    <a:pt x="244" y="281"/>
                  </a:moveTo>
                  <a:cubicBezTo>
                    <a:pt x="244" y="274"/>
                    <a:pt x="244" y="274"/>
                    <a:pt x="244" y="274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81"/>
                    <a:pt x="251" y="281"/>
                    <a:pt x="251" y="281"/>
                  </a:cubicBezTo>
                  <a:cubicBezTo>
                    <a:pt x="244" y="281"/>
                    <a:pt x="244" y="281"/>
                    <a:pt x="244" y="281"/>
                  </a:cubicBezTo>
                  <a:moveTo>
                    <a:pt x="258" y="281"/>
                  </a:moveTo>
                  <a:cubicBezTo>
                    <a:pt x="258" y="274"/>
                    <a:pt x="258" y="274"/>
                    <a:pt x="258" y="274"/>
                  </a:cubicBezTo>
                  <a:cubicBezTo>
                    <a:pt x="265" y="274"/>
                    <a:pt x="265" y="274"/>
                    <a:pt x="265" y="274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58" y="281"/>
                    <a:pt x="258" y="281"/>
                    <a:pt x="258" y="281"/>
                  </a:cubicBezTo>
                  <a:moveTo>
                    <a:pt x="273" y="281"/>
                  </a:moveTo>
                  <a:cubicBezTo>
                    <a:pt x="273" y="274"/>
                    <a:pt x="273" y="274"/>
                    <a:pt x="273" y="274"/>
                  </a:cubicBezTo>
                  <a:cubicBezTo>
                    <a:pt x="280" y="274"/>
                    <a:pt x="280" y="274"/>
                    <a:pt x="280" y="274"/>
                  </a:cubicBezTo>
                  <a:cubicBezTo>
                    <a:pt x="280" y="281"/>
                    <a:pt x="280" y="281"/>
                    <a:pt x="280" y="281"/>
                  </a:cubicBezTo>
                  <a:cubicBezTo>
                    <a:pt x="273" y="281"/>
                    <a:pt x="273" y="281"/>
                    <a:pt x="273" y="281"/>
                  </a:cubicBezTo>
                  <a:moveTo>
                    <a:pt x="288" y="281"/>
                  </a:moveTo>
                  <a:cubicBezTo>
                    <a:pt x="288" y="274"/>
                    <a:pt x="288" y="274"/>
                    <a:pt x="288" y="274"/>
                  </a:cubicBezTo>
                  <a:cubicBezTo>
                    <a:pt x="295" y="274"/>
                    <a:pt x="295" y="274"/>
                    <a:pt x="295" y="274"/>
                  </a:cubicBezTo>
                  <a:cubicBezTo>
                    <a:pt x="295" y="281"/>
                    <a:pt x="295" y="281"/>
                    <a:pt x="295" y="281"/>
                  </a:cubicBezTo>
                  <a:cubicBezTo>
                    <a:pt x="288" y="281"/>
                    <a:pt x="288" y="281"/>
                    <a:pt x="288" y="281"/>
                  </a:cubicBezTo>
                  <a:moveTo>
                    <a:pt x="303" y="281"/>
                  </a:moveTo>
                  <a:cubicBezTo>
                    <a:pt x="303" y="274"/>
                    <a:pt x="303" y="274"/>
                    <a:pt x="303" y="274"/>
                  </a:cubicBezTo>
                  <a:cubicBezTo>
                    <a:pt x="310" y="274"/>
                    <a:pt x="310" y="274"/>
                    <a:pt x="310" y="274"/>
                  </a:cubicBezTo>
                  <a:cubicBezTo>
                    <a:pt x="310" y="281"/>
                    <a:pt x="310" y="281"/>
                    <a:pt x="310" y="281"/>
                  </a:cubicBezTo>
                  <a:cubicBezTo>
                    <a:pt x="303" y="281"/>
                    <a:pt x="303" y="281"/>
                    <a:pt x="303" y="281"/>
                  </a:cubicBezTo>
                  <a:moveTo>
                    <a:pt x="317" y="281"/>
                  </a:moveTo>
                  <a:cubicBezTo>
                    <a:pt x="317" y="274"/>
                    <a:pt x="317" y="274"/>
                    <a:pt x="317" y="274"/>
                  </a:cubicBezTo>
                  <a:cubicBezTo>
                    <a:pt x="324" y="274"/>
                    <a:pt x="324" y="274"/>
                    <a:pt x="324" y="274"/>
                  </a:cubicBezTo>
                  <a:cubicBezTo>
                    <a:pt x="324" y="281"/>
                    <a:pt x="324" y="281"/>
                    <a:pt x="324" y="281"/>
                  </a:cubicBezTo>
                  <a:cubicBezTo>
                    <a:pt x="317" y="281"/>
                    <a:pt x="317" y="281"/>
                    <a:pt x="317" y="281"/>
                  </a:cubicBezTo>
                  <a:moveTo>
                    <a:pt x="332" y="281"/>
                  </a:moveTo>
                  <a:cubicBezTo>
                    <a:pt x="332" y="274"/>
                    <a:pt x="332" y="274"/>
                    <a:pt x="332" y="274"/>
                  </a:cubicBezTo>
                  <a:cubicBezTo>
                    <a:pt x="339" y="274"/>
                    <a:pt x="339" y="274"/>
                    <a:pt x="339" y="274"/>
                  </a:cubicBezTo>
                  <a:cubicBezTo>
                    <a:pt x="339" y="281"/>
                    <a:pt x="339" y="281"/>
                    <a:pt x="339" y="281"/>
                  </a:cubicBezTo>
                  <a:cubicBezTo>
                    <a:pt x="332" y="281"/>
                    <a:pt x="332" y="281"/>
                    <a:pt x="332" y="281"/>
                  </a:cubicBezTo>
                  <a:moveTo>
                    <a:pt x="347" y="281"/>
                  </a:moveTo>
                  <a:cubicBezTo>
                    <a:pt x="347" y="274"/>
                    <a:pt x="347" y="274"/>
                    <a:pt x="347" y="274"/>
                  </a:cubicBezTo>
                  <a:cubicBezTo>
                    <a:pt x="354" y="274"/>
                    <a:pt x="354" y="274"/>
                    <a:pt x="354" y="274"/>
                  </a:cubicBezTo>
                  <a:cubicBezTo>
                    <a:pt x="354" y="281"/>
                    <a:pt x="354" y="281"/>
                    <a:pt x="354" y="281"/>
                  </a:cubicBezTo>
                  <a:cubicBezTo>
                    <a:pt x="347" y="281"/>
                    <a:pt x="347" y="281"/>
                    <a:pt x="347" y="281"/>
                  </a:cubicBezTo>
                  <a:moveTo>
                    <a:pt x="362" y="281"/>
                  </a:moveTo>
                  <a:cubicBezTo>
                    <a:pt x="362" y="274"/>
                    <a:pt x="362" y="274"/>
                    <a:pt x="362" y="274"/>
                  </a:cubicBezTo>
                  <a:cubicBezTo>
                    <a:pt x="369" y="274"/>
                    <a:pt x="369" y="274"/>
                    <a:pt x="369" y="274"/>
                  </a:cubicBezTo>
                  <a:cubicBezTo>
                    <a:pt x="369" y="281"/>
                    <a:pt x="369" y="281"/>
                    <a:pt x="369" y="281"/>
                  </a:cubicBezTo>
                  <a:cubicBezTo>
                    <a:pt x="362" y="281"/>
                    <a:pt x="362" y="281"/>
                    <a:pt x="362" y="281"/>
                  </a:cubicBezTo>
                  <a:moveTo>
                    <a:pt x="22" y="266"/>
                  </a:moveTo>
                  <a:cubicBezTo>
                    <a:pt x="22" y="259"/>
                    <a:pt x="22" y="259"/>
                    <a:pt x="22" y="259"/>
                  </a:cubicBezTo>
                  <a:cubicBezTo>
                    <a:pt x="29" y="259"/>
                    <a:pt x="29" y="259"/>
                    <a:pt x="29" y="259"/>
                  </a:cubicBezTo>
                  <a:cubicBezTo>
                    <a:pt x="29" y="266"/>
                    <a:pt x="29" y="266"/>
                    <a:pt x="29" y="266"/>
                  </a:cubicBezTo>
                  <a:cubicBezTo>
                    <a:pt x="22" y="266"/>
                    <a:pt x="22" y="266"/>
                    <a:pt x="22" y="266"/>
                  </a:cubicBezTo>
                  <a:moveTo>
                    <a:pt x="37" y="266"/>
                  </a:moveTo>
                  <a:cubicBezTo>
                    <a:pt x="37" y="259"/>
                    <a:pt x="37" y="259"/>
                    <a:pt x="37" y="259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37" y="266"/>
                    <a:pt x="37" y="266"/>
                    <a:pt x="37" y="266"/>
                  </a:cubicBezTo>
                  <a:moveTo>
                    <a:pt x="52" y="266"/>
                  </a:moveTo>
                  <a:cubicBezTo>
                    <a:pt x="52" y="259"/>
                    <a:pt x="52" y="259"/>
                    <a:pt x="52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2" y="266"/>
                    <a:pt x="52" y="266"/>
                    <a:pt x="52" y="266"/>
                  </a:cubicBezTo>
                  <a:moveTo>
                    <a:pt x="67" y="266"/>
                  </a:moveTo>
                  <a:cubicBezTo>
                    <a:pt x="67" y="259"/>
                    <a:pt x="67" y="259"/>
                    <a:pt x="67" y="259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67" y="266"/>
                    <a:pt x="67" y="266"/>
                    <a:pt x="67" y="266"/>
                  </a:cubicBezTo>
                  <a:moveTo>
                    <a:pt x="81" y="266"/>
                  </a:moveTo>
                  <a:cubicBezTo>
                    <a:pt x="81" y="259"/>
                    <a:pt x="81" y="259"/>
                    <a:pt x="81" y="259"/>
                  </a:cubicBezTo>
                  <a:cubicBezTo>
                    <a:pt x="88" y="259"/>
                    <a:pt x="88" y="259"/>
                    <a:pt x="88" y="259"/>
                  </a:cubicBezTo>
                  <a:cubicBezTo>
                    <a:pt x="88" y="266"/>
                    <a:pt x="88" y="266"/>
                    <a:pt x="88" y="266"/>
                  </a:cubicBezTo>
                  <a:cubicBezTo>
                    <a:pt x="81" y="266"/>
                    <a:pt x="81" y="266"/>
                    <a:pt x="81" y="266"/>
                  </a:cubicBezTo>
                  <a:moveTo>
                    <a:pt x="96" y="266"/>
                  </a:moveTo>
                  <a:cubicBezTo>
                    <a:pt x="96" y="259"/>
                    <a:pt x="96" y="259"/>
                    <a:pt x="96" y="259"/>
                  </a:cubicBezTo>
                  <a:cubicBezTo>
                    <a:pt x="103" y="259"/>
                    <a:pt x="103" y="259"/>
                    <a:pt x="103" y="259"/>
                  </a:cubicBezTo>
                  <a:cubicBezTo>
                    <a:pt x="103" y="266"/>
                    <a:pt x="103" y="266"/>
                    <a:pt x="103" y="266"/>
                  </a:cubicBezTo>
                  <a:cubicBezTo>
                    <a:pt x="96" y="266"/>
                    <a:pt x="96" y="266"/>
                    <a:pt x="96" y="266"/>
                  </a:cubicBezTo>
                  <a:moveTo>
                    <a:pt x="111" y="266"/>
                  </a:moveTo>
                  <a:cubicBezTo>
                    <a:pt x="111" y="259"/>
                    <a:pt x="111" y="259"/>
                    <a:pt x="111" y="259"/>
                  </a:cubicBezTo>
                  <a:cubicBezTo>
                    <a:pt x="118" y="259"/>
                    <a:pt x="118" y="259"/>
                    <a:pt x="118" y="259"/>
                  </a:cubicBezTo>
                  <a:cubicBezTo>
                    <a:pt x="118" y="266"/>
                    <a:pt x="118" y="266"/>
                    <a:pt x="118" y="266"/>
                  </a:cubicBezTo>
                  <a:cubicBezTo>
                    <a:pt x="111" y="266"/>
                    <a:pt x="111" y="266"/>
                    <a:pt x="111" y="266"/>
                  </a:cubicBezTo>
                  <a:moveTo>
                    <a:pt x="126" y="266"/>
                  </a:moveTo>
                  <a:cubicBezTo>
                    <a:pt x="126" y="259"/>
                    <a:pt x="126" y="259"/>
                    <a:pt x="126" y="259"/>
                  </a:cubicBezTo>
                  <a:cubicBezTo>
                    <a:pt x="133" y="259"/>
                    <a:pt x="133" y="259"/>
                    <a:pt x="133" y="259"/>
                  </a:cubicBezTo>
                  <a:cubicBezTo>
                    <a:pt x="133" y="266"/>
                    <a:pt x="133" y="266"/>
                    <a:pt x="133" y="266"/>
                  </a:cubicBezTo>
                  <a:cubicBezTo>
                    <a:pt x="126" y="266"/>
                    <a:pt x="126" y="266"/>
                    <a:pt x="126" y="266"/>
                  </a:cubicBezTo>
                  <a:moveTo>
                    <a:pt x="140" y="266"/>
                  </a:moveTo>
                  <a:cubicBezTo>
                    <a:pt x="140" y="259"/>
                    <a:pt x="140" y="259"/>
                    <a:pt x="140" y="259"/>
                  </a:cubicBezTo>
                  <a:cubicBezTo>
                    <a:pt x="147" y="259"/>
                    <a:pt x="147" y="259"/>
                    <a:pt x="147" y="259"/>
                  </a:cubicBezTo>
                  <a:cubicBezTo>
                    <a:pt x="147" y="266"/>
                    <a:pt x="147" y="266"/>
                    <a:pt x="147" y="266"/>
                  </a:cubicBezTo>
                  <a:cubicBezTo>
                    <a:pt x="140" y="266"/>
                    <a:pt x="140" y="266"/>
                    <a:pt x="140" y="266"/>
                  </a:cubicBezTo>
                  <a:moveTo>
                    <a:pt x="155" y="266"/>
                  </a:moveTo>
                  <a:cubicBezTo>
                    <a:pt x="155" y="259"/>
                    <a:pt x="155" y="259"/>
                    <a:pt x="155" y="259"/>
                  </a:cubicBezTo>
                  <a:cubicBezTo>
                    <a:pt x="162" y="259"/>
                    <a:pt x="162" y="259"/>
                    <a:pt x="162" y="259"/>
                  </a:cubicBezTo>
                  <a:cubicBezTo>
                    <a:pt x="162" y="266"/>
                    <a:pt x="162" y="266"/>
                    <a:pt x="162" y="266"/>
                  </a:cubicBezTo>
                  <a:cubicBezTo>
                    <a:pt x="155" y="266"/>
                    <a:pt x="155" y="266"/>
                    <a:pt x="155" y="266"/>
                  </a:cubicBezTo>
                  <a:moveTo>
                    <a:pt x="170" y="266"/>
                  </a:moveTo>
                  <a:cubicBezTo>
                    <a:pt x="170" y="259"/>
                    <a:pt x="170" y="259"/>
                    <a:pt x="170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266"/>
                    <a:pt x="177" y="266"/>
                    <a:pt x="177" y="266"/>
                  </a:cubicBezTo>
                  <a:cubicBezTo>
                    <a:pt x="170" y="266"/>
                    <a:pt x="170" y="266"/>
                    <a:pt x="170" y="266"/>
                  </a:cubicBezTo>
                  <a:moveTo>
                    <a:pt x="185" y="266"/>
                  </a:moveTo>
                  <a:cubicBezTo>
                    <a:pt x="185" y="259"/>
                    <a:pt x="185" y="259"/>
                    <a:pt x="185" y="259"/>
                  </a:cubicBezTo>
                  <a:cubicBezTo>
                    <a:pt x="192" y="259"/>
                    <a:pt x="192" y="259"/>
                    <a:pt x="192" y="259"/>
                  </a:cubicBezTo>
                  <a:cubicBezTo>
                    <a:pt x="192" y="266"/>
                    <a:pt x="192" y="266"/>
                    <a:pt x="192" y="266"/>
                  </a:cubicBezTo>
                  <a:cubicBezTo>
                    <a:pt x="185" y="266"/>
                    <a:pt x="185" y="266"/>
                    <a:pt x="185" y="266"/>
                  </a:cubicBezTo>
                  <a:moveTo>
                    <a:pt x="199" y="266"/>
                  </a:moveTo>
                  <a:cubicBezTo>
                    <a:pt x="199" y="259"/>
                    <a:pt x="199" y="259"/>
                    <a:pt x="199" y="259"/>
                  </a:cubicBezTo>
                  <a:cubicBezTo>
                    <a:pt x="206" y="259"/>
                    <a:pt x="206" y="259"/>
                    <a:pt x="206" y="259"/>
                  </a:cubicBezTo>
                  <a:cubicBezTo>
                    <a:pt x="206" y="266"/>
                    <a:pt x="206" y="266"/>
                    <a:pt x="206" y="266"/>
                  </a:cubicBezTo>
                  <a:cubicBezTo>
                    <a:pt x="199" y="266"/>
                    <a:pt x="199" y="266"/>
                    <a:pt x="199" y="266"/>
                  </a:cubicBezTo>
                  <a:moveTo>
                    <a:pt x="214" y="266"/>
                  </a:moveTo>
                  <a:cubicBezTo>
                    <a:pt x="214" y="259"/>
                    <a:pt x="214" y="259"/>
                    <a:pt x="214" y="259"/>
                  </a:cubicBezTo>
                  <a:cubicBezTo>
                    <a:pt x="221" y="259"/>
                    <a:pt x="221" y="259"/>
                    <a:pt x="221" y="259"/>
                  </a:cubicBezTo>
                  <a:cubicBezTo>
                    <a:pt x="221" y="266"/>
                    <a:pt x="221" y="266"/>
                    <a:pt x="221" y="266"/>
                  </a:cubicBezTo>
                  <a:cubicBezTo>
                    <a:pt x="214" y="266"/>
                    <a:pt x="214" y="266"/>
                    <a:pt x="214" y="266"/>
                  </a:cubicBezTo>
                  <a:moveTo>
                    <a:pt x="229" y="266"/>
                  </a:moveTo>
                  <a:cubicBezTo>
                    <a:pt x="229" y="259"/>
                    <a:pt x="229" y="259"/>
                    <a:pt x="229" y="259"/>
                  </a:cubicBezTo>
                  <a:cubicBezTo>
                    <a:pt x="236" y="259"/>
                    <a:pt x="236" y="259"/>
                    <a:pt x="236" y="259"/>
                  </a:cubicBezTo>
                  <a:cubicBezTo>
                    <a:pt x="236" y="266"/>
                    <a:pt x="236" y="266"/>
                    <a:pt x="236" y="266"/>
                  </a:cubicBezTo>
                  <a:cubicBezTo>
                    <a:pt x="229" y="266"/>
                    <a:pt x="229" y="266"/>
                    <a:pt x="229" y="266"/>
                  </a:cubicBezTo>
                  <a:moveTo>
                    <a:pt x="244" y="266"/>
                  </a:moveTo>
                  <a:cubicBezTo>
                    <a:pt x="244" y="259"/>
                    <a:pt x="244" y="259"/>
                    <a:pt x="244" y="259"/>
                  </a:cubicBezTo>
                  <a:cubicBezTo>
                    <a:pt x="251" y="259"/>
                    <a:pt x="251" y="259"/>
                    <a:pt x="251" y="259"/>
                  </a:cubicBezTo>
                  <a:cubicBezTo>
                    <a:pt x="251" y="266"/>
                    <a:pt x="251" y="266"/>
                    <a:pt x="251" y="266"/>
                  </a:cubicBezTo>
                  <a:cubicBezTo>
                    <a:pt x="244" y="266"/>
                    <a:pt x="244" y="266"/>
                    <a:pt x="244" y="266"/>
                  </a:cubicBezTo>
                  <a:moveTo>
                    <a:pt x="258" y="266"/>
                  </a:moveTo>
                  <a:cubicBezTo>
                    <a:pt x="258" y="259"/>
                    <a:pt x="258" y="259"/>
                    <a:pt x="258" y="259"/>
                  </a:cubicBezTo>
                  <a:cubicBezTo>
                    <a:pt x="265" y="259"/>
                    <a:pt x="265" y="259"/>
                    <a:pt x="265" y="259"/>
                  </a:cubicBezTo>
                  <a:cubicBezTo>
                    <a:pt x="265" y="266"/>
                    <a:pt x="265" y="266"/>
                    <a:pt x="265" y="266"/>
                  </a:cubicBezTo>
                  <a:cubicBezTo>
                    <a:pt x="258" y="266"/>
                    <a:pt x="258" y="266"/>
                    <a:pt x="258" y="266"/>
                  </a:cubicBezTo>
                  <a:moveTo>
                    <a:pt x="273" y="266"/>
                  </a:moveTo>
                  <a:cubicBezTo>
                    <a:pt x="273" y="259"/>
                    <a:pt x="273" y="259"/>
                    <a:pt x="273" y="259"/>
                  </a:cubicBezTo>
                  <a:cubicBezTo>
                    <a:pt x="280" y="259"/>
                    <a:pt x="280" y="259"/>
                    <a:pt x="280" y="259"/>
                  </a:cubicBezTo>
                  <a:cubicBezTo>
                    <a:pt x="280" y="266"/>
                    <a:pt x="280" y="266"/>
                    <a:pt x="280" y="266"/>
                  </a:cubicBezTo>
                  <a:cubicBezTo>
                    <a:pt x="273" y="266"/>
                    <a:pt x="273" y="266"/>
                    <a:pt x="273" y="266"/>
                  </a:cubicBezTo>
                  <a:moveTo>
                    <a:pt x="288" y="266"/>
                  </a:moveTo>
                  <a:cubicBezTo>
                    <a:pt x="288" y="259"/>
                    <a:pt x="288" y="259"/>
                    <a:pt x="288" y="259"/>
                  </a:cubicBezTo>
                  <a:cubicBezTo>
                    <a:pt x="295" y="259"/>
                    <a:pt x="295" y="259"/>
                    <a:pt x="295" y="259"/>
                  </a:cubicBezTo>
                  <a:cubicBezTo>
                    <a:pt x="295" y="266"/>
                    <a:pt x="295" y="266"/>
                    <a:pt x="295" y="266"/>
                  </a:cubicBezTo>
                  <a:cubicBezTo>
                    <a:pt x="288" y="266"/>
                    <a:pt x="288" y="266"/>
                    <a:pt x="288" y="266"/>
                  </a:cubicBezTo>
                  <a:moveTo>
                    <a:pt x="303" y="266"/>
                  </a:moveTo>
                  <a:cubicBezTo>
                    <a:pt x="303" y="259"/>
                    <a:pt x="303" y="259"/>
                    <a:pt x="303" y="259"/>
                  </a:cubicBezTo>
                  <a:cubicBezTo>
                    <a:pt x="310" y="259"/>
                    <a:pt x="310" y="259"/>
                    <a:pt x="310" y="259"/>
                  </a:cubicBezTo>
                  <a:cubicBezTo>
                    <a:pt x="310" y="266"/>
                    <a:pt x="310" y="266"/>
                    <a:pt x="310" y="266"/>
                  </a:cubicBezTo>
                  <a:cubicBezTo>
                    <a:pt x="303" y="266"/>
                    <a:pt x="303" y="266"/>
                    <a:pt x="303" y="266"/>
                  </a:cubicBezTo>
                  <a:moveTo>
                    <a:pt x="317" y="266"/>
                  </a:moveTo>
                  <a:cubicBezTo>
                    <a:pt x="317" y="259"/>
                    <a:pt x="317" y="259"/>
                    <a:pt x="317" y="259"/>
                  </a:cubicBezTo>
                  <a:cubicBezTo>
                    <a:pt x="324" y="259"/>
                    <a:pt x="324" y="259"/>
                    <a:pt x="324" y="259"/>
                  </a:cubicBezTo>
                  <a:cubicBezTo>
                    <a:pt x="324" y="266"/>
                    <a:pt x="324" y="266"/>
                    <a:pt x="324" y="266"/>
                  </a:cubicBezTo>
                  <a:cubicBezTo>
                    <a:pt x="317" y="266"/>
                    <a:pt x="317" y="266"/>
                    <a:pt x="317" y="266"/>
                  </a:cubicBezTo>
                  <a:moveTo>
                    <a:pt x="332" y="266"/>
                  </a:moveTo>
                  <a:cubicBezTo>
                    <a:pt x="332" y="259"/>
                    <a:pt x="332" y="259"/>
                    <a:pt x="332" y="259"/>
                  </a:cubicBezTo>
                  <a:cubicBezTo>
                    <a:pt x="339" y="259"/>
                    <a:pt x="339" y="259"/>
                    <a:pt x="339" y="259"/>
                  </a:cubicBezTo>
                  <a:cubicBezTo>
                    <a:pt x="339" y="266"/>
                    <a:pt x="339" y="266"/>
                    <a:pt x="339" y="266"/>
                  </a:cubicBezTo>
                  <a:cubicBezTo>
                    <a:pt x="332" y="266"/>
                    <a:pt x="332" y="266"/>
                    <a:pt x="332" y="266"/>
                  </a:cubicBezTo>
                  <a:moveTo>
                    <a:pt x="347" y="266"/>
                  </a:moveTo>
                  <a:cubicBezTo>
                    <a:pt x="347" y="259"/>
                    <a:pt x="347" y="259"/>
                    <a:pt x="347" y="259"/>
                  </a:cubicBezTo>
                  <a:cubicBezTo>
                    <a:pt x="354" y="259"/>
                    <a:pt x="354" y="259"/>
                    <a:pt x="354" y="259"/>
                  </a:cubicBezTo>
                  <a:cubicBezTo>
                    <a:pt x="354" y="266"/>
                    <a:pt x="354" y="266"/>
                    <a:pt x="354" y="266"/>
                  </a:cubicBezTo>
                  <a:cubicBezTo>
                    <a:pt x="347" y="266"/>
                    <a:pt x="347" y="266"/>
                    <a:pt x="347" y="266"/>
                  </a:cubicBezTo>
                  <a:moveTo>
                    <a:pt x="362" y="266"/>
                  </a:moveTo>
                  <a:cubicBezTo>
                    <a:pt x="362" y="259"/>
                    <a:pt x="362" y="259"/>
                    <a:pt x="362" y="259"/>
                  </a:cubicBezTo>
                  <a:cubicBezTo>
                    <a:pt x="369" y="259"/>
                    <a:pt x="369" y="259"/>
                    <a:pt x="369" y="259"/>
                  </a:cubicBezTo>
                  <a:cubicBezTo>
                    <a:pt x="369" y="266"/>
                    <a:pt x="369" y="266"/>
                    <a:pt x="369" y="266"/>
                  </a:cubicBezTo>
                  <a:cubicBezTo>
                    <a:pt x="362" y="266"/>
                    <a:pt x="362" y="266"/>
                    <a:pt x="362" y="266"/>
                  </a:cubicBezTo>
                  <a:moveTo>
                    <a:pt x="22" y="251"/>
                  </a:moveTo>
                  <a:cubicBezTo>
                    <a:pt x="22" y="244"/>
                    <a:pt x="22" y="244"/>
                    <a:pt x="22" y="244"/>
                  </a:cubicBezTo>
                  <a:cubicBezTo>
                    <a:pt x="29" y="244"/>
                    <a:pt x="29" y="244"/>
                    <a:pt x="29" y="244"/>
                  </a:cubicBezTo>
                  <a:cubicBezTo>
                    <a:pt x="29" y="251"/>
                    <a:pt x="29" y="251"/>
                    <a:pt x="29" y="251"/>
                  </a:cubicBezTo>
                  <a:cubicBezTo>
                    <a:pt x="22" y="251"/>
                    <a:pt x="22" y="251"/>
                    <a:pt x="22" y="251"/>
                  </a:cubicBezTo>
                  <a:moveTo>
                    <a:pt x="37" y="251"/>
                  </a:moveTo>
                  <a:cubicBezTo>
                    <a:pt x="37" y="244"/>
                    <a:pt x="37" y="244"/>
                    <a:pt x="37" y="244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44" y="251"/>
                    <a:pt x="44" y="251"/>
                    <a:pt x="44" y="251"/>
                  </a:cubicBezTo>
                  <a:cubicBezTo>
                    <a:pt x="37" y="251"/>
                    <a:pt x="37" y="251"/>
                    <a:pt x="37" y="251"/>
                  </a:cubicBezTo>
                  <a:moveTo>
                    <a:pt x="52" y="251"/>
                  </a:moveTo>
                  <a:cubicBezTo>
                    <a:pt x="52" y="244"/>
                    <a:pt x="52" y="244"/>
                    <a:pt x="52" y="244"/>
                  </a:cubicBezTo>
                  <a:cubicBezTo>
                    <a:pt x="59" y="244"/>
                    <a:pt x="59" y="244"/>
                    <a:pt x="59" y="244"/>
                  </a:cubicBezTo>
                  <a:cubicBezTo>
                    <a:pt x="59" y="251"/>
                    <a:pt x="59" y="251"/>
                    <a:pt x="59" y="251"/>
                  </a:cubicBezTo>
                  <a:cubicBezTo>
                    <a:pt x="52" y="251"/>
                    <a:pt x="52" y="251"/>
                    <a:pt x="52" y="251"/>
                  </a:cubicBezTo>
                  <a:moveTo>
                    <a:pt x="67" y="251"/>
                  </a:moveTo>
                  <a:cubicBezTo>
                    <a:pt x="67" y="244"/>
                    <a:pt x="67" y="244"/>
                    <a:pt x="67" y="244"/>
                  </a:cubicBezTo>
                  <a:cubicBezTo>
                    <a:pt x="74" y="244"/>
                    <a:pt x="74" y="244"/>
                    <a:pt x="74" y="244"/>
                  </a:cubicBezTo>
                  <a:cubicBezTo>
                    <a:pt x="74" y="251"/>
                    <a:pt x="74" y="251"/>
                    <a:pt x="74" y="251"/>
                  </a:cubicBezTo>
                  <a:cubicBezTo>
                    <a:pt x="67" y="251"/>
                    <a:pt x="67" y="251"/>
                    <a:pt x="67" y="251"/>
                  </a:cubicBezTo>
                  <a:moveTo>
                    <a:pt x="81" y="251"/>
                  </a:moveTo>
                  <a:cubicBezTo>
                    <a:pt x="81" y="244"/>
                    <a:pt x="81" y="244"/>
                    <a:pt x="81" y="244"/>
                  </a:cubicBezTo>
                  <a:cubicBezTo>
                    <a:pt x="88" y="244"/>
                    <a:pt x="88" y="244"/>
                    <a:pt x="88" y="244"/>
                  </a:cubicBezTo>
                  <a:cubicBezTo>
                    <a:pt x="88" y="251"/>
                    <a:pt x="88" y="251"/>
                    <a:pt x="88" y="251"/>
                  </a:cubicBezTo>
                  <a:cubicBezTo>
                    <a:pt x="81" y="251"/>
                    <a:pt x="81" y="251"/>
                    <a:pt x="81" y="251"/>
                  </a:cubicBezTo>
                  <a:moveTo>
                    <a:pt x="96" y="251"/>
                  </a:moveTo>
                  <a:cubicBezTo>
                    <a:pt x="96" y="244"/>
                    <a:pt x="96" y="244"/>
                    <a:pt x="96" y="244"/>
                  </a:cubicBezTo>
                  <a:cubicBezTo>
                    <a:pt x="103" y="244"/>
                    <a:pt x="103" y="244"/>
                    <a:pt x="103" y="244"/>
                  </a:cubicBezTo>
                  <a:cubicBezTo>
                    <a:pt x="103" y="251"/>
                    <a:pt x="103" y="251"/>
                    <a:pt x="103" y="251"/>
                  </a:cubicBezTo>
                  <a:cubicBezTo>
                    <a:pt x="96" y="251"/>
                    <a:pt x="96" y="251"/>
                    <a:pt x="96" y="251"/>
                  </a:cubicBezTo>
                  <a:moveTo>
                    <a:pt x="111" y="251"/>
                  </a:moveTo>
                  <a:cubicBezTo>
                    <a:pt x="111" y="244"/>
                    <a:pt x="111" y="244"/>
                    <a:pt x="111" y="244"/>
                  </a:cubicBezTo>
                  <a:cubicBezTo>
                    <a:pt x="118" y="244"/>
                    <a:pt x="118" y="244"/>
                    <a:pt x="118" y="244"/>
                  </a:cubicBezTo>
                  <a:cubicBezTo>
                    <a:pt x="118" y="251"/>
                    <a:pt x="118" y="251"/>
                    <a:pt x="118" y="251"/>
                  </a:cubicBezTo>
                  <a:cubicBezTo>
                    <a:pt x="111" y="251"/>
                    <a:pt x="111" y="251"/>
                    <a:pt x="111" y="251"/>
                  </a:cubicBezTo>
                  <a:moveTo>
                    <a:pt x="126" y="251"/>
                  </a:moveTo>
                  <a:cubicBezTo>
                    <a:pt x="126" y="244"/>
                    <a:pt x="126" y="244"/>
                    <a:pt x="126" y="244"/>
                  </a:cubicBezTo>
                  <a:cubicBezTo>
                    <a:pt x="133" y="244"/>
                    <a:pt x="133" y="244"/>
                    <a:pt x="133" y="244"/>
                  </a:cubicBezTo>
                  <a:cubicBezTo>
                    <a:pt x="133" y="251"/>
                    <a:pt x="133" y="251"/>
                    <a:pt x="133" y="251"/>
                  </a:cubicBezTo>
                  <a:cubicBezTo>
                    <a:pt x="126" y="251"/>
                    <a:pt x="126" y="251"/>
                    <a:pt x="126" y="251"/>
                  </a:cubicBezTo>
                  <a:moveTo>
                    <a:pt x="140" y="251"/>
                  </a:moveTo>
                  <a:cubicBezTo>
                    <a:pt x="140" y="244"/>
                    <a:pt x="140" y="244"/>
                    <a:pt x="140" y="244"/>
                  </a:cubicBezTo>
                  <a:cubicBezTo>
                    <a:pt x="147" y="244"/>
                    <a:pt x="147" y="244"/>
                    <a:pt x="147" y="244"/>
                  </a:cubicBezTo>
                  <a:cubicBezTo>
                    <a:pt x="147" y="251"/>
                    <a:pt x="147" y="251"/>
                    <a:pt x="147" y="251"/>
                  </a:cubicBezTo>
                  <a:cubicBezTo>
                    <a:pt x="140" y="251"/>
                    <a:pt x="140" y="251"/>
                    <a:pt x="140" y="251"/>
                  </a:cubicBezTo>
                  <a:moveTo>
                    <a:pt x="155" y="251"/>
                  </a:moveTo>
                  <a:cubicBezTo>
                    <a:pt x="155" y="244"/>
                    <a:pt x="155" y="244"/>
                    <a:pt x="155" y="244"/>
                  </a:cubicBezTo>
                  <a:cubicBezTo>
                    <a:pt x="162" y="244"/>
                    <a:pt x="162" y="244"/>
                    <a:pt x="162" y="244"/>
                  </a:cubicBezTo>
                  <a:cubicBezTo>
                    <a:pt x="162" y="251"/>
                    <a:pt x="162" y="251"/>
                    <a:pt x="162" y="251"/>
                  </a:cubicBezTo>
                  <a:cubicBezTo>
                    <a:pt x="155" y="251"/>
                    <a:pt x="155" y="251"/>
                    <a:pt x="155" y="251"/>
                  </a:cubicBezTo>
                  <a:moveTo>
                    <a:pt x="170" y="251"/>
                  </a:moveTo>
                  <a:cubicBezTo>
                    <a:pt x="170" y="244"/>
                    <a:pt x="170" y="244"/>
                    <a:pt x="170" y="244"/>
                  </a:cubicBezTo>
                  <a:cubicBezTo>
                    <a:pt x="177" y="244"/>
                    <a:pt x="177" y="244"/>
                    <a:pt x="177" y="244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0" y="251"/>
                    <a:pt x="170" y="251"/>
                    <a:pt x="170" y="251"/>
                  </a:cubicBezTo>
                  <a:moveTo>
                    <a:pt x="185" y="251"/>
                  </a:moveTo>
                  <a:cubicBezTo>
                    <a:pt x="185" y="244"/>
                    <a:pt x="185" y="244"/>
                    <a:pt x="185" y="244"/>
                  </a:cubicBezTo>
                  <a:cubicBezTo>
                    <a:pt x="192" y="244"/>
                    <a:pt x="192" y="244"/>
                    <a:pt x="192" y="244"/>
                  </a:cubicBezTo>
                  <a:cubicBezTo>
                    <a:pt x="192" y="251"/>
                    <a:pt x="192" y="251"/>
                    <a:pt x="192" y="251"/>
                  </a:cubicBezTo>
                  <a:cubicBezTo>
                    <a:pt x="185" y="251"/>
                    <a:pt x="185" y="251"/>
                    <a:pt x="185" y="251"/>
                  </a:cubicBezTo>
                  <a:moveTo>
                    <a:pt x="199" y="251"/>
                  </a:moveTo>
                  <a:cubicBezTo>
                    <a:pt x="199" y="244"/>
                    <a:pt x="199" y="244"/>
                    <a:pt x="199" y="244"/>
                  </a:cubicBezTo>
                  <a:cubicBezTo>
                    <a:pt x="206" y="244"/>
                    <a:pt x="206" y="244"/>
                    <a:pt x="206" y="244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199" y="251"/>
                    <a:pt x="199" y="251"/>
                    <a:pt x="199" y="251"/>
                  </a:cubicBezTo>
                  <a:moveTo>
                    <a:pt x="214" y="251"/>
                  </a:moveTo>
                  <a:cubicBezTo>
                    <a:pt x="214" y="244"/>
                    <a:pt x="214" y="244"/>
                    <a:pt x="214" y="244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21" y="251"/>
                    <a:pt x="221" y="251"/>
                    <a:pt x="221" y="251"/>
                  </a:cubicBezTo>
                  <a:cubicBezTo>
                    <a:pt x="214" y="251"/>
                    <a:pt x="214" y="251"/>
                    <a:pt x="214" y="251"/>
                  </a:cubicBezTo>
                  <a:moveTo>
                    <a:pt x="229" y="251"/>
                  </a:moveTo>
                  <a:cubicBezTo>
                    <a:pt x="229" y="244"/>
                    <a:pt x="229" y="244"/>
                    <a:pt x="229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51"/>
                    <a:pt x="236" y="251"/>
                    <a:pt x="236" y="251"/>
                  </a:cubicBezTo>
                  <a:cubicBezTo>
                    <a:pt x="229" y="251"/>
                    <a:pt x="229" y="251"/>
                    <a:pt x="229" y="251"/>
                  </a:cubicBezTo>
                  <a:moveTo>
                    <a:pt x="244" y="251"/>
                  </a:moveTo>
                  <a:cubicBezTo>
                    <a:pt x="244" y="244"/>
                    <a:pt x="244" y="244"/>
                    <a:pt x="244" y="244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1" y="251"/>
                    <a:pt x="251" y="251"/>
                    <a:pt x="251" y="251"/>
                  </a:cubicBezTo>
                  <a:cubicBezTo>
                    <a:pt x="244" y="251"/>
                    <a:pt x="244" y="251"/>
                    <a:pt x="244" y="251"/>
                  </a:cubicBezTo>
                  <a:moveTo>
                    <a:pt x="258" y="251"/>
                  </a:moveTo>
                  <a:cubicBezTo>
                    <a:pt x="258" y="244"/>
                    <a:pt x="258" y="244"/>
                    <a:pt x="258" y="244"/>
                  </a:cubicBezTo>
                  <a:cubicBezTo>
                    <a:pt x="265" y="244"/>
                    <a:pt x="265" y="244"/>
                    <a:pt x="265" y="244"/>
                  </a:cubicBezTo>
                  <a:cubicBezTo>
                    <a:pt x="265" y="251"/>
                    <a:pt x="265" y="251"/>
                    <a:pt x="265" y="251"/>
                  </a:cubicBezTo>
                  <a:cubicBezTo>
                    <a:pt x="258" y="251"/>
                    <a:pt x="258" y="251"/>
                    <a:pt x="258" y="251"/>
                  </a:cubicBezTo>
                  <a:moveTo>
                    <a:pt x="273" y="251"/>
                  </a:moveTo>
                  <a:cubicBezTo>
                    <a:pt x="273" y="244"/>
                    <a:pt x="273" y="244"/>
                    <a:pt x="273" y="244"/>
                  </a:cubicBezTo>
                  <a:cubicBezTo>
                    <a:pt x="280" y="244"/>
                    <a:pt x="280" y="244"/>
                    <a:pt x="280" y="244"/>
                  </a:cubicBezTo>
                  <a:cubicBezTo>
                    <a:pt x="280" y="251"/>
                    <a:pt x="280" y="251"/>
                    <a:pt x="280" y="251"/>
                  </a:cubicBezTo>
                  <a:cubicBezTo>
                    <a:pt x="273" y="251"/>
                    <a:pt x="273" y="251"/>
                    <a:pt x="273" y="251"/>
                  </a:cubicBezTo>
                  <a:moveTo>
                    <a:pt x="288" y="251"/>
                  </a:moveTo>
                  <a:cubicBezTo>
                    <a:pt x="288" y="244"/>
                    <a:pt x="288" y="244"/>
                    <a:pt x="288" y="244"/>
                  </a:cubicBezTo>
                  <a:cubicBezTo>
                    <a:pt x="295" y="244"/>
                    <a:pt x="295" y="244"/>
                    <a:pt x="295" y="244"/>
                  </a:cubicBezTo>
                  <a:cubicBezTo>
                    <a:pt x="295" y="251"/>
                    <a:pt x="295" y="251"/>
                    <a:pt x="295" y="251"/>
                  </a:cubicBezTo>
                  <a:cubicBezTo>
                    <a:pt x="288" y="251"/>
                    <a:pt x="288" y="251"/>
                    <a:pt x="288" y="251"/>
                  </a:cubicBezTo>
                  <a:moveTo>
                    <a:pt x="303" y="251"/>
                  </a:moveTo>
                  <a:cubicBezTo>
                    <a:pt x="303" y="244"/>
                    <a:pt x="303" y="244"/>
                    <a:pt x="303" y="244"/>
                  </a:cubicBezTo>
                  <a:cubicBezTo>
                    <a:pt x="310" y="244"/>
                    <a:pt x="310" y="244"/>
                    <a:pt x="310" y="244"/>
                  </a:cubicBezTo>
                  <a:cubicBezTo>
                    <a:pt x="310" y="251"/>
                    <a:pt x="310" y="251"/>
                    <a:pt x="310" y="251"/>
                  </a:cubicBezTo>
                  <a:cubicBezTo>
                    <a:pt x="303" y="251"/>
                    <a:pt x="303" y="251"/>
                    <a:pt x="303" y="251"/>
                  </a:cubicBezTo>
                  <a:moveTo>
                    <a:pt x="317" y="251"/>
                  </a:moveTo>
                  <a:cubicBezTo>
                    <a:pt x="317" y="244"/>
                    <a:pt x="317" y="244"/>
                    <a:pt x="317" y="244"/>
                  </a:cubicBezTo>
                  <a:cubicBezTo>
                    <a:pt x="324" y="244"/>
                    <a:pt x="324" y="244"/>
                    <a:pt x="324" y="244"/>
                  </a:cubicBezTo>
                  <a:cubicBezTo>
                    <a:pt x="324" y="251"/>
                    <a:pt x="324" y="251"/>
                    <a:pt x="324" y="251"/>
                  </a:cubicBezTo>
                  <a:cubicBezTo>
                    <a:pt x="317" y="251"/>
                    <a:pt x="317" y="251"/>
                    <a:pt x="317" y="251"/>
                  </a:cubicBezTo>
                  <a:moveTo>
                    <a:pt x="332" y="251"/>
                  </a:moveTo>
                  <a:cubicBezTo>
                    <a:pt x="332" y="244"/>
                    <a:pt x="332" y="244"/>
                    <a:pt x="332" y="244"/>
                  </a:cubicBezTo>
                  <a:cubicBezTo>
                    <a:pt x="339" y="244"/>
                    <a:pt x="339" y="244"/>
                    <a:pt x="339" y="244"/>
                  </a:cubicBezTo>
                  <a:cubicBezTo>
                    <a:pt x="339" y="251"/>
                    <a:pt x="339" y="251"/>
                    <a:pt x="339" y="251"/>
                  </a:cubicBezTo>
                  <a:cubicBezTo>
                    <a:pt x="332" y="251"/>
                    <a:pt x="332" y="251"/>
                    <a:pt x="332" y="251"/>
                  </a:cubicBezTo>
                  <a:moveTo>
                    <a:pt x="347" y="251"/>
                  </a:moveTo>
                  <a:cubicBezTo>
                    <a:pt x="347" y="244"/>
                    <a:pt x="347" y="244"/>
                    <a:pt x="347" y="244"/>
                  </a:cubicBezTo>
                  <a:cubicBezTo>
                    <a:pt x="354" y="244"/>
                    <a:pt x="354" y="244"/>
                    <a:pt x="354" y="244"/>
                  </a:cubicBezTo>
                  <a:cubicBezTo>
                    <a:pt x="354" y="251"/>
                    <a:pt x="354" y="251"/>
                    <a:pt x="354" y="251"/>
                  </a:cubicBezTo>
                  <a:cubicBezTo>
                    <a:pt x="347" y="251"/>
                    <a:pt x="347" y="251"/>
                    <a:pt x="347" y="251"/>
                  </a:cubicBezTo>
                  <a:moveTo>
                    <a:pt x="362" y="251"/>
                  </a:moveTo>
                  <a:cubicBezTo>
                    <a:pt x="362" y="244"/>
                    <a:pt x="362" y="244"/>
                    <a:pt x="362" y="244"/>
                  </a:cubicBezTo>
                  <a:cubicBezTo>
                    <a:pt x="369" y="244"/>
                    <a:pt x="369" y="244"/>
                    <a:pt x="369" y="244"/>
                  </a:cubicBezTo>
                  <a:cubicBezTo>
                    <a:pt x="369" y="251"/>
                    <a:pt x="369" y="251"/>
                    <a:pt x="369" y="251"/>
                  </a:cubicBezTo>
                  <a:cubicBezTo>
                    <a:pt x="362" y="251"/>
                    <a:pt x="362" y="251"/>
                    <a:pt x="362" y="251"/>
                  </a:cubicBezTo>
                  <a:moveTo>
                    <a:pt x="8" y="236"/>
                  </a:moveTo>
                  <a:cubicBezTo>
                    <a:pt x="8" y="229"/>
                    <a:pt x="8" y="229"/>
                    <a:pt x="8" y="229"/>
                  </a:cubicBezTo>
                  <a:cubicBezTo>
                    <a:pt x="15" y="229"/>
                    <a:pt x="15" y="229"/>
                    <a:pt x="15" y="229"/>
                  </a:cubicBezTo>
                  <a:cubicBezTo>
                    <a:pt x="15" y="236"/>
                    <a:pt x="15" y="236"/>
                    <a:pt x="15" y="236"/>
                  </a:cubicBezTo>
                  <a:cubicBezTo>
                    <a:pt x="8" y="236"/>
                    <a:pt x="8" y="236"/>
                    <a:pt x="8" y="236"/>
                  </a:cubicBezTo>
                  <a:moveTo>
                    <a:pt x="22" y="236"/>
                  </a:moveTo>
                  <a:cubicBezTo>
                    <a:pt x="22" y="229"/>
                    <a:pt x="22" y="229"/>
                    <a:pt x="22" y="229"/>
                  </a:cubicBezTo>
                  <a:cubicBezTo>
                    <a:pt x="29" y="229"/>
                    <a:pt x="29" y="229"/>
                    <a:pt x="29" y="229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22" y="236"/>
                    <a:pt x="22" y="236"/>
                    <a:pt x="22" y="236"/>
                  </a:cubicBezTo>
                  <a:moveTo>
                    <a:pt x="37" y="236"/>
                  </a:moveTo>
                  <a:cubicBezTo>
                    <a:pt x="37" y="229"/>
                    <a:pt x="37" y="229"/>
                    <a:pt x="37" y="229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44" y="236"/>
                    <a:pt x="44" y="236"/>
                    <a:pt x="44" y="236"/>
                  </a:cubicBezTo>
                  <a:cubicBezTo>
                    <a:pt x="37" y="236"/>
                    <a:pt x="37" y="236"/>
                    <a:pt x="37" y="236"/>
                  </a:cubicBezTo>
                  <a:moveTo>
                    <a:pt x="52" y="236"/>
                  </a:moveTo>
                  <a:cubicBezTo>
                    <a:pt x="52" y="229"/>
                    <a:pt x="52" y="229"/>
                    <a:pt x="52" y="229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52" y="236"/>
                    <a:pt x="52" y="236"/>
                    <a:pt x="52" y="236"/>
                  </a:cubicBezTo>
                  <a:moveTo>
                    <a:pt x="67" y="236"/>
                  </a:moveTo>
                  <a:cubicBezTo>
                    <a:pt x="67" y="229"/>
                    <a:pt x="67" y="229"/>
                    <a:pt x="67" y="229"/>
                  </a:cubicBezTo>
                  <a:cubicBezTo>
                    <a:pt x="74" y="229"/>
                    <a:pt x="74" y="229"/>
                    <a:pt x="74" y="229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67" y="236"/>
                    <a:pt x="67" y="236"/>
                    <a:pt x="67" y="236"/>
                  </a:cubicBezTo>
                  <a:moveTo>
                    <a:pt x="81" y="236"/>
                  </a:moveTo>
                  <a:cubicBezTo>
                    <a:pt x="81" y="229"/>
                    <a:pt x="81" y="229"/>
                    <a:pt x="81" y="229"/>
                  </a:cubicBezTo>
                  <a:cubicBezTo>
                    <a:pt x="88" y="229"/>
                    <a:pt x="88" y="229"/>
                    <a:pt x="88" y="229"/>
                  </a:cubicBezTo>
                  <a:cubicBezTo>
                    <a:pt x="88" y="236"/>
                    <a:pt x="88" y="236"/>
                    <a:pt x="88" y="236"/>
                  </a:cubicBezTo>
                  <a:cubicBezTo>
                    <a:pt x="81" y="236"/>
                    <a:pt x="81" y="236"/>
                    <a:pt x="81" y="236"/>
                  </a:cubicBezTo>
                  <a:moveTo>
                    <a:pt x="96" y="236"/>
                  </a:moveTo>
                  <a:cubicBezTo>
                    <a:pt x="96" y="229"/>
                    <a:pt x="96" y="229"/>
                    <a:pt x="96" y="229"/>
                  </a:cubicBezTo>
                  <a:cubicBezTo>
                    <a:pt x="103" y="229"/>
                    <a:pt x="103" y="229"/>
                    <a:pt x="103" y="229"/>
                  </a:cubicBezTo>
                  <a:cubicBezTo>
                    <a:pt x="103" y="236"/>
                    <a:pt x="103" y="236"/>
                    <a:pt x="103" y="236"/>
                  </a:cubicBezTo>
                  <a:cubicBezTo>
                    <a:pt x="96" y="236"/>
                    <a:pt x="96" y="236"/>
                    <a:pt x="96" y="236"/>
                  </a:cubicBezTo>
                  <a:moveTo>
                    <a:pt x="111" y="236"/>
                  </a:moveTo>
                  <a:cubicBezTo>
                    <a:pt x="111" y="229"/>
                    <a:pt x="111" y="229"/>
                    <a:pt x="111" y="229"/>
                  </a:cubicBezTo>
                  <a:cubicBezTo>
                    <a:pt x="118" y="229"/>
                    <a:pt x="118" y="229"/>
                    <a:pt x="118" y="229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1" y="236"/>
                    <a:pt x="111" y="236"/>
                    <a:pt x="111" y="236"/>
                  </a:cubicBezTo>
                  <a:moveTo>
                    <a:pt x="126" y="236"/>
                  </a:moveTo>
                  <a:cubicBezTo>
                    <a:pt x="126" y="229"/>
                    <a:pt x="126" y="229"/>
                    <a:pt x="126" y="229"/>
                  </a:cubicBezTo>
                  <a:cubicBezTo>
                    <a:pt x="133" y="229"/>
                    <a:pt x="133" y="229"/>
                    <a:pt x="133" y="229"/>
                  </a:cubicBezTo>
                  <a:cubicBezTo>
                    <a:pt x="133" y="236"/>
                    <a:pt x="133" y="236"/>
                    <a:pt x="133" y="236"/>
                  </a:cubicBezTo>
                  <a:cubicBezTo>
                    <a:pt x="126" y="236"/>
                    <a:pt x="126" y="236"/>
                    <a:pt x="126" y="236"/>
                  </a:cubicBezTo>
                  <a:moveTo>
                    <a:pt x="140" y="236"/>
                  </a:moveTo>
                  <a:cubicBezTo>
                    <a:pt x="140" y="229"/>
                    <a:pt x="140" y="229"/>
                    <a:pt x="140" y="229"/>
                  </a:cubicBezTo>
                  <a:cubicBezTo>
                    <a:pt x="147" y="229"/>
                    <a:pt x="147" y="229"/>
                    <a:pt x="147" y="229"/>
                  </a:cubicBezTo>
                  <a:cubicBezTo>
                    <a:pt x="147" y="236"/>
                    <a:pt x="147" y="236"/>
                    <a:pt x="147" y="236"/>
                  </a:cubicBezTo>
                  <a:cubicBezTo>
                    <a:pt x="140" y="236"/>
                    <a:pt x="140" y="236"/>
                    <a:pt x="140" y="236"/>
                  </a:cubicBezTo>
                  <a:moveTo>
                    <a:pt x="155" y="236"/>
                  </a:moveTo>
                  <a:cubicBezTo>
                    <a:pt x="155" y="229"/>
                    <a:pt x="155" y="229"/>
                    <a:pt x="155" y="229"/>
                  </a:cubicBezTo>
                  <a:cubicBezTo>
                    <a:pt x="162" y="229"/>
                    <a:pt x="162" y="229"/>
                    <a:pt x="162" y="229"/>
                  </a:cubicBezTo>
                  <a:cubicBezTo>
                    <a:pt x="162" y="236"/>
                    <a:pt x="162" y="236"/>
                    <a:pt x="162" y="236"/>
                  </a:cubicBezTo>
                  <a:cubicBezTo>
                    <a:pt x="155" y="236"/>
                    <a:pt x="155" y="236"/>
                    <a:pt x="155" y="236"/>
                  </a:cubicBezTo>
                  <a:moveTo>
                    <a:pt x="170" y="236"/>
                  </a:moveTo>
                  <a:cubicBezTo>
                    <a:pt x="170" y="229"/>
                    <a:pt x="170" y="229"/>
                    <a:pt x="170" y="229"/>
                  </a:cubicBezTo>
                  <a:cubicBezTo>
                    <a:pt x="177" y="229"/>
                    <a:pt x="177" y="229"/>
                    <a:pt x="177" y="229"/>
                  </a:cubicBezTo>
                  <a:cubicBezTo>
                    <a:pt x="177" y="236"/>
                    <a:pt x="177" y="236"/>
                    <a:pt x="177" y="236"/>
                  </a:cubicBezTo>
                  <a:cubicBezTo>
                    <a:pt x="170" y="236"/>
                    <a:pt x="170" y="236"/>
                    <a:pt x="170" y="236"/>
                  </a:cubicBezTo>
                  <a:moveTo>
                    <a:pt x="185" y="236"/>
                  </a:moveTo>
                  <a:cubicBezTo>
                    <a:pt x="185" y="229"/>
                    <a:pt x="185" y="229"/>
                    <a:pt x="185" y="229"/>
                  </a:cubicBezTo>
                  <a:cubicBezTo>
                    <a:pt x="192" y="229"/>
                    <a:pt x="192" y="229"/>
                    <a:pt x="192" y="229"/>
                  </a:cubicBezTo>
                  <a:cubicBezTo>
                    <a:pt x="192" y="236"/>
                    <a:pt x="192" y="236"/>
                    <a:pt x="192" y="236"/>
                  </a:cubicBezTo>
                  <a:cubicBezTo>
                    <a:pt x="185" y="236"/>
                    <a:pt x="185" y="236"/>
                    <a:pt x="185" y="236"/>
                  </a:cubicBezTo>
                  <a:moveTo>
                    <a:pt x="199" y="236"/>
                  </a:moveTo>
                  <a:cubicBezTo>
                    <a:pt x="199" y="229"/>
                    <a:pt x="199" y="229"/>
                    <a:pt x="199" y="229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6" y="236"/>
                    <a:pt x="206" y="236"/>
                    <a:pt x="206" y="236"/>
                  </a:cubicBezTo>
                  <a:cubicBezTo>
                    <a:pt x="199" y="236"/>
                    <a:pt x="199" y="236"/>
                    <a:pt x="199" y="236"/>
                  </a:cubicBezTo>
                  <a:moveTo>
                    <a:pt x="214" y="236"/>
                  </a:moveTo>
                  <a:cubicBezTo>
                    <a:pt x="214" y="229"/>
                    <a:pt x="214" y="229"/>
                    <a:pt x="214" y="229"/>
                  </a:cubicBezTo>
                  <a:cubicBezTo>
                    <a:pt x="221" y="229"/>
                    <a:pt x="221" y="229"/>
                    <a:pt x="221" y="229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14" y="236"/>
                    <a:pt x="214" y="236"/>
                    <a:pt x="214" y="236"/>
                  </a:cubicBezTo>
                  <a:moveTo>
                    <a:pt x="229" y="236"/>
                  </a:moveTo>
                  <a:cubicBezTo>
                    <a:pt x="229" y="229"/>
                    <a:pt x="229" y="229"/>
                    <a:pt x="229" y="229"/>
                  </a:cubicBezTo>
                  <a:cubicBezTo>
                    <a:pt x="236" y="229"/>
                    <a:pt x="236" y="229"/>
                    <a:pt x="236" y="229"/>
                  </a:cubicBezTo>
                  <a:cubicBezTo>
                    <a:pt x="236" y="236"/>
                    <a:pt x="236" y="236"/>
                    <a:pt x="236" y="236"/>
                  </a:cubicBezTo>
                  <a:cubicBezTo>
                    <a:pt x="229" y="236"/>
                    <a:pt x="229" y="236"/>
                    <a:pt x="229" y="236"/>
                  </a:cubicBezTo>
                  <a:moveTo>
                    <a:pt x="244" y="236"/>
                  </a:moveTo>
                  <a:cubicBezTo>
                    <a:pt x="244" y="229"/>
                    <a:pt x="244" y="229"/>
                    <a:pt x="244" y="229"/>
                  </a:cubicBezTo>
                  <a:cubicBezTo>
                    <a:pt x="251" y="229"/>
                    <a:pt x="251" y="229"/>
                    <a:pt x="251" y="229"/>
                  </a:cubicBezTo>
                  <a:cubicBezTo>
                    <a:pt x="251" y="236"/>
                    <a:pt x="251" y="236"/>
                    <a:pt x="251" y="236"/>
                  </a:cubicBezTo>
                  <a:cubicBezTo>
                    <a:pt x="244" y="236"/>
                    <a:pt x="244" y="236"/>
                    <a:pt x="244" y="236"/>
                  </a:cubicBezTo>
                  <a:moveTo>
                    <a:pt x="258" y="236"/>
                  </a:moveTo>
                  <a:cubicBezTo>
                    <a:pt x="258" y="229"/>
                    <a:pt x="258" y="229"/>
                    <a:pt x="258" y="229"/>
                  </a:cubicBezTo>
                  <a:cubicBezTo>
                    <a:pt x="265" y="229"/>
                    <a:pt x="265" y="229"/>
                    <a:pt x="265" y="229"/>
                  </a:cubicBezTo>
                  <a:cubicBezTo>
                    <a:pt x="265" y="236"/>
                    <a:pt x="265" y="236"/>
                    <a:pt x="265" y="236"/>
                  </a:cubicBezTo>
                  <a:cubicBezTo>
                    <a:pt x="258" y="236"/>
                    <a:pt x="258" y="236"/>
                    <a:pt x="258" y="236"/>
                  </a:cubicBezTo>
                  <a:moveTo>
                    <a:pt x="273" y="236"/>
                  </a:moveTo>
                  <a:cubicBezTo>
                    <a:pt x="273" y="229"/>
                    <a:pt x="273" y="229"/>
                    <a:pt x="273" y="229"/>
                  </a:cubicBezTo>
                  <a:cubicBezTo>
                    <a:pt x="280" y="229"/>
                    <a:pt x="280" y="229"/>
                    <a:pt x="280" y="229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73" y="236"/>
                    <a:pt x="273" y="236"/>
                    <a:pt x="273" y="236"/>
                  </a:cubicBezTo>
                  <a:moveTo>
                    <a:pt x="288" y="236"/>
                  </a:moveTo>
                  <a:cubicBezTo>
                    <a:pt x="288" y="229"/>
                    <a:pt x="288" y="229"/>
                    <a:pt x="28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295" y="236"/>
                    <a:pt x="295" y="236"/>
                    <a:pt x="295" y="236"/>
                  </a:cubicBezTo>
                  <a:cubicBezTo>
                    <a:pt x="288" y="236"/>
                    <a:pt x="288" y="236"/>
                    <a:pt x="288" y="236"/>
                  </a:cubicBezTo>
                  <a:moveTo>
                    <a:pt x="303" y="236"/>
                  </a:moveTo>
                  <a:cubicBezTo>
                    <a:pt x="303" y="229"/>
                    <a:pt x="303" y="229"/>
                    <a:pt x="303" y="229"/>
                  </a:cubicBezTo>
                  <a:cubicBezTo>
                    <a:pt x="310" y="229"/>
                    <a:pt x="310" y="229"/>
                    <a:pt x="310" y="229"/>
                  </a:cubicBezTo>
                  <a:cubicBezTo>
                    <a:pt x="310" y="236"/>
                    <a:pt x="310" y="236"/>
                    <a:pt x="310" y="236"/>
                  </a:cubicBezTo>
                  <a:cubicBezTo>
                    <a:pt x="303" y="236"/>
                    <a:pt x="303" y="236"/>
                    <a:pt x="303" y="236"/>
                  </a:cubicBezTo>
                  <a:moveTo>
                    <a:pt x="317" y="236"/>
                  </a:moveTo>
                  <a:cubicBezTo>
                    <a:pt x="317" y="229"/>
                    <a:pt x="317" y="229"/>
                    <a:pt x="317" y="229"/>
                  </a:cubicBezTo>
                  <a:cubicBezTo>
                    <a:pt x="324" y="229"/>
                    <a:pt x="324" y="229"/>
                    <a:pt x="324" y="229"/>
                  </a:cubicBezTo>
                  <a:cubicBezTo>
                    <a:pt x="324" y="236"/>
                    <a:pt x="324" y="236"/>
                    <a:pt x="324" y="236"/>
                  </a:cubicBezTo>
                  <a:cubicBezTo>
                    <a:pt x="317" y="236"/>
                    <a:pt x="317" y="236"/>
                    <a:pt x="317" y="236"/>
                  </a:cubicBezTo>
                  <a:moveTo>
                    <a:pt x="332" y="236"/>
                  </a:moveTo>
                  <a:cubicBezTo>
                    <a:pt x="332" y="229"/>
                    <a:pt x="332" y="229"/>
                    <a:pt x="332" y="229"/>
                  </a:cubicBezTo>
                  <a:cubicBezTo>
                    <a:pt x="339" y="229"/>
                    <a:pt x="339" y="229"/>
                    <a:pt x="339" y="229"/>
                  </a:cubicBezTo>
                  <a:cubicBezTo>
                    <a:pt x="339" y="236"/>
                    <a:pt x="339" y="236"/>
                    <a:pt x="339" y="236"/>
                  </a:cubicBezTo>
                  <a:cubicBezTo>
                    <a:pt x="332" y="236"/>
                    <a:pt x="332" y="236"/>
                    <a:pt x="332" y="236"/>
                  </a:cubicBezTo>
                  <a:moveTo>
                    <a:pt x="347" y="236"/>
                  </a:moveTo>
                  <a:cubicBezTo>
                    <a:pt x="347" y="229"/>
                    <a:pt x="347" y="229"/>
                    <a:pt x="347" y="229"/>
                  </a:cubicBezTo>
                  <a:cubicBezTo>
                    <a:pt x="354" y="229"/>
                    <a:pt x="354" y="229"/>
                    <a:pt x="354" y="229"/>
                  </a:cubicBezTo>
                  <a:cubicBezTo>
                    <a:pt x="354" y="236"/>
                    <a:pt x="354" y="236"/>
                    <a:pt x="354" y="236"/>
                  </a:cubicBezTo>
                  <a:cubicBezTo>
                    <a:pt x="347" y="236"/>
                    <a:pt x="347" y="236"/>
                    <a:pt x="347" y="236"/>
                  </a:cubicBezTo>
                  <a:moveTo>
                    <a:pt x="362" y="236"/>
                  </a:moveTo>
                  <a:cubicBezTo>
                    <a:pt x="362" y="229"/>
                    <a:pt x="362" y="229"/>
                    <a:pt x="362" y="229"/>
                  </a:cubicBezTo>
                  <a:cubicBezTo>
                    <a:pt x="369" y="229"/>
                    <a:pt x="369" y="229"/>
                    <a:pt x="369" y="229"/>
                  </a:cubicBezTo>
                  <a:cubicBezTo>
                    <a:pt x="369" y="236"/>
                    <a:pt x="369" y="236"/>
                    <a:pt x="369" y="236"/>
                  </a:cubicBezTo>
                  <a:cubicBezTo>
                    <a:pt x="362" y="236"/>
                    <a:pt x="362" y="236"/>
                    <a:pt x="362" y="236"/>
                  </a:cubicBezTo>
                  <a:moveTo>
                    <a:pt x="376" y="236"/>
                  </a:moveTo>
                  <a:cubicBezTo>
                    <a:pt x="376" y="229"/>
                    <a:pt x="376" y="229"/>
                    <a:pt x="376" y="229"/>
                  </a:cubicBezTo>
                  <a:cubicBezTo>
                    <a:pt x="383" y="229"/>
                    <a:pt x="383" y="229"/>
                    <a:pt x="383" y="229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76" y="236"/>
                    <a:pt x="376" y="236"/>
                    <a:pt x="376" y="236"/>
                  </a:cubicBezTo>
                  <a:moveTo>
                    <a:pt x="8" y="222"/>
                  </a:moveTo>
                  <a:cubicBezTo>
                    <a:pt x="8" y="215"/>
                    <a:pt x="8" y="215"/>
                    <a:pt x="8" y="215"/>
                  </a:cubicBezTo>
                  <a:cubicBezTo>
                    <a:pt x="15" y="215"/>
                    <a:pt x="15" y="215"/>
                    <a:pt x="15" y="215"/>
                  </a:cubicBezTo>
                  <a:cubicBezTo>
                    <a:pt x="15" y="222"/>
                    <a:pt x="15" y="222"/>
                    <a:pt x="15" y="222"/>
                  </a:cubicBezTo>
                  <a:cubicBezTo>
                    <a:pt x="8" y="222"/>
                    <a:pt x="8" y="222"/>
                    <a:pt x="8" y="222"/>
                  </a:cubicBezTo>
                  <a:moveTo>
                    <a:pt x="22" y="222"/>
                  </a:moveTo>
                  <a:cubicBezTo>
                    <a:pt x="22" y="215"/>
                    <a:pt x="22" y="215"/>
                    <a:pt x="22" y="215"/>
                  </a:cubicBezTo>
                  <a:cubicBezTo>
                    <a:pt x="29" y="215"/>
                    <a:pt x="29" y="215"/>
                    <a:pt x="29" y="215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2" y="222"/>
                    <a:pt x="22" y="222"/>
                    <a:pt x="22" y="222"/>
                  </a:cubicBezTo>
                  <a:moveTo>
                    <a:pt x="37" y="222"/>
                  </a:moveTo>
                  <a:cubicBezTo>
                    <a:pt x="37" y="215"/>
                    <a:pt x="37" y="215"/>
                    <a:pt x="37" y="215"/>
                  </a:cubicBezTo>
                  <a:cubicBezTo>
                    <a:pt x="44" y="215"/>
                    <a:pt x="44" y="215"/>
                    <a:pt x="44" y="215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37" y="222"/>
                    <a:pt x="37" y="222"/>
                    <a:pt x="37" y="222"/>
                  </a:cubicBezTo>
                  <a:moveTo>
                    <a:pt x="52" y="222"/>
                  </a:moveTo>
                  <a:cubicBezTo>
                    <a:pt x="52" y="215"/>
                    <a:pt x="52" y="215"/>
                    <a:pt x="52" y="215"/>
                  </a:cubicBezTo>
                  <a:cubicBezTo>
                    <a:pt x="59" y="215"/>
                    <a:pt x="59" y="215"/>
                    <a:pt x="59" y="215"/>
                  </a:cubicBezTo>
                  <a:cubicBezTo>
                    <a:pt x="59" y="222"/>
                    <a:pt x="59" y="222"/>
                    <a:pt x="59" y="222"/>
                  </a:cubicBezTo>
                  <a:cubicBezTo>
                    <a:pt x="52" y="222"/>
                    <a:pt x="52" y="222"/>
                    <a:pt x="52" y="222"/>
                  </a:cubicBezTo>
                  <a:moveTo>
                    <a:pt x="67" y="222"/>
                  </a:moveTo>
                  <a:cubicBezTo>
                    <a:pt x="67" y="215"/>
                    <a:pt x="67" y="215"/>
                    <a:pt x="67" y="215"/>
                  </a:cubicBezTo>
                  <a:cubicBezTo>
                    <a:pt x="74" y="215"/>
                    <a:pt x="74" y="215"/>
                    <a:pt x="74" y="215"/>
                  </a:cubicBezTo>
                  <a:cubicBezTo>
                    <a:pt x="74" y="222"/>
                    <a:pt x="74" y="222"/>
                    <a:pt x="74" y="222"/>
                  </a:cubicBezTo>
                  <a:cubicBezTo>
                    <a:pt x="67" y="222"/>
                    <a:pt x="67" y="222"/>
                    <a:pt x="67" y="222"/>
                  </a:cubicBezTo>
                  <a:moveTo>
                    <a:pt x="81" y="222"/>
                  </a:moveTo>
                  <a:cubicBezTo>
                    <a:pt x="81" y="215"/>
                    <a:pt x="81" y="215"/>
                    <a:pt x="81" y="215"/>
                  </a:cubicBezTo>
                  <a:cubicBezTo>
                    <a:pt x="88" y="215"/>
                    <a:pt x="88" y="215"/>
                    <a:pt x="88" y="215"/>
                  </a:cubicBezTo>
                  <a:cubicBezTo>
                    <a:pt x="88" y="222"/>
                    <a:pt x="88" y="222"/>
                    <a:pt x="88" y="222"/>
                  </a:cubicBezTo>
                  <a:cubicBezTo>
                    <a:pt x="81" y="222"/>
                    <a:pt x="81" y="222"/>
                    <a:pt x="81" y="222"/>
                  </a:cubicBezTo>
                  <a:moveTo>
                    <a:pt x="96" y="222"/>
                  </a:moveTo>
                  <a:cubicBezTo>
                    <a:pt x="96" y="215"/>
                    <a:pt x="96" y="215"/>
                    <a:pt x="96" y="215"/>
                  </a:cubicBezTo>
                  <a:cubicBezTo>
                    <a:pt x="103" y="215"/>
                    <a:pt x="103" y="215"/>
                    <a:pt x="103" y="215"/>
                  </a:cubicBezTo>
                  <a:cubicBezTo>
                    <a:pt x="103" y="222"/>
                    <a:pt x="103" y="222"/>
                    <a:pt x="103" y="222"/>
                  </a:cubicBezTo>
                  <a:cubicBezTo>
                    <a:pt x="96" y="222"/>
                    <a:pt x="96" y="222"/>
                    <a:pt x="96" y="222"/>
                  </a:cubicBezTo>
                  <a:moveTo>
                    <a:pt x="111" y="222"/>
                  </a:moveTo>
                  <a:cubicBezTo>
                    <a:pt x="111" y="215"/>
                    <a:pt x="111" y="215"/>
                    <a:pt x="111" y="215"/>
                  </a:cubicBezTo>
                  <a:cubicBezTo>
                    <a:pt x="118" y="215"/>
                    <a:pt x="118" y="215"/>
                    <a:pt x="118" y="215"/>
                  </a:cubicBezTo>
                  <a:cubicBezTo>
                    <a:pt x="118" y="222"/>
                    <a:pt x="118" y="222"/>
                    <a:pt x="118" y="222"/>
                  </a:cubicBezTo>
                  <a:cubicBezTo>
                    <a:pt x="111" y="222"/>
                    <a:pt x="111" y="222"/>
                    <a:pt x="111" y="222"/>
                  </a:cubicBezTo>
                  <a:moveTo>
                    <a:pt x="126" y="222"/>
                  </a:moveTo>
                  <a:cubicBezTo>
                    <a:pt x="126" y="215"/>
                    <a:pt x="126" y="215"/>
                    <a:pt x="126" y="215"/>
                  </a:cubicBezTo>
                  <a:cubicBezTo>
                    <a:pt x="133" y="215"/>
                    <a:pt x="133" y="215"/>
                    <a:pt x="133" y="215"/>
                  </a:cubicBezTo>
                  <a:cubicBezTo>
                    <a:pt x="133" y="222"/>
                    <a:pt x="133" y="222"/>
                    <a:pt x="133" y="222"/>
                  </a:cubicBezTo>
                  <a:cubicBezTo>
                    <a:pt x="126" y="222"/>
                    <a:pt x="126" y="222"/>
                    <a:pt x="126" y="222"/>
                  </a:cubicBezTo>
                  <a:moveTo>
                    <a:pt x="140" y="222"/>
                  </a:moveTo>
                  <a:cubicBezTo>
                    <a:pt x="140" y="215"/>
                    <a:pt x="140" y="215"/>
                    <a:pt x="140" y="215"/>
                  </a:cubicBezTo>
                  <a:cubicBezTo>
                    <a:pt x="147" y="215"/>
                    <a:pt x="147" y="215"/>
                    <a:pt x="147" y="215"/>
                  </a:cubicBezTo>
                  <a:cubicBezTo>
                    <a:pt x="147" y="222"/>
                    <a:pt x="147" y="222"/>
                    <a:pt x="147" y="222"/>
                  </a:cubicBezTo>
                  <a:cubicBezTo>
                    <a:pt x="140" y="222"/>
                    <a:pt x="140" y="222"/>
                    <a:pt x="140" y="222"/>
                  </a:cubicBezTo>
                  <a:moveTo>
                    <a:pt x="155" y="222"/>
                  </a:moveTo>
                  <a:cubicBezTo>
                    <a:pt x="155" y="215"/>
                    <a:pt x="155" y="215"/>
                    <a:pt x="155" y="215"/>
                  </a:cubicBezTo>
                  <a:cubicBezTo>
                    <a:pt x="162" y="215"/>
                    <a:pt x="162" y="215"/>
                    <a:pt x="162" y="215"/>
                  </a:cubicBezTo>
                  <a:cubicBezTo>
                    <a:pt x="162" y="222"/>
                    <a:pt x="162" y="222"/>
                    <a:pt x="162" y="222"/>
                  </a:cubicBezTo>
                  <a:cubicBezTo>
                    <a:pt x="155" y="222"/>
                    <a:pt x="155" y="222"/>
                    <a:pt x="155" y="222"/>
                  </a:cubicBezTo>
                  <a:moveTo>
                    <a:pt x="170" y="222"/>
                  </a:moveTo>
                  <a:cubicBezTo>
                    <a:pt x="170" y="215"/>
                    <a:pt x="170" y="215"/>
                    <a:pt x="170" y="215"/>
                  </a:cubicBezTo>
                  <a:cubicBezTo>
                    <a:pt x="177" y="215"/>
                    <a:pt x="177" y="215"/>
                    <a:pt x="177" y="215"/>
                  </a:cubicBezTo>
                  <a:cubicBezTo>
                    <a:pt x="177" y="222"/>
                    <a:pt x="177" y="222"/>
                    <a:pt x="177" y="222"/>
                  </a:cubicBezTo>
                  <a:cubicBezTo>
                    <a:pt x="170" y="222"/>
                    <a:pt x="170" y="222"/>
                    <a:pt x="170" y="222"/>
                  </a:cubicBezTo>
                  <a:moveTo>
                    <a:pt x="185" y="222"/>
                  </a:moveTo>
                  <a:cubicBezTo>
                    <a:pt x="185" y="215"/>
                    <a:pt x="185" y="215"/>
                    <a:pt x="185" y="215"/>
                  </a:cubicBezTo>
                  <a:cubicBezTo>
                    <a:pt x="192" y="215"/>
                    <a:pt x="192" y="215"/>
                    <a:pt x="192" y="215"/>
                  </a:cubicBezTo>
                  <a:cubicBezTo>
                    <a:pt x="192" y="222"/>
                    <a:pt x="192" y="222"/>
                    <a:pt x="192" y="222"/>
                  </a:cubicBezTo>
                  <a:cubicBezTo>
                    <a:pt x="185" y="222"/>
                    <a:pt x="185" y="222"/>
                    <a:pt x="185" y="222"/>
                  </a:cubicBezTo>
                  <a:moveTo>
                    <a:pt x="199" y="222"/>
                  </a:moveTo>
                  <a:cubicBezTo>
                    <a:pt x="199" y="215"/>
                    <a:pt x="199" y="215"/>
                    <a:pt x="199" y="215"/>
                  </a:cubicBezTo>
                  <a:cubicBezTo>
                    <a:pt x="206" y="215"/>
                    <a:pt x="206" y="215"/>
                    <a:pt x="206" y="215"/>
                  </a:cubicBezTo>
                  <a:cubicBezTo>
                    <a:pt x="206" y="222"/>
                    <a:pt x="206" y="222"/>
                    <a:pt x="206" y="222"/>
                  </a:cubicBezTo>
                  <a:cubicBezTo>
                    <a:pt x="199" y="222"/>
                    <a:pt x="199" y="222"/>
                    <a:pt x="199" y="222"/>
                  </a:cubicBezTo>
                  <a:moveTo>
                    <a:pt x="214" y="222"/>
                  </a:moveTo>
                  <a:cubicBezTo>
                    <a:pt x="214" y="215"/>
                    <a:pt x="214" y="215"/>
                    <a:pt x="214" y="215"/>
                  </a:cubicBezTo>
                  <a:cubicBezTo>
                    <a:pt x="221" y="215"/>
                    <a:pt x="221" y="215"/>
                    <a:pt x="221" y="215"/>
                  </a:cubicBezTo>
                  <a:cubicBezTo>
                    <a:pt x="221" y="222"/>
                    <a:pt x="221" y="222"/>
                    <a:pt x="221" y="222"/>
                  </a:cubicBezTo>
                  <a:cubicBezTo>
                    <a:pt x="214" y="222"/>
                    <a:pt x="214" y="222"/>
                    <a:pt x="214" y="222"/>
                  </a:cubicBezTo>
                  <a:moveTo>
                    <a:pt x="229" y="222"/>
                  </a:moveTo>
                  <a:cubicBezTo>
                    <a:pt x="229" y="215"/>
                    <a:pt x="229" y="215"/>
                    <a:pt x="229" y="215"/>
                  </a:cubicBezTo>
                  <a:cubicBezTo>
                    <a:pt x="236" y="215"/>
                    <a:pt x="236" y="215"/>
                    <a:pt x="236" y="215"/>
                  </a:cubicBezTo>
                  <a:cubicBezTo>
                    <a:pt x="236" y="222"/>
                    <a:pt x="236" y="222"/>
                    <a:pt x="236" y="222"/>
                  </a:cubicBezTo>
                  <a:cubicBezTo>
                    <a:pt x="229" y="222"/>
                    <a:pt x="229" y="222"/>
                    <a:pt x="229" y="222"/>
                  </a:cubicBezTo>
                  <a:moveTo>
                    <a:pt x="244" y="222"/>
                  </a:moveTo>
                  <a:cubicBezTo>
                    <a:pt x="244" y="215"/>
                    <a:pt x="244" y="215"/>
                    <a:pt x="244" y="215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1" y="222"/>
                    <a:pt x="251" y="222"/>
                    <a:pt x="251" y="222"/>
                  </a:cubicBezTo>
                  <a:cubicBezTo>
                    <a:pt x="244" y="222"/>
                    <a:pt x="244" y="222"/>
                    <a:pt x="244" y="222"/>
                  </a:cubicBezTo>
                  <a:moveTo>
                    <a:pt x="258" y="222"/>
                  </a:moveTo>
                  <a:cubicBezTo>
                    <a:pt x="258" y="215"/>
                    <a:pt x="258" y="215"/>
                    <a:pt x="258" y="215"/>
                  </a:cubicBezTo>
                  <a:cubicBezTo>
                    <a:pt x="265" y="215"/>
                    <a:pt x="265" y="215"/>
                    <a:pt x="265" y="215"/>
                  </a:cubicBezTo>
                  <a:cubicBezTo>
                    <a:pt x="265" y="222"/>
                    <a:pt x="265" y="222"/>
                    <a:pt x="265" y="222"/>
                  </a:cubicBezTo>
                  <a:cubicBezTo>
                    <a:pt x="258" y="222"/>
                    <a:pt x="258" y="222"/>
                    <a:pt x="258" y="222"/>
                  </a:cubicBezTo>
                  <a:moveTo>
                    <a:pt x="273" y="222"/>
                  </a:moveTo>
                  <a:cubicBezTo>
                    <a:pt x="273" y="215"/>
                    <a:pt x="273" y="215"/>
                    <a:pt x="273" y="215"/>
                  </a:cubicBezTo>
                  <a:cubicBezTo>
                    <a:pt x="280" y="215"/>
                    <a:pt x="280" y="215"/>
                    <a:pt x="280" y="215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73" y="222"/>
                    <a:pt x="273" y="222"/>
                    <a:pt x="273" y="222"/>
                  </a:cubicBezTo>
                  <a:moveTo>
                    <a:pt x="288" y="222"/>
                  </a:moveTo>
                  <a:cubicBezTo>
                    <a:pt x="288" y="215"/>
                    <a:pt x="288" y="215"/>
                    <a:pt x="288" y="215"/>
                  </a:cubicBezTo>
                  <a:cubicBezTo>
                    <a:pt x="295" y="215"/>
                    <a:pt x="295" y="215"/>
                    <a:pt x="295" y="215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88" y="222"/>
                    <a:pt x="288" y="222"/>
                    <a:pt x="288" y="222"/>
                  </a:cubicBezTo>
                  <a:moveTo>
                    <a:pt x="303" y="222"/>
                  </a:moveTo>
                  <a:cubicBezTo>
                    <a:pt x="303" y="215"/>
                    <a:pt x="303" y="215"/>
                    <a:pt x="303" y="215"/>
                  </a:cubicBezTo>
                  <a:cubicBezTo>
                    <a:pt x="310" y="215"/>
                    <a:pt x="310" y="215"/>
                    <a:pt x="310" y="215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03" y="222"/>
                    <a:pt x="303" y="222"/>
                    <a:pt x="303" y="222"/>
                  </a:cubicBezTo>
                  <a:moveTo>
                    <a:pt x="317" y="222"/>
                  </a:moveTo>
                  <a:cubicBezTo>
                    <a:pt x="317" y="215"/>
                    <a:pt x="317" y="215"/>
                    <a:pt x="317" y="215"/>
                  </a:cubicBezTo>
                  <a:cubicBezTo>
                    <a:pt x="324" y="215"/>
                    <a:pt x="324" y="215"/>
                    <a:pt x="324" y="215"/>
                  </a:cubicBezTo>
                  <a:cubicBezTo>
                    <a:pt x="324" y="222"/>
                    <a:pt x="324" y="222"/>
                    <a:pt x="324" y="222"/>
                  </a:cubicBezTo>
                  <a:cubicBezTo>
                    <a:pt x="317" y="222"/>
                    <a:pt x="317" y="222"/>
                    <a:pt x="317" y="222"/>
                  </a:cubicBezTo>
                  <a:moveTo>
                    <a:pt x="332" y="222"/>
                  </a:moveTo>
                  <a:cubicBezTo>
                    <a:pt x="332" y="215"/>
                    <a:pt x="332" y="215"/>
                    <a:pt x="332" y="215"/>
                  </a:cubicBezTo>
                  <a:cubicBezTo>
                    <a:pt x="339" y="215"/>
                    <a:pt x="339" y="215"/>
                    <a:pt x="339" y="215"/>
                  </a:cubicBezTo>
                  <a:cubicBezTo>
                    <a:pt x="339" y="222"/>
                    <a:pt x="339" y="222"/>
                    <a:pt x="339" y="222"/>
                  </a:cubicBezTo>
                  <a:cubicBezTo>
                    <a:pt x="332" y="222"/>
                    <a:pt x="332" y="222"/>
                    <a:pt x="332" y="222"/>
                  </a:cubicBezTo>
                  <a:moveTo>
                    <a:pt x="347" y="222"/>
                  </a:moveTo>
                  <a:cubicBezTo>
                    <a:pt x="347" y="215"/>
                    <a:pt x="347" y="215"/>
                    <a:pt x="347" y="215"/>
                  </a:cubicBezTo>
                  <a:cubicBezTo>
                    <a:pt x="354" y="215"/>
                    <a:pt x="354" y="215"/>
                    <a:pt x="354" y="215"/>
                  </a:cubicBezTo>
                  <a:cubicBezTo>
                    <a:pt x="354" y="222"/>
                    <a:pt x="354" y="222"/>
                    <a:pt x="354" y="222"/>
                  </a:cubicBezTo>
                  <a:cubicBezTo>
                    <a:pt x="347" y="222"/>
                    <a:pt x="347" y="222"/>
                    <a:pt x="347" y="222"/>
                  </a:cubicBezTo>
                  <a:moveTo>
                    <a:pt x="362" y="222"/>
                  </a:moveTo>
                  <a:cubicBezTo>
                    <a:pt x="362" y="215"/>
                    <a:pt x="362" y="215"/>
                    <a:pt x="362" y="215"/>
                  </a:cubicBezTo>
                  <a:cubicBezTo>
                    <a:pt x="369" y="215"/>
                    <a:pt x="369" y="215"/>
                    <a:pt x="369" y="215"/>
                  </a:cubicBezTo>
                  <a:cubicBezTo>
                    <a:pt x="369" y="222"/>
                    <a:pt x="369" y="222"/>
                    <a:pt x="369" y="222"/>
                  </a:cubicBezTo>
                  <a:cubicBezTo>
                    <a:pt x="362" y="222"/>
                    <a:pt x="362" y="222"/>
                    <a:pt x="362" y="222"/>
                  </a:cubicBezTo>
                  <a:moveTo>
                    <a:pt x="376" y="222"/>
                  </a:moveTo>
                  <a:cubicBezTo>
                    <a:pt x="376" y="215"/>
                    <a:pt x="376" y="215"/>
                    <a:pt x="376" y="215"/>
                  </a:cubicBezTo>
                  <a:cubicBezTo>
                    <a:pt x="383" y="215"/>
                    <a:pt x="383" y="215"/>
                    <a:pt x="383" y="215"/>
                  </a:cubicBezTo>
                  <a:cubicBezTo>
                    <a:pt x="383" y="222"/>
                    <a:pt x="383" y="222"/>
                    <a:pt x="383" y="222"/>
                  </a:cubicBezTo>
                  <a:cubicBezTo>
                    <a:pt x="376" y="222"/>
                    <a:pt x="376" y="222"/>
                    <a:pt x="376" y="222"/>
                  </a:cubicBezTo>
                  <a:moveTo>
                    <a:pt x="8" y="207"/>
                  </a:moveTo>
                  <a:cubicBezTo>
                    <a:pt x="8" y="200"/>
                    <a:pt x="8" y="200"/>
                    <a:pt x="8" y="200"/>
                  </a:cubicBezTo>
                  <a:cubicBezTo>
                    <a:pt x="15" y="200"/>
                    <a:pt x="15" y="200"/>
                    <a:pt x="15" y="200"/>
                  </a:cubicBezTo>
                  <a:cubicBezTo>
                    <a:pt x="15" y="207"/>
                    <a:pt x="15" y="207"/>
                    <a:pt x="15" y="207"/>
                  </a:cubicBezTo>
                  <a:cubicBezTo>
                    <a:pt x="8" y="207"/>
                    <a:pt x="8" y="207"/>
                    <a:pt x="8" y="207"/>
                  </a:cubicBezTo>
                  <a:moveTo>
                    <a:pt x="22" y="207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9" y="200"/>
                    <a:pt x="29" y="200"/>
                    <a:pt x="29" y="200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22" y="207"/>
                    <a:pt x="22" y="207"/>
                    <a:pt x="22" y="207"/>
                  </a:cubicBezTo>
                  <a:moveTo>
                    <a:pt x="37" y="207"/>
                  </a:moveTo>
                  <a:cubicBezTo>
                    <a:pt x="37" y="200"/>
                    <a:pt x="37" y="200"/>
                    <a:pt x="37" y="200"/>
                  </a:cubicBezTo>
                  <a:cubicBezTo>
                    <a:pt x="44" y="200"/>
                    <a:pt x="44" y="200"/>
                    <a:pt x="44" y="200"/>
                  </a:cubicBezTo>
                  <a:cubicBezTo>
                    <a:pt x="44" y="207"/>
                    <a:pt x="44" y="207"/>
                    <a:pt x="44" y="207"/>
                  </a:cubicBezTo>
                  <a:cubicBezTo>
                    <a:pt x="37" y="207"/>
                    <a:pt x="37" y="207"/>
                    <a:pt x="37" y="207"/>
                  </a:cubicBezTo>
                  <a:moveTo>
                    <a:pt x="52" y="207"/>
                  </a:moveTo>
                  <a:cubicBezTo>
                    <a:pt x="52" y="200"/>
                    <a:pt x="52" y="200"/>
                    <a:pt x="52" y="200"/>
                  </a:cubicBezTo>
                  <a:cubicBezTo>
                    <a:pt x="59" y="200"/>
                    <a:pt x="59" y="200"/>
                    <a:pt x="59" y="200"/>
                  </a:cubicBezTo>
                  <a:cubicBezTo>
                    <a:pt x="59" y="207"/>
                    <a:pt x="59" y="207"/>
                    <a:pt x="59" y="207"/>
                  </a:cubicBezTo>
                  <a:cubicBezTo>
                    <a:pt x="52" y="207"/>
                    <a:pt x="52" y="207"/>
                    <a:pt x="52" y="207"/>
                  </a:cubicBezTo>
                  <a:moveTo>
                    <a:pt x="67" y="207"/>
                  </a:moveTo>
                  <a:cubicBezTo>
                    <a:pt x="67" y="200"/>
                    <a:pt x="67" y="200"/>
                    <a:pt x="67" y="200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74" y="207"/>
                    <a:pt x="74" y="207"/>
                    <a:pt x="74" y="207"/>
                  </a:cubicBezTo>
                  <a:cubicBezTo>
                    <a:pt x="67" y="207"/>
                    <a:pt x="67" y="207"/>
                    <a:pt x="67" y="207"/>
                  </a:cubicBezTo>
                  <a:moveTo>
                    <a:pt x="81" y="207"/>
                  </a:moveTo>
                  <a:cubicBezTo>
                    <a:pt x="81" y="200"/>
                    <a:pt x="81" y="200"/>
                    <a:pt x="81" y="200"/>
                  </a:cubicBezTo>
                  <a:cubicBezTo>
                    <a:pt x="88" y="200"/>
                    <a:pt x="88" y="200"/>
                    <a:pt x="88" y="200"/>
                  </a:cubicBezTo>
                  <a:cubicBezTo>
                    <a:pt x="88" y="207"/>
                    <a:pt x="88" y="207"/>
                    <a:pt x="88" y="207"/>
                  </a:cubicBezTo>
                  <a:cubicBezTo>
                    <a:pt x="81" y="207"/>
                    <a:pt x="81" y="207"/>
                    <a:pt x="81" y="207"/>
                  </a:cubicBezTo>
                  <a:moveTo>
                    <a:pt x="96" y="207"/>
                  </a:moveTo>
                  <a:cubicBezTo>
                    <a:pt x="96" y="200"/>
                    <a:pt x="96" y="200"/>
                    <a:pt x="96" y="200"/>
                  </a:cubicBezTo>
                  <a:cubicBezTo>
                    <a:pt x="103" y="200"/>
                    <a:pt x="103" y="200"/>
                    <a:pt x="103" y="200"/>
                  </a:cubicBezTo>
                  <a:cubicBezTo>
                    <a:pt x="103" y="207"/>
                    <a:pt x="103" y="207"/>
                    <a:pt x="103" y="207"/>
                  </a:cubicBezTo>
                  <a:cubicBezTo>
                    <a:pt x="96" y="207"/>
                    <a:pt x="96" y="207"/>
                    <a:pt x="96" y="207"/>
                  </a:cubicBezTo>
                  <a:moveTo>
                    <a:pt x="111" y="207"/>
                  </a:moveTo>
                  <a:cubicBezTo>
                    <a:pt x="111" y="200"/>
                    <a:pt x="111" y="200"/>
                    <a:pt x="111" y="200"/>
                  </a:cubicBezTo>
                  <a:cubicBezTo>
                    <a:pt x="118" y="200"/>
                    <a:pt x="118" y="200"/>
                    <a:pt x="118" y="200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11" y="207"/>
                    <a:pt x="111" y="207"/>
                    <a:pt x="111" y="207"/>
                  </a:cubicBezTo>
                  <a:moveTo>
                    <a:pt x="126" y="207"/>
                  </a:moveTo>
                  <a:cubicBezTo>
                    <a:pt x="126" y="200"/>
                    <a:pt x="126" y="200"/>
                    <a:pt x="126" y="200"/>
                  </a:cubicBezTo>
                  <a:cubicBezTo>
                    <a:pt x="133" y="200"/>
                    <a:pt x="133" y="200"/>
                    <a:pt x="133" y="200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26" y="207"/>
                    <a:pt x="126" y="207"/>
                    <a:pt x="126" y="207"/>
                  </a:cubicBezTo>
                  <a:moveTo>
                    <a:pt x="140" y="207"/>
                  </a:moveTo>
                  <a:cubicBezTo>
                    <a:pt x="140" y="200"/>
                    <a:pt x="140" y="200"/>
                    <a:pt x="140" y="200"/>
                  </a:cubicBezTo>
                  <a:cubicBezTo>
                    <a:pt x="147" y="200"/>
                    <a:pt x="147" y="200"/>
                    <a:pt x="147" y="200"/>
                  </a:cubicBezTo>
                  <a:cubicBezTo>
                    <a:pt x="147" y="207"/>
                    <a:pt x="147" y="207"/>
                    <a:pt x="147" y="207"/>
                  </a:cubicBezTo>
                  <a:cubicBezTo>
                    <a:pt x="140" y="207"/>
                    <a:pt x="140" y="207"/>
                    <a:pt x="140" y="207"/>
                  </a:cubicBezTo>
                  <a:moveTo>
                    <a:pt x="155" y="207"/>
                  </a:moveTo>
                  <a:cubicBezTo>
                    <a:pt x="155" y="200"/>
                    <a:pt x="155" y="200"/>
                    <a:pt x="155" y="200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62" y="207"/>
                    <a:pt x="162" y="207"/>
                    <a:pt x="162" y="207"/>
                  </a:cubicBezTo>
                  <a:cubicBezTo>
                    <a:pt x="155" y="207"/>
                    <a:pt x="155" y="207"/>
                    <a:pt x="155" y="207"/>
                  </a:cubicBezTo>
                  <a:moveTo>
                    <a:pt x="170" y="207"/>
                  </a:moveTo>
                  <a:cubicBezTo>
                    <a:pt x="170" y="200"/>
                    <a:pt x="170" y="200"/>
                    <a:pt x="170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0" y="207"/>
                    <a:pt x="170" y="207"/>
                    <a:pt x="170" y="207"/>
                  </a:cubicBezTo>
                  <a:moveTo>
                    <a:pt x="185" y="207"/>
                  </a:moveTo>
                  <a:cubicBezTo>
                    <a:pt x="185" y="200"/>
                    <a:pt x="185" y="200"/>
                    <a:pt x="185" y="200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2" y="207"/>
                    <a:pt x="192" y="207"/>
                    <a:pt x="192" y="207"/>
                  </a:cubicBezTo>
                  <a:cubicBezTo>
                    <a:pt x="185" y="207"/>
                    <a:pt x="185" y="207"/>
                    <a:pt x="185" y="207"/>
                  </a:cubicBezTo>
                  <a:moveTo>
                    <a:pt x="199" y="207"/>
                  </a:moveTo>
                  <a:cubicBezTo>
                    <a:pt x="199" y="200"/>
                    <a:pt x="199" y="200"/>
                    <a:pt x="199" y="200"/>
                  </a:cubicBezTo>
                  <a:cubicBezTo>
                    <a:pt x="206" y="200"/>
                    <a:pt x="206" y="200"/>
                    <a:pt x="206" y="200"/>
                  </a:cubicBezTo>
                  <a:cubicBezTo>
                    <a:pt x="206" y="207"/>
                    <a:pt x="206" y="207"/>
                    <a:pt x="206" y="207"/>
                  </a:cubicBezTo>
                  <a:cubicBezTo>
                    <a:pt x="199" y="207"/>
                    <a:pt x="199" y="207"/>
                    <a:pt x="199" y="207"/>
                  </a:cubicBezTo>
                  <a:moveTo>
                    <a:pt x="214" y="207"/>
                  </a:moveTo>
                  <a:cubicBezTo>
                    <a:pt x="214" y="200"/>
                    <a:pt x="214" y="200"/>
                    <a:pt x="214" y="200"/>
                  </a:cubicBezTo>
                  <a:cubicBezTo>
                    <a:pt x="221" y="200"/>
                    <a:pt x="221" y="200"/>
                    <a:pt x="221" y="200"/>
                  </a:cubicBezTo>
                  <a:cubicBezTo>
                    <a:pt x="221" y="207"/>
                    <a:pt x="221" y="207"/>
                    <a:pt x="221" y="207"/>
                  </a:cubicBezTo>
                  <a:cubicBezTo>
                    <a:pt x="214" y="207"/>
                    <a:pt x="214" y="207"/>
                    <a:pt x="214" y="207"/>
                  </a:cubicBezTo>
                  <a:moveTo>
                    <a:pt x="229" y="207"/>
                  </a:moveTo>
                  <a:cubicBezTo>
                    <a:pt x="229" y="200"/>
                    <a:pt x="229" y="200"/>
                    <a:pt x="229" y="200"/>
                  </a:cubicBezTo>
                  <a:cubicBezTo>
                    <a:pt x="236" y="200"/>
                    <a:pt x="236" y="200"/>
                    <a:pt x="236" y="200"/>
                  </a:cubicBezTo>
                  <a:cubicBezTo>
                    <a:pt x="236" y="207"/>
                    <a:pt x="236" y="207"/>
                    <a:pt x="236" y="207"/>
                  </a:cubicBezTo>
                  <a:cubicBezTo>
                    <a:pt x="229" y="207"/>
                    <a:pt x="229" y="207"/>
                    <a:pt x="229" y="207"/>
                  </a:cubicBezTo>
                  <a:moveTo>
                    <a:pt x="244" y="207"/>
                  </a:moveTo>
                  <a:cubicBezTo>
                    <a:pt x="244" y="200"/>
                    <a:pt x="244" y="200"/>
                    <a:pt x="244" y="200"/>
                  </a:cubicBezTo>
                  <a:cubicBezTo>
                    <a:pt x="251" y="200"/>
                    <a:pt x="251" y="200"/>
                    <a:pt x="251" y="200"/>
                  </a:cubicBezTo>
                  <a:cubicBezTo>
                    <a:pt x="251" y="207"/>
                    <a:pt x="251" y="207"/>
                    <a:pt x="251" y="207"/>
                  </a:cubicBezTo>
                  <a:cubicBezTo>
                    <a:pt x="244" y="207"/>
                    <a:pt x="244" y="207"/>
                    <a:pt x="244" y="207"/>
                  </a:cubicBezTo>
                  <a:moveTo>
                    <a:pt x="258" y="207"/>
                  </a:moveTo>
                  <a:cubicBezTo>
                    <a:pt x="258" y="200"/>
                    <a:pt x="258" y="200"/>
                    <a:pt x="258" y="200"/>
                  </a:cubicBezTo>
                  <a:cubicBezTo>
                    <a:pt x="265" y="200"/>
                    <a:pt x="265" y="200"/>
                    <a:pt x="265" y="200"/>
                  </a:cubicBezTo>
                  <a:cubicBezTo>
                    <a:pt x="265" y="207"/>
                    <a:pt x="265" y="207"/>
                    <a:pt x="265" y="207"/>
                  </a:cubicBezTo>
                  <a:cubicBezTo>
                    <a:pt x="258" y="207"/>
                    <a:pt x="258" y="207"/>
                    <a:pt x="258" y="207"/>
                  </a:cubicBezTo>
                  <a:moveTo>
                    <a:pt x="273" y="207"/>
                  </a:moveTo>
                  <a:cubicBezTo>
                    <a:pt x="273" y="200"/>
                    <a:pt x="273" y="200"/>
                    <a:pt x="273" y="200"/>
                  </a:cubicBezTo>
                  <a:cubicBezTo>
                    <a:pt x="280" y="200"/>
                    <a:pt x="280" y="200"/>
                    <a:pt x="280" y="200"/>
                  </a:cubicBezTo>
                  <a:cubicBezTo>
                    <a:pt x="280" y="207"/>
                    <a:pt x="280" y="207"/>
                    <a:pt x="280" y="207"/>
                  </a:cubicBezTo>
                  <a:cubicBezTo>
                    <a:pt x="273" y="207"/>
                    <a:pt x="273" y="207"/>
                    <a:pt x="273" y="207"/>
                  </a:cubicBezTo>
                  <a:moveTo>
                    <a:pt x="288" y="207"/>
                  </a:moveTo>
                  <a:cubicBezTo>
                    <a:pt x="288" y="200"/>
                    <a:pt x="288" y="200"/>
                    <a:pt x="288" y="200"/>
                  </a:cubicBezTo>
                  <a:cubicBezTo>
                    <a:pt x="295" y="200"/>
                    <a:pt x="295" y="200"/>
                    <a:pt x="295" y="200"/>
                  </a:cubicBezTo>
                  <a:cubicBezTo>
                    <a:pt x="295" y="207"/>
                    <a:pt x="295" y="207"/>
                    <a:pt x="295" y="207"/>
                  </a:cubicBezTo>
                  <a:cubicBezTo>
                    <a:pt x="288" y="207"/>
                    <a:pt x="288" y="207"/>
                    <a:pt x="288" y="207"/>
                  </a:cubicBezTo>
                  <a:moveTo>
                    <a:pt x="303" y="207"/>
                  </a:moveTo>
                  <a:cubicBezTo>
                    <a:pt x="303" y="200"/>
                    <a:pt x="303" y="200"/>
                    <a:pt x="303" y="200"/>
                  </a:cubicBezTo>
                  <a:cubicBezTo>
                    <a:pt x="310" y="200"/>
                    <a:pt x="310" y="200"/>
                    <a:pt x="310" y="200"/>
                  </a:cubicBezTo>
                  <a:cubicBezTo>
                    <a:pt x="310" y="207"/>
                    <a:pt x="310" y="207"/>
                    <a:pt x="310" y="207"/>
                  </a:cubicBezTo>
                  <a:cubicBezTo>
                    <a:pt x="303" y="207"/>
                    <a:pt x="303" y="207"/>
                    <a:pt x="303" y="207"/>
                  </a:cubicBezTo>
                  <a:moveTo>
                    <a:pt x="317" y="207"/>
                  </a:moveTo>
                  <a:cubicBezTo>
                    <a:pt x="317" y="200"/>
                    <a:pt x="317" y="200"/>
                    <a:pt x="317" y="200"/>
                  </a:cubicBezTo>
                  <a:cubicBezTo>
                    <a:pt x="324" y="200"/>
                    <a:pt x="324" y="200"/>
                    <a:pt x="324" y="200"/>
                  </a:cubicBezTo>
                  <a:cubicBezTo>
                    <a:pt x="324" y="207"/>
                    <a:pt x="324" y="207"/>
                    <a:pt x="324" y="207"/>
                  </a:cubicBezTo>
                  <a:cubicBezTo>
                    <a:pt x="317" y="207"/>
                    <a:pt x="317" y="207"/>
                    <a:pt x="317" y="207"/>
                  </a:cubicBezTo>
                  <a:moveTo>
                    <a:pt x="332" y="207"/>
                  </a:moveTo>
                  <a:cubicBezTo>
                    <a:pt x="332" y="200"/>
                    <a:pt x="332" y="200"/>
                    <a:pt x="332" y="200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9" y="207"/>
                    <a:pt x="339" y="207"/>
                    <a:pt x="339" y="207"/>
                  </a:cubicBezTo>
                  <a:cubicBezTo>
                    <a:pt x="332" y="207"/>
                    <a:pt x="332" y="207"/>
                    <a:pt x="332" y="207"/>
                  </a:cubicBezTo>
                  <a:moveTo>
                    <a:pt x="347" y="207"/>
                  </a:moveTo>
                  <a:cubicBezTo>
                    <a:pt x="347" y="200"/>
                    <a:pt x="347" y="200"/>
                    <a:pt x="347" y="200"/>
                  </a:cubicBezTo>
                  <a:cubicBezTo>
                    <a:pt x="354" y="200"/>
                    <a:pt x="354" y="200"/>
                    <a:pt x="354" y="200"/>
                  </a:cubicBezTo>
                  <a:cubicBezTo>
                    <a:pt x="354" y="207"/>
                    <a:pt x="354" y="207"/>
                    <a:pt x="354" y="207"/>
                  </a:cubicBezTo>
                  <a:cubicBezTo>
                    <a:pt x="347" y="207"/>
                    <a:pt x="347" y="207"/>
                    <a:pt x="347" y="207"/>
                  </a:cubicBezTo>
                  <a:moveTo>
                    <a:pt x="362" y="207"/>
                  </a:moveTo>
                  <a:cubicBezTo>
                    <a:pt x="362" y="200"/>
                    <a:pt x="362" y="200"/>
                    <a:pt x="362" y="200"/>
                  </a:cubicBezTo>
                  <a:cubicBezTo>
                    <a:pt x="369" y="200"/>
                    <a:pt x="369" y="200"/>
                    <a:pt x="369" y="200"/>
                  </a:cubicBezTo>
                  <a:cubicBezTo>
                    <a:pt x="369" y="207"/>
                    <a:pt x="369" y="207"/>
                    <a:pt x="369" y="207"/>
                  </a:cubicBezTo>
                  <a:cubicBezTo>
                    <a:pt x="362" y="207"/>
                    <a:pt x="362" y="207"/>
                    <a:pt x="362" y="207"/>
                  </a:cubicBezTo>
                  <a:moveTo>
                    <a:pt x="376" y="207"/>
                  </a:moveTo>
                  <a:cubicBezTo>
                    <a:pt x="376" y="200"/>
                    <a:pt x="376" y="200"/>
                    <a:pt x="376" y="200"/>
                  </a:cubicBezTo>
                  <a:cubicBezTo>
                    <a:pt x="383" y="200"/>
                    <a:pt x="383" y="200"/>
                    <a:pt x="383" y="200"/>
                  </a:cubicBezTo>
                  <a:cubicBezTo>
                    <a:pt x="383" y="207"/>
                    <a:pt x="383" y="207"/>
                    <a:pt x="383" y="207"/>
                  </a:cubicBezTo>
                  <a:cubicBezTo>
                    <a:pt x="376" y="207"/>
                    <a:pt x="376" y="207"/>
                    <a:pt x="376" y="207"/>
                  </a:cubicBezTo>
                  <a:moveTo>
                    <a:pt x="8" y="192"/>
                  </a:moveTo>
                  <a:cubicBezTo>
                    <a:pt x="8" y="185"/>
                    <a:pt x="8" y="185"/>
                    <a:pt x="8" y="185"/>
                  </a:cubicBezTo>
                  <a:cubicBezTo>
                    <a:pt x="15" y="185"/>
                    <a:pt x="15" y="185"/>
                    <a:pt x="15" y="185"/>
                  </a:cubicBezTo>
                  <a:cubicBezTo>
                    <a:pt x="15" y="192"/>
                    <a:pt x="15" y="192"/>
                    <a:pt x="15" y="192"/>
                  </a:cubicBezTo>
                  <a:cubicBezTo>
                    <a:pt x="8" y="192"/>
                    <a:pt x="8" y="192"/>
                    <a:pt x="8" y="192"/>
                  </a:cubicBezTo>
                  <a:moveTo>
                    <a:pt x="22" y="192"/>
                  </a:moveTo>
                  <a:cubicBezTo>
                    <a:pt x="22" y="185"/>
                    <a:pt x="22" y="185"/>
                    <a:pt x="22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22" y="192"/>
                    <a:pt x="22" y="192"/>
                    <a:pt x="22" y="192"/>
                  </a:cubicBezTo>
                  <a:moveTo>
                    <a:pt x="37" y="192"/>
                  </a:moveTo>
                  <a:cubicBezTo>
                    <a:pt x="37" y="185"/>
                    <a:pt x="37" y="185"/>
                    <a:pt x="37" y="185"/>
                  </a:cubicBezTo>
                  <a:cubicBezTo>
                    <a:pt x="44" y="185"/>
                    <a:pt x="44" y="185"/>
                    <a:pt x="44" y="185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37" y="192"/>
                    <a:pt x="37" y="192"/>
                    <a:pt x="37" y="192"/>
                  </a:cubicBezTo>
                  <a:moveTo>
                    <a:pt x="52" y="192"/>
                  </a:moveTo>
                  <a:cubicBezTo>
                    <a:pt x="52" y="185"/>
                    <a:pt x="52" y="185"/>
                    <a:pt x="52" y="185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52" y="192"/>
                    <a:pt x="52" y="192"/>
                    <a:pt x="52" y="192"/>
                  </a:cubicBezTo>
                  <a:moveTo>
                    <a:pt x="67" y="192"/>
                  </a:moveTo>
                  <a:cubicBezTo>
                    <a:pt x="67" y="185"/>
                    <a:pt x="67" y="185"/>
                    <a:pt x="67" y="185"/>
                  </a:cubicBezTo>
                  <a:cubicBezTo>
                    <a:pt x="74" y="185"/>
                    <a:pt x="74" y="185"/>
                    <a:pt x="74" y="185"/>
                  </a:cubicBezTo>
                  <a:cubicBezTo>
                    <a:pt x="74" y="192"/>
                    <a:pt x="74" y="192"/>
                    <a:pt x="74" y="192"/>
                  </a:cubicBezTo>
                  <a:cubicBezTo>
                    <a:pt x="67" y="192"/>
                    <a:pt x="67" y="192"/>
                    <a:pt x="67" y="192"/>
                  </a:cubicBezTo>
                  <a:moveTo>
                    <a:pt x="81" y="192"/>
                  </a:moveTo>
                  <a:cubicBezTo>
                    <a:pt x="81" y="185"/>
                    <a:pt x="81" y="185"/>
                    <a:pt x="81" y="185"/>
                  </a:cubicBezTo>
                  <a:cubicBezTo>
                    <a:pt x="88" y="185"/>
                    <a:pt x="88" y="185"/>
                    <a:pt x="88" y="185"/>
                  </a:cubicBezTo>
                  <a:cubicBezTo>
                    <a:pt x="88" y="192"/>
                    <a:pt x="88" y="192"/>
                    <a:pt x="88" y="192"/>
                  </a:cubicBezTo>
                  <a:cubicBezTo>
                    <a:pt x="81" y="192"/>
                    <a:pt x="81" y="192"/>
                    <a:pt x="81" y="192"/>
                  </a:cubicBezTo>
                  <a:moveTo>
                    <a:pt x="96" y="192"/>
                  </a:moveTo>
                  <a:cubicBezTo>
                    <a:pt x="96" y="185"/>
                    <a:pt x="96" y="185"/>
                    <a:pt x="96" y="185"/>
                  </a:cubicBezTo>
                  <a:cubicBezTo>
                    <a:pt x="103" y="185"/>
                    <a:pt x="103" y="185"/>
                    <a:pt x="103" y="185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6" y="192"/>
                    <a:pt x="96" y="192"/>
                    <a:pt x="96" y="192"/>
                  </a:cubicBezTo>
                  <a:moveTo>
                    <a:pt x="111" y="192"/>
                  </a:moveTo>
                  <a:cubicBezTo>
                    <a:pt x="111" y="185"/>
                    <a:pt x="111" y="185"/>
                    <a:pt x="111" y="185"/>
                  </a:cubicBezTo>
                  <a:cubicBezTo>
                    <a:pt x="118" y="185"/>
                    <a:pt x="118" y="185"/>
                    <a:pt x="118" y="185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1" y="192"/>
                    <a:pt x="111" y="192"/>
                    <a:pt x="111" y="192"/>
                  </a:cubicBezTo>
                  <a:moveTo>
                    <a:pt x="126" y="192"/>
                  </a:moveTo>
                  <a:cubicBezTo>
                    <a:pt x="126" y="185"/>
                    <a:pt x="126" y="185"/>
                    <a:pt x="126" y="185"/>
                  </a:cubicBezTo>
                  <a:cubicBezTo>
                    <a:pt x="133" y="185"/>
                    <a:pt x="133" y="185"/>
                    <a:pt x="133" y="185"/>
                  </a:cubicBezTo>
                  <a:cubicBezTo>
                    <a:pt x="133" y="192"/>
                    <a:pt x="133" y="192"/>
                    <a:pt x="133" y="192"/>
                  </a:cubicBezTo>
                  <a:cubicBezTo>
                    <a:pt x="126" y="192"/>
                    <a:pt x="126" y="192"/>
                    <a:pt x="126" y="192"/>
                  </a:cubicBezTo>
                  <a:moveTo>
                    <a:pt x="140" y="192"/>
                  </a:moveTo>
                  <a:cubicBezTo>
                    <a:pt x="140" y="185"/>
                    <a:pt x="140" y="185"/>
                    <a:pt x="140" y="185"/>
                  </a:cubicBezTo>
                  <a:cubicBezTo>
                    <a:pt x="147" y="185"/>
                    <a:pt x="147" y="185"/>
                    <a:pt x="147" y="185"/>
                  </a:cubicBezTo>
                  <a:cubicBezTo>
                    <a:pt x="147" y="192"/>
                    <a:pt x="147" y="192"/>
                    <a:pt x="147" y="192"/>
                  </a:cubicBezTo>
                  <a:cubicBezTo>
                    <a:pt x="140" y="192"/>
                    <a:pt x="140" y="192"/>
                    <a:pt x="140" y="192"/>
                  </a:cubicBezTo>
                  <a:moveTo>
                    <a:pt x="155" y="192"/>
                  </a:moveTo>
                  <a:cubicBezTo>
                    <a:pt x="155" y="185"/>
                    <a:pt x="155" y="185"/>
                    <a:pt x="155" y="185"/>
                  </a:cubicBezTo>
                  <a:cubicBezTo>
                    <a:pt x="162" y="185"/>
                    <a:pt x="162" y="185"/>
                    <a:pt x="162" y="185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55" y="192"/>
                    <a:pt x="155" y="192"/>
                    <a:pt x="155" y="192"/>
                  </a:cubicBezTo>
                  <a:moveTo>
                    <a:pt x="170" y="192"/>
                  </a:moveTo>
                  <a:cubicBezTo>
                    <a:pt x="170" y="185"/>
                    <a:pt x="170" y="185"/>
                    <a:pt x="170" y="185"/>
                  </a:cubicBezTo>
                  <a:cubicBezTo>
                    <a:pt x="177" y="185"/>
                    <a:pt x="177" y="185"/>
                    <a:pt x="177" y="185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0" y="192"/>
                    <a:pt x="170" y="192"/>
                    <a:pt x="170" y="192"/>
                  </a:cubicBezTo>
                  <a:moveTo>
                    <a:pt x="185" y="192"/>
                  </a:moveTo>
                  <a:cubicBezTo>
                    <a:pt x="185" y="185"/>
                    <a:pt x="185" y="185"/>
                    <a:pt x="185" y="185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85" y="192"/>
                    <a:pt x="185" y="192"/>
                    <a:pt x="185" y="192"/>
                  </a:cubicBezTo>
                  <a:moveTo>
                    <a:pt x="199" y="192"/>
                  </a:moveTo>
                  <a:cubicBezTo>
                    <a:pt x="199" y="185"/>
                    <a:pt x="199" y="185"/>
                    <a:pt x="199" y="185"/>
                  </a:cubicBezTo>
                  <a:cubicBezTo>
                    <a:pt x="206" y="185"/>
                    <a:pt x="206" y="185"/>
                    <a:pt x="206" y="185"/>
                  </a:cubicBezTo>
                  <a:cubicBezTo>
                    <a:pt x="206" y="192"/>
                    <a:pt x="206" y="192"/>
                    <a:pt x="206" y="192"/>
                  </a:cubicBezTo>
                  <a:cubicBezTo>
                    <a:pt x="199" y="192"/>
                    <a:pt x="199" y="192"/>
                    <a:pt x="199" y="192"/>
                  </a:cubicBezTo>
                  <a:moveTo>
                    <a:pt x="214" y="192"/>
                  </a:moveTo>
                  <a:cubicBezTo>
                    <a:pt x="214" y="185"/>
                    <a:pt x="214" y="185"/>
                    <a:pt x="214" y="185"/>
                  </a:cubicBezTo>
                  <a:cubicBezTo>
                    <a:pt x="221" y="185"/>
                    <a:pt x="221" y="185"/>
                    <a:pt x="221" y="185"/>
                  </a:cubicBezTo>
                  <a:cubicBezTo>
                    <a:pt x="221" y="192"/>
                    <a:pt x="221" y="192"/>
                    <a:pt x="221" y="192"/>
                  </a:cubicBezTo>
                  <a:cubicBezTo>
                    <a:pt x="214" y="192"/>
                    <a:pt x="214" y="192"/>
                    <a:pt x="214" y="192"/>
                  </a:cubicBezTo>
                  <a:moveTo>
                    <a:pt x="229" y="192"/>
                  </a:moveTo>
                  <a:cubicBezTo>
                    <a:pt x="229" y="185"/>
                    <a:pt x="229" y="185"/>
                    <a:pt x="229" y="185"/>
                  </a:cubicBezTo>
                  <a:cubicBezTo>
                    <a:pt x="236" y="185"/>
                    <a:pt x="236" y="185"/>
                    <a:pt x="236" y="185"/>
                  </a:cubicBezTo>
                  <a:cubicBezTo>
                    <a:pt x="236" y="192"/>
                    <a:pt x="236" y="192"/>
                    <a:pt x="236" y="192"/>
                  </a:cubicBezTo>
                  <a:cubicBezTo>
                    <a:pt x="229" y="192"/>
                    <a:pt x="229" y="192"/>
                    <a:pt x="229" y="192"/>
                  </a:cubicBezTo>
                  <a:moveTo>
                    <a:pt x="244" y="192"/>
                  </a:moveTo>
                  <a:cubicBezTo>
                    <a:pt x="244" y="185"/>
                    <a:pt x="244" y="185"/>
                    <a:pt x="244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92"/>
                    <a:pt x="251" y="192"/>
                    <a:pt x="251" y="192"/>
                  </a:cubicBezTo>
                  <a:cubicBezTo>
                    <a:pt x="244" y="192"/>
                    <a:pt x="244" y="192"/>
                    <a:pt x="244" y="192"/>
                  </a:cubicBezTo>
                  <a:moveTo>
                    <a:pt x="258" y="192"/>
                  </a:moveTo>
                  <a:cubicBezTo>
                    <a:pt x="258" y="185"/>
                    <a:pt x="258" y="185"/>
                    <a:pt x="258" y="185"/>
                  </a:cubicBezTo>
                  <a:cubicBezTo>
                    <a:pt x="265" y="185"/>
                    <a:pt x="265" y="185"/>
                    <a:pt x="265" y="185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58" y="192"/>
                    <a:pt x="258" y="192"/>
                    <a:pt x="258" y="192"/>
                  </a:cubicBezTo>
                  <a:moveTo>
                    <a:pt x="273" y="192"/>
                  </a:moveTo>
                  <a:cubicBezTo>
                    <a:pt x="273" y="185"/>
                    <a:pt x="273" y="185"/>
                    <a:pt x="273" y="185"/>
                  </a:cubicBezTo>
                  <a:cubicBezTo>
                    <a:pt x="280" y="185"/>
                    <a:pt x="280" y="185"/>
                    <a:pt x="280" y="185"/>
                  </a:cubicBezTo>
                  <a:cubicBezTo>
                    <a:pt x="280" y="192"/>
                    <a:pt x="280" y="192"/>
                    <a:pt x="280" y="192"/>
                  </a:cubicBezTo>
                  <a:cubicBezTo>
                    <a:pt x="273" y="192"/>
                    <a:pt x="273" y="192"/>
                    <a:pt x="273" y="192"/>
                  </a:cubicBezTo>
                  <a:moveTo>
                    <a:pt x="288" y="192"/>
                  </a:moveTo>
                  <a:cubicBezTo>
                    <a:pt x="288" y="185"/>
                    <a:pt x="288" y="185"/>
                    <a:pt x="288" y="185"/>
                  </a:cubicBezTo>
                  <a:cubicBezTo>
                    <a:pt x="295" y="185"/>
                    <a:pt x="295" y="185"/>
                    <a:pt x="295" y="185"/>
                  </a:cubicBezTo>
                  <a:cubicBezTo>
                    <a:pt x="295" y="192"/>
                    <a:pt x="295" y="192"/>
                    <a:pt x="295" y="192"/>
                  </a:cubicBezTo>
                  <a:cubicBezTo>
                    <a:pt x="288" y="192"/>
                    <a:pt x="288" y="192"/>
                    <a:pt x="288" y="192"/>
                  </a:cubicBezTo>
                  <a:moveTo>
                    <a:pt x="303" y="192"/>
                  </a:moveTo>
                  <a:cubicBezTo>
                    <a:pt x="303" y="185"/>
                    <a:pt x="303" y="185"/>
                    <a:pt x="303" y="185"/>
                  </a:cubicBezTo>
                  <a:cubicBezTo>
                    <a:pt x="310" y="185"/>
                    <a:pt x="310" y="185"/>
                    <a:pt x="310" y="185"/>
                  </a:cubicBezTo>
                  <a:cubicBezTo>
                    <a:pt x="310" y="192"/>
                    <a:pt x="310" y="192"/>
                    <a:pt x="310" y="192"/>
                  </a:cubicBezTo>
                  <a:cubicBezTo>
                    <a:pt x="303" y="192"/>
                    <a:pt x="303" y="192"/>
                    <a:pt x="303" y="192"/>
                  </a:cubicBezTo>
                  <a:moveTo>
                    <a:pt x="317" y="192"/>
                  </a:moveTo>
                  <a:cubicBezTo>
                    <a:pt x="317" y="185"/>
                    <a:pt x="317" y="185"/>
                    <a:pt x="317" y="185"/>
                  </a:cubicBezTo>
                  <a:cubicBezTo>
                    <a:pt x="324" y="185"/>
                    <a:pt x="324" y="185"/>
                    <a:pt x="324" y="185"/>
                  </a:cubicBezTo>
                  <a:cubicBezTo>
                    <a:pt x="324" y="192"/>
                    <a:pt x="324" y="192"/>
                    <a:pt x="324" y="192"/>
                  </a:cubicBezTo>
                  <a:cubicBezTo>
                    <a:pt x="317" y="192"/>
                    <a:pt x="317" y="192"/>
                    <a:pt x="317" y="192"/>
                  </a:cubicBezTo>
                  <a:moveTo>
                    <a:pt x="332" y="192"/>
                  </a:moveTo>
                  <a:cubicBezTo>
                    <a:pt x="332" y="185"/>
                    <a:pt x="332" y="185"/>
                    <a:pt x="332" y="185"/>
                  </a:cubicBezTo>
                  <a:cubicBezTo>
                    <a:pt x="339" y="185"/>
                    <a:pt x="339" y="185"/>
                    <a:pt x="339" y="185"/>
                  </a:cubicBezTo>
                  <a:cubicBezTo>
                    <a:pt x="339" y="192"/>
                    <a:pt x="339" y="192"/>
                    <a:pt x="339" y="192"/>
                  </a:cubicBezTo>
                  <a:cubicBezTo>
                    <a:pt x="332" y="192"/>
                    <a:pt x="332" y="192"/>
                    <a:pt x="332" y="192"/>
                  </a:cubicBezTo>
                  <a:moveTo>
                    <a:pt x="347" y="192"/>
                  </a:moveTo>
                  <a:cubicBezTo>
                    <a:pt x="347" y="185"/>
                    <a:pt x="347" y="185"/>
                    <a:pt x="347" y="185"/>
                  </a:cubicBezTo>
                  <a:cubicBezTo>
                    <a:pt x="354" y="185"/>
                    <a:pt x="354" y="185"/>
                    <a:pt x="354" y="185"/>
                  </a:cubicBezTo>
                  <a:cubicBezTo>
                    <a:pt x="354" y="192"/>
                    <a:pt x="354" y="192"/>
                    <a:pt x="354" y="192"/>
                  </a:cubicBezTo>
                  <a:cubicBezTo>
                    <a:pt x="347" y="192"/>
                    <a:pt x="347" y="192"/>
                    <a:pt x="347" y="192"/>
                  </a:cubicBezTo>
                  <a:moveTo>
                    <a:pt x="362" y="192"/>
                  </a:moveTo>
                  <a:cubicBezTo>
                    <a:pt x="362" y="185"/>
                    <a:pt x="362" y="185"/>
                    <a:pt x="362" y="185"/>
                  </a:cubicBezTo>
                  <a:cubicBezTo>
                    <a:pt x="369" y="185"/>
                    <a:pt x="369" y="185"/>
                    <a:pt x="369" y="185"/>
                  </a:cubicBezTo>
                  <a:cubicBezTo>
                    <a:pt x="369" y="192"/>
                    <a:pt x="369" y="192"/>
                    <a:pt x="369" y="192"/>
                  </a:cubicBezTo>
                  <a:cubicBezTo>
                    <a:pt x="362" y="192"/>
                    <a:pt x="362" y="192"/>
                    <a:pt x="362" y="192"/>
                  </a:cubicBezTo>
                  <a:moveTo>
                    <a:pt x="376" y="192"/>
                  </a:moveTo>
                  <a:cubicBezTo>
                    <a:pt x="376" y="185"/>
                    <a:pt x="376" y="185"/>
                    <a:pt x="376" y="185"/>
                  </a:cubicBezTo>
                  <a:cubicBezTo>
                    <a:pt x="383" y="185"/>
                    <a:pt x="383" y="185"/>
                    <a:pt x="383" y="185"/>
                  </a:cubicBezTo>
                  <a:cubicBezTo>
                    <a:pt x="383" y="192"/>
                    <a:pt x="383" y="192"/>
                    <a:pt x="383" y="192"/>
                  </a:cubicBezTo>
                  <a:cubicBezTo>
                    <a:pt x="376" y="192"/>
                    <a:pt x="376" y="192"/>
                    <a:pt x="376" y="192"/>
                  </a:cubicBezTo>
                  <a:moveTo>
                    <a:pt x="8" y="177"/>
                  </a:moveTo>
                  <a:cubicBezTo>
                    <a:pt x="8" y="170"/>
                    <a:pt x="8" y="170"/>
                    <a:pt x="8" y="170"/>
                  </a:cubicBezTo>
                  <a:cubicBezTo>
                    <a:pt x="15" y="170"/>
                    <a:pt x="15" y="170"/>
                    <a:pt x="15" y="170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8" y="177"/>
                    <a:pt x="8" y="177"/>
                    <a:pt x="8" y="177"/>
                  </a:cubicBezTo>
                  <a:moveTo>
                    <a:pt x="22" y="177"/>
                  </a:moveTo>
                  <a:cubicBezTo>
                    <a:pt x="22" y="170"/>
                    <a:pt x="22" y="170"/>
                    <a:pt x="22" y="170"/>
                  </a:cubicBezTo>
                  <a:cubicBezTo>
                    <a:pt x="29" y="170"/>
                    <a:pt x="29" y="170"/>
                    <a:pt x="29" y="170"/>
                  </a:cubicBezTo>
                  <a:cubicBezTo>
                    <a:pt x="29" y="177"/>
                    <a:pt x="29" y="177"/>
                    <a:pt x="29" y="177"/>
                  </a:cubicBezTo>
                  <a:cubicBezTo>
                    <a:pt x="22" y="177"/>
                    <a:pt x="22" y="177"/>
                    <a:pt x="22" y="177"/>
                  </a:cubicBezTo>
                  <a:moveTo>
                    <a:pt x="37" y="177"/>
                  </a:moveTo>
                  <a:cubicBezTo>
                    <a:pt x="37" y="170"/>
                    <a:pt x="37" y="170"/>
                    <a:pt x="37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44" y="177"/>
                    <a:pt x="44" y="177"/>
                    <a:pt x="44" y="177"/>
                  </a:cubicBezTo>
                  <a:cubicBezTo>
                    <a:pt x="37" y="177"/>
                    <a:pt x="37" y="177"/>
                    <a:pt x="37" y="177"/>
                  </a:cubicBezTo>
                  <a:moveTo>
                    <a:pt x="52" y="177"/>
                  </a:moveTo>
                  <a:cubicBezTo>
                    <a:pt x="52" y="170"/>
                    <a:pt x="52" y="170"/>
                    <a:pt x="52" y="170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2" y="177"/>
                    <a:pt x="52" y="177"/>
                    <a:pt x="52" y="177"/>
                  </a:cubicBezTo>
                  <a:moveTo>
                    <a:pt x="67" y="177"/>
                  </a:moveTo>
                  <a:cubicBezTo>
                    <a:pt x="67" y="170"/>
                    <a:pt x="67" y="170"/>
                    <a:pt x="67" y="170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74" y="177"/>
                    <a:pt x="74" y="177"/>
                    <a:pt x="74" y="177"/>
                  </a:cubicBezTo>
                  <a:cubicBezTo>
                    <a:pt x="67" y="177"/>
                    <a:pt x="67" y="177"/>
                    <a:pt x="67" y="177"/>
                  </a:cubicBezTo>
                  <a:moveTo>
                    <a:pt x="81" y="177"/>
                  </a:moveTo>
                  <a:cubicBezTo>
                    <a:pt x="81" y="170"/>
                    <a:pt x="81" y="170"/>
                    <a:pt x="81" y="170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1" y="177"/>
                    <a:pt x="81" y="177"/>
                    <a:pt x="81" y="177"/>
                  </a:cubicBezTo>
                  <a:moveTo>
                    <a:pt x="96" y="177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96" y="177"/>
                    <a:pt x="96" y="177"/>
                    <a:pt x="96" y="177"/>
                  </a:cubicBezTo>
                  <a:moveTo>
                    <a:pt x="111" y="177"/>
                  </a:moveTo>
                  <a:cubicBezTo>
                    <a:pt x="111" y="170"/>
                    <a:pt x="111" y="170"/>
                    <a:pt x="111" y="170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8" y="177"/>
                    <a:pt x="118" y="177"/>
                    <a:pt x="118" y="177"/>
                  </a:cubicBezTo>
                  <a:cubicBezTo>
                    <a:pt x="111" y="177"/>
                    <a:pt x="111" y="177"/>
                    <a:pt x="111" y="177"/>
                  </a:cubicBezTo>
                  <a:moveTo>
                    <a:pt x="126" y="177"/>
                  </a:moveTo>
                  <a:cubicBezTo>
                    <a:pt x="126" y="170"/>
                    <a:pt x="126" y="170"/>
                    <a:pt x="126" y="170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3" y="177"/>
                    <a:pt x="133" y="177"/>
                    <a:pt x="133" y="177"/>
                  </a:cubicBezTo>
                  <a:cubicBezTo>
                    <a:pt x="126" y="177"/>
                    <a:pt x="126" y="177"/>
                    <a:pt x="126" y="177"/>
                  </a:cubicBezTo>
                  <a:moveTo>
                    <a:pt x="140" y="177"/>
                  </a:moveTo>
                  <a:cubicBezTo>
                    <a:pt x="140" y="170"/>
                    <a:pt x="140" y="170"/>
                    <a:pt x="140" y="170"/>
                  </a:cubicBezTo>
                  <a:cubicBezTo>
                    <a:pt x="147" y="170"/>
                    <a:pt x="147" y="170"/>
                    <a:pt x="147" y="170"/>
                  </a:cubicBezTo>
                  <a:cubicBezTo>
                    <a:pt x="147" y="177"/>
                    <a:pt x="147" y="177"/>
                    <a:pt x="147" y="177"/>
                  </a:cubicBezTo>
                  <a:cubicBezTo>
                    <a:pt x="140" y="177"/>
                    <a:pt x="140" y="177"/>
                    <a:pt x="140" y="177"/>
                  </a:cubicBezTo>
                  <a:moveTo>
                    <a:pt x="155" y="177"/>
                  </a:moveTo>
                  <a:cubicBezTo>
                    <a:pt x="155" y="170"/>
                    <a:pt x="155" y="170"/>
                    <a:pt x="155" y="170"/>
                  </a:cubicBezTo>
                  <a:cubicBezTo>
                    <a:pt x="162" y="170"/>
                    <a:pt x="162" y="170"/>
                    <a:pt x="162" y="170"/>
                  </a:cubicBezTo>
                  <a:cubicBezTo>
                    <a:pt x="162" y="177"/>
                    <a:pt x="162" y="177"/>
                    <a:pt x="162" y="177"/>
                  </a:cubicBezTo>
                  <a:cubicBezTo>
                    <a:pt x="155" y="177"/>
                    <a:pt x="155" y="177"/>
                    <a:pt x="155" y="177"/>
                  </a:cubicBezTo>
                  <a:moveTo>
                    <a:pt x="170" y="177"/>
                  </a:moveTo>
                  <a:cubicBezTo>
                    <a:pt x="170" y="170"/>
                    <a:pt x="170" y="170"/>
                    <a:pt x="170" y="170"/>
                  </a:cubicBezTo>
                  <a:cubicBezTo>
                    <a:pt x="177" y="170"/>
                    <a:pt x="177" y="170"/>
                    <a:pt x="177" y="170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70" y="177"/>
                    <a:pt x="170" y="177"/>
                    <a:pt x="170" y="177"/>
                  </a:cubicBezTo>
                  <a:moveTo>
                    <a:pt x="185" y="177"/>
                  </a:moveTo>
                  <a:cubicBezTo>
                    <a:pt x="185" y="170"/>
                    <a:pt x="185" y="170"/>
                    <a:pt x="185" y="170"/>
                  </a:cubicBezTo>
                  <a:cubicBezTo>
                    <a:pt x="192" y="170"/>
                    <a:pt x="192" y="170"/>
                    <a:pt x="192" y="170"/>
                  </a:cubicBezTo>
                  <a:cubicBezTo>
                    <a:pt x="192" y="177"/>
                    <a:pt x="192" y="177"/>
                    <a:pt x="192" y="177"/>
                  </a:cubicBezTo>
                  <a:cubicBezTo>
                    <a:pt x="185" y="177"/>
                    <a:pt x="185" y="177"/>
                    <a:pt x="185" y="177"/>
                  </a:cubicBezTo>
                  <a:moveTo>
                    <a:pt x="199" y="177"/>
                  </a:moveTo>
                  <a:cubicBezTo>
                    <a:pt x="199" y="170"/>
                    <a:pt x="199" y="170"/>
                    <a:pt x="199" y="170"/>
                  </a:cubicBezTo>
                  <a:cubicBezTo>
                    <a:pt x="206" y="170"/>
                    <a:pt x="206" y="170"/>
                    <a:pt x="206" y="170"/>
                  </a:cubicBezTo>
                  <a:cubicBezTo>
                    <a:pt x="206" y="177"/>
                    <a:pt x="206" y="177"/>
                    <a:pt x="206" y="177"/>
                  </a:cubicBezTo>
                  <a:cubicBezTo>
                    <a:pt x="199" y="177"/>
                    <a:pt x="199" y="177"/>
                    <a:pt x="199" y="177"/>
                  </a:cubicBezTo>
                  <a:moveTo>
                    <a:pt x="214" y="177"/>
                  </a:moveTo>
                  <a:cubicBezTo>
                    <a:pt x="214" y="170"/>
                    <a:pt x="214" y="170"/>
                    <a:pt x="214" y="170"/>
                  </a:cubicBezTo>
                  <a:cubicBezTo>
                    <a:pt x="221" y="170"/>
                    <a:pt x="221" y="170"/>
                    <a:pt x="221" y="170"/>
                  </a:cubicBezTo>
                  <a:cubicBezTo>
                    <a:pt x="221" y="177"/>
                    <a:pt x="221" y="177"/>
                    <a:pt x="221" y="177"/>
                  </a:cubicBezTo>
                  <a:cubicBezTo>
                    <a:pt x="214" y="177"/>
                    <a:pt x="214" y="177"/>
                    <a:pt x="214" y="177"/>
                  </a:cubicBezTo>
                  <a:moveTo>
                    <a:pt x="229" y="177"/>
                  </a:moveTo>
                  <a:cubicBezTo>
                    <a:pt x="229" y="170"/>
                    <a:pt x="229" y="170"/>
                    <a:pt x="229" y="170"/>
                  </a:cubicBezTo>
                  <a:cubicBezTo>
                    <a:pt x="236" y="170"/>
                    <a:pt x="236" y="170"/>
                    <a:pt x="236" y="170"/>
                  </a:cubicBezTo>
                  <a:cubicBezTo>
                    <a:pt x="236" y="177"/>
                    <a:pt x="236" y="177"/>
                    <a:pt x="236" y="177"/>
                  </a:cubicBezTo>
                  <a:cubicBezTo>
                    <a:pt x="229" y="177"/>
                    <a:pt x="229" y="177"/>
                    <a:pt x="229" y="177"/>
                  </a:cubicBezTo>
                  <a:moveTo>
                    <a:pt x="244" y="177"/>
                  </a:moveTo>
                  <a:cubicBezTo>
                    <a:pt x="244" y="170"/>
                    <a:pt x="244" y="170"/>
                    <a:pt x="244" y="170"/>
                  </a:cubicBezTo>
                  <a:cubicBezTo>
                    <a:pt x="251" y="170"/>
                    <a:pt x="251" y="170"/>
                    <a:pt x="251" y="170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44" y="177"/>
                    <a:pt x="244" y="177"/>
                    <a:pt x="244" y="177"/>
                  </a:cubicBezTo>
                  <a:moveTo>
                    <a:pt x="258" y="177"/>
                  </a:moveTo>
                  <a:cubicBezTo>
                    <a:pt x="258" y="170"/>
                    <a:pt x="258" y="170"/>
                    <a:pt x="258" y="170"/>
                  </a:cubicBezTo>
                  <a:cubicBezTo>
                    <a:pt x="265" y="170"/>
                    <a:pt x="265" y="170"/>
                    <a:pt x="265" y="170"/>
                  </a:cubicBezTo>
                  <a:cubicBezTo>
                    <a:pt x="265" y="177"/>
                    <a:pt x="265" y="177"/>
                    <a:pt x="265" y="177"/>
                  </a:cubicBezTo>
                  <a:cubicBezTo>
                    <a:pt x="258" y="177"/>
                    <a:pt x="258" y="177"/>
                    <a:pt x="258" y="177"/>
                  </a:cubicBezTo>
                  <a:moveTo>
                    <a:pt x="273" y="177"/>
                  </a:moveTo>
                  <a:cubicBezTo>
                    <a:pt x="273" y="170"/>
                    <a:pt x="273" y="170"/>
                    <a:pt x="273" y="170"/>
                  </a:cubicBezTo>
                  <a:cubicBezTo>
                    <a:pt x="280" y="170"/>
                    <a:pt x="280" y="170"/>
                    <a:pt x="280" y="170"/>
                  </a:cubicBezTo>
                  <a:cubicBezTo>
                    <a:pt x="280" y="177"/>
                    <a:pt x="280" y="177"/>
                    <a:pt x="280" y="177"/>
                  </a:cubicBezTo>
                  <a:cubicBezTo>
                    <a:pt x="273" y="177"/>
                    <a:pt x="273" y="177"/>
                    <a:pt x="273" y="177"/>
                  </a:cubicBezTo>
                  <a:moveTo>
                    <a:pt x="288" y="177"/>
                  </a:moveTo>
                  <a:cubicBezTo>
                    <a:pt x="288" y="170"/>
                    <a:pt x="288" y="170"/>
                    <a:pt x="288" y="170"/>
                  </a:cubicBezTo>
                  <a:cubicBezTo>
                    <a:pt x="295" y="170"/>
                    <a:pt x="295" y="170"/>
                    <a:pt x="295" y="170"/>
                  </a:cubicBezTo>
                  <a:cubicBezTo>
                    <a:pt x="295" y="177"/>
                    <a:pt x="295" y="177"/>
                    <a:pt x="295" y="177"/>
                  </a:cubicBezTo>
                  <a:cubicBezTo>
                    <a:pt x="288" y="177"/>
                    <a:pt x="288" y="177"/>
                    <a:pt x="288" y="177"/>
                  </a:cubicBezTo>
                  <a:moveTo>
                    <a:pt x="303" y="177"/>
                  </a:moveTo>
                  <a:cubicBezTo>
                    <a:pt x="303" y="170"/>
                    <a:pt x="303" y="170"/>
                    <a:pt x="303" y="170"/>
                  </a:cubicBezTo>
                  <a:cubicBezTo>
                    <a:pt x="310" y="170"/>
                    <a:pt x="310" y="170"/>
                    <a:pt x="310" y="170"/>
                  </a:cubicBezTo>
                  <a:cubicBezTo>
                    <a:pt x="310" y="177"/>
                    <a:pt x="310" y="177"/>
                    <a:pt x="310" y="177"/>
                  </a:cubicBezTo>
                  <a:cubicBezTo>
                    <a:pt x="303" y="177"/>
                    <a:pt x="303" y="177"/>
                    <a:pt x="303" y="177"/>
                  </a:cubicBezTo>
                  <a:moveTo>
                    <a:pt x="317" y="177"/>
                  </a:moveTo>
                  <a:cubicBezTo>
                    <a:pt x="317" y="170"/>
                    <a:pt x="317" y="170"/>
                    <a:pt x="317" y="170"/>
                  </a:cubicBezTo>
                  <a:cubicBezTo>
                    <a:pt x="324" y="170"/>
                    <a:pt x="324" y="170"/>
                    <a:pt x="324" y="170"/>
                  </a:cubicBezTo>
                  <a:cubicBezTo>
                    <a:pt x="324" y="177"/>
                    <a:pt x="324" y="177"/>
                    <a:pt x="324" y="177"/>
                  </a:cubicBezTo>
                  <a:cubicBezTo>
                    <a:pt x="317" y="177"/>
                    <a:pt x="317" y="177"/>
                    <a:pt x="317" y="177"/>
                  </a:cubicBezTo>
                  <a:moveTo>
                    <a:pt x="332" y="177"/>
                  </a:moveTo>
                  <a:cubicBezTo>
                    <a:pt x="332" y="170"/>
                    <a:pt x="332" y="170"/>
                    <a:pt x="332" y="170"/>
                  </a:cubicBezTo>
                  <a:cubicBezTo>
                    <a:pt x="339" y="170"/>
                    <a:pt x="339" y="170"/>
                    <a:pt x="339" y="170"/>
                  </a:cubicBezTo>
                  <a:cubicBezTo>
                    <a:pt x="339" y="177"/>
                    <a:pt x="339" y="177"/>
                    <a:pt x="339" y="177"/>
                  </a:cubicBezTo>
                  <a:cubicBezTo>
                    <a:pt x="332" y="177"/>
                    <a:pt x="332" y="177"/>
                    <a:pt x="332" y="177"/>
                  </a:cubicBezTo>
                  <a:moveTo>
                    <a:pt x="347" y="177"/>
                  </a:moveTo>
                  <a:cubicBezTo>
                    <a:pt x="347" y="170"/>
                    <a:pt x="347" y="170"/>
                    <a:pt x="347" y="170"/>
                  </a:cubicBezTo>
                  <a:cubicBezTo>
                    <a:pt x="354" y="170"/>
                    <a:pt x="354" y="170"/>
                    <a:pt x="354" y="170"/>
                  </a:cubicBezTo>
                  <a:cubicBezTo>
                    <a:pt x="354" y="177"/>
                    <a:pt x="354" y="177"/>
                    <a:pt x="354" y="177"/>
                  </a:cubicBezTo>
                  <a:cubicBezTo>
                    <a:pt x="347" y="177"/>
                    <a:pt x="347" y="177"/>
                    <a:pt x="347" y="177"/>
                  </a:cubicBezTo>
                  <a:moveTo>
                    <a:pt x="362" y="177"/>
                  </a:moveTo>
                  <a:cubicBezTo>
                    <a:pt x="362" y="170"/>
                    <a:pt x="362" y="170"/>
                    <a:pt x="362" y="170"/>
                  </a:cubicBezTo>
                  <a:cubicBezTo>
                    <a:pt x="369" y="170"/>
                    <a:pt x="369" y="170"/>
                    <a:pt x="369" y="170"/>
                  </a:cubicBezTo>
                  <a:cubicBezTo>
                    <a:pt x="369" y="177"/>
                    <a:pt x="369" y="177"/>
                    <a:pt x="369" y="177"/>
                  </a:cubicBezTo>
                  <a:cubicBezTo>
                    <a:pt x="362" y="177"/>
                    <a:pt x="362" y="177"/>
                    <a:pt x="362" y="177"/>
                  </a:cubicBezTo>
                  <a:moveTo>
                    <a:pt x="376" y="177"/>
                  </a:moveTo>
                  <a:cubicBezTo>
                    <a:pt x="376" y="170"/>
                    <a:pt x="376" y="170"/>
                    <a:pt x="376" y="170"/>
                  </a:cubicBezTo>
                  <a:cubicBezTo>
                    <a:pt x="383" y="170"/>
                    <a:pt x="383" y="170"/>
                    <a:pt x="383" y="170"/>
                  </a:cubicBezTo>
                  <a:cubicBezTo>
                    <a:pt x="383" y="177"/>
                    <a:pt x="383" y="177"/>
                    <a:pt x="383" y="177"/>
                  </a:cubicBezTo>
                  <a:cubicBezTo>
                    <a:pt x="376" y="177"/>
                    <a:pt x="376" y="177"/>
                    <a:pt x="376" y="177"/>
                  </a:cubicBezTo>
                  <a:moveTo>
                    <a:pt x="8" y="163"/>
                  </a:moveTo>
                  <a:cubicBezTo>
                    <a:pt x="8" y="156"/>
                    <a:pt x="8" y="156"/>
                    <a:pt x="8" y="156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15" y="163"/>
                    <a:pt x="15" y="163"/>
                    <a:pt x="15" y="163"/>
                  </a:cubicBezTo>
                  <a:cubicBezTo>
                    <a:pt x="8" y="163"/>
                    <a:pt x="8" y="163"/>
                    <a:pt x="8" y="163"/>
                  </a:cubicBezTo>
                  <a:moveTo>
                    <a:pt x="22" y="163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2" y="163"/>
                    <a:pt x="22" y="163"/>
                    <a:pt x="22" y="163"/>
                  </a:cubicBezTo>
                  <a:moveTo>
                    <a:pt x="37" y="163"/>
                  </a:moveTo>
                  <a:cubicBezTo>
                    <a:pt x="37" y="156"/>
                    <a:pt x="37" y="156"/>
                    <a:pt x="37" y="156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44" y="163"/>
                    <a:pt x="44" y="163"/>
                    <a:pt x="44" y="163"/>
                  </a:cubicBezTo>
                  <a:cubicBezTo>
                    <a:pt x="37" y="163"/>
                    <a:pt x="37" y="163"/>
                    <a:pt x="37" y="163"/>
                  </a:cubicBezTo>
                  <a:moveTo>
                    <a:pt x="52" y="163"/>
                  </a:moveTo>
                  <a:cubicBezTo>
                    <a:pt x="52" y="156"/>
                    <a:pt x="52" y="156"/>
                    <a:pt x="52" y="156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67" y="163"/>
                  </a:moveTo>
                  <a:cubicBezTo>
                    <a:pt x="67" y="156"/>
                    <a:pt x="67" y="156"/>
                    <a:pt x="67" y="156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4" y="163"/>
                    <a:pt x="74" y="163"/>
                    <a:pt x="74" y="163"/>
                  </a:cubicBezTo>
                  <a:cubicBezTo>
                    <a:pt x="67" y="163"/>
                    <a:pt x="67" y="163"/>
                    <a:pt x="67" y="163"/>
                  </a:cubicBezTo>
                  <a:moveTo>
                    <a:pt x="81" y="163"/>
                  </a:moveTo>
                  <a:cubicBezTo>
                    <a:pt x="81" y="156"/>
                    <a:pt x="81" y="156"/>
                    <a:pt x="81" y="156"/>
                  </a:cubicBezTo>
                  <a:cubicBezTo>
                    <a:pt x="88" y="156"/>
                    <a:pt x="88" y="156"/>
                    <a:pt x="88" y="156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81" y="163"/>
                    <a:pt x="81" y="163"/>
                    <a:pt x="81" y="163"/>
                  </a:cubicBezTo>
                  <a:moveTo>
                    <a:pt x="96" y="163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103" y="156"/>
                    <a:pt x="103" y="156"/>
                    <a:pt x="103" y="156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96" y="163"/>
                    <a:pt x="96" y="163"/>
                    <a:pt x="96" y="163"/>
                  </a:cubicBezTo>
                  <a:moveTo>
                    <a:pt x="111" y="163"/>
                  </a:moveTo>
                  <a:cubicBezTo>
                    <a:pt x="111" y="156"/>
                    <a:pt x="111" y="156"/>
                    <a:pt x="111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1" y="163"/>
                    <a:pt x="111" y="163"/>
                    <a:pt x="111" y="163"/>
                  </a:cubicBezTo>
                  <a:moveTo>
                    <a:pt x="126" y="163"/>
                  </a:moveTo>
                  <a:cubicBezTo>
                    <a:pt x="126" y="156"/>
                    <a:pt x="126" y="156"/>
                    <a:pt x="126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26" y="163"/>
                    <a:pt x="126" y="163"/>
                    <a:pt x="126" y="163"/>
                  </a:cubicBezTo>
                  <a:moveTo>
                    <a:pt x="140" y="163"/>
                  </a:moveTo>
                  <a:cubicBezTo>
                    <a:pt x="140" y="156"/>
                    <a:pt x="140" y="156"/>
                    <a:pt x="140" y="156"/>
                  </a:cubicBezTo>
                  <a:cubicBezTo>
                    <a:pt x="147" y="156"/>
                    <a:pt x="147" y="156"/>
                    <a:pt x="147" y="156"/>
                  </a:cubicBezTo>
                  <a:cubicBezTo>
                    <a:pt x="147" y="163"/>
                    <a:pt x="147" y="163"/>
                    <a:pt x="147" y="163"/>
                  </a:cubicBezTo>
                  <a:cubicBezTo>
                    <a:pt x="140" y="163"/>
                    <a:pt x="140" y="163"/>
                    <a:pt x="140" y="163"/>
                  </a:cubicBezTo>
                  <a:moveTo>
                    <a:pt x="155" y="163"/>
                  </a:moveTo>
                  <a:cubicBezTo>
                    <a:pt x="155" y="156"/>
                    <a:pt x="155" y="156"/>
                    <a:pt x="155" y="156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55" y="163"/>
                    <a:pt x="155" y="163"/>
                    <a:pt x="155" y="163"/>
                  </a:cubicBezTo>
                  <a:moveTo>
                    <a:pt x="170" y="163"/>
                  </a:moveTo>
                  <a:cubicBezTo>
                    <a:pt x="170" y="156"/>
                    <a:pt x="170" y="156"/>
                    <a:pt x="170" y="156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77" y="163"/>
                    <a:pt x="177" y="163"/>
                    <a:pt x="177" y="163"/>
                  </a:cubicBezTo>
                  <a:cubicBezTo>
                    <a:pt x="170" y="163"/>
                    <a:pt x="170" y="163"/>
                    <a:pt x="170" y="163"/>
                  </a:cubicBezTo>
                  <a:moveTo>
                    <a:pt x="185" y="163"/>
                  </a:moveTo>
                  <a:cubicBezTo>
                    <a:pt x="185" y="156"/>
                    <a:pt x="185" y="156"/>
                    <a:pt x="185" y="156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92" y="163"/>
                    <a:pt x="192" y="163"/>
                    <a:pt x="192" y="163"/>
                  </a:cubicBezTo>
                  <a:cubicBezTo>
                    <a:pt x="185" y="163"/>
                    <a:pt x="185" y="163"/>
                    <a:pt x="185" y="163"/>
                  </a:cubicBezTo>
                  <a:moveTo>
                    <a:pt x="199" y="163"/>
                  </a:moveTo>
                  <a:cubicBezTo>
                    <a:pt x="199" y="156"/>
                    <a:pt x="199" y="156"/>
                    <a:pt x="199" y="156"/>
                  </a:cubicBezTo>
                  <a:cubicBezTo>
                    <a:pt x="206" y="156"/>
                    <a:pt x="206" y="156"/>
                    <a:pt x="206" y="156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99" y="163"/>
                    <a:pt x="199" y="163"/>
                    <a:pt x="199" y="163"/>
                  </a:cubicBezTo>
                  <a:moveTo>
                    <a:pt x="214" y="163"/>
                  </a:moveTo>
                  <a:cubicBezTo>
                    <a:pt x="214" y="156"/>
                    <a:pt x="214" y="156"/>
                    <a:pt x="214" y="156"/>
                  </a:cubicBezTo>
                  <a:cubicBezTo>
                    <a:pt x="221" y="156"/>
                    <a:pt x="221" y="156"/>
                    <a:pt x="221" y="156"/>
                  </a:cubicBezTo>
                  <a:cubicBezTo>
                    <a:pt x="221" y="163"/>
                    <a:pt x="221" y="163"/>
                    <a:pt x="221" y="163"/>
                  </a:cubicBezTo>
                  <a:cubicBezTo>
                    <a:pt x="214" y="163"/>
                    <a:pt x="214" y="163"/>
                    <a:pt x="214" y="163"/>
                  </a:cubicBezTo>
                  <a:moveTo>
                    <a:pt x="229" y="163"/>
                  </a:moveTo>
                  <a:cubicBezTo>
                    <a:pt x="229" y="156"/>
                    <a:pt x="229" y="156"/>
                    <a:pt x="229" y="156"/>
                  </a:cubicBezTo>
                  <a:cubicBezTo>
                    <a:pt x="236" y="156"/>
                    <a:pt x="236" y="156"/>
                    <a:pt x="236" y="156"/>
                  </a:cubicBezTo>
                  <a:cubicBezTo>
                    <a:pt x="236" y="163"/>
                    <a:pt x="236" y="163"/>
                    <a:pt x="236" y="163"/>
                  </a:cubicBezTo>
                  <a:cubicBezTo>
                    <a:pt x="229" y="163"/>
                    <a:pt x="229" y="163"/>
                    <a:pt x="229" y="163"/>
                  </a:cubicBezTo>
                  <a:moveTo>
                    <a:pt x="244" y="163"/>
                  </a:moveTo>
                  <a:cubicBezTo>
                    <a:pt x="244" y="156"/>
                    <a:pt x="244" y="156"/>
                    <a:pt x="244" y="156"/>
                  </a:cubicBezTo>
                  <a:cubicBezTo>
                    <a:pt x="251" y="156"/>
                    <a:pt x="251" y="156"/>
                    <a:pt x="251" y="156"/>
                  </a:cubicBezTo>
                  <a:cubicBezTo>
                    <a:pt x="251" y="163"/>
                    <a:pt x="251" y="163"/>
                    <a:pt x="251" y="163"/>
                  </a:cubicBezTo>
                  <a:cubicBezTo>
                    <a:pt x="244" y="163"/>
                    <a:pt x="244" y="163"/>
                    <a:pt x="244" y="163"/>
                  </a:cubicBezTo>
                  <a:moveTo>
                    <a:pt x="258" y="163"/>
                  </a:moveTo>
                  <a:cubicBezTo>
                    <a:pt x="258" y="156"/>
                    <a:pt x="258" y="156"/>
                    <a:pt x="258" y="156"/>
                  </a:cubicBezTo>
                  <a:cubicBezTo>
                    <a:pt x="265" y="156"/>
                    <a:pt x="265" y="156"/>
                    <a:pt x="265" y="156"/>
                  </a:cubicBezTo>
                  <a:cubicBezTo>
                    <a:pt x="265" y="163"/>
                    <a:pt x="265" y="163"/>
                    <a:pt x="265" y="163"/>
                  </a:cubicBezTo>
                  <a:cubicBezTo>
                    <a:pt x="258" y="163"/>
                    <a:pt x="258" y="163"/>
                    <a:pt x="258" y="163"/>
                  </a:cubicBezTo>
                  <a:moveTo>
                    <a:pt x="273" y="163"/>
                  </a:moveTo>
                  <a:cubicBezTo>
                    <a:pt x="273" y="156"/>
                    <a:pt x="273" y="156"/>
                    <a:pt x="273" y="156"/>
                  </a:cubicBezTo>
                  <a:cubicBezTo>
                    <a:pt x="280" y="156"/>
                    <a:pt x="280" y="156"/>
                    <a:pt x="280" y="156"/>
                  </a:cubicBezTo>
                  <a:cubicBezTo>
                    <a:pt x="280" y="163"/>
                    <a:pt x="280" y="163"/>
                    <a:pt x="280" y="163"/>
                  </a:cubicBezTo>
                  <a:cubicBezTo>
                    <a:pt x="273" y="163"/>
                    <a:pt x="273" y="163"/>
                    <a:pt x="273" y="163"/>
                  </a:cubicBezTo>
                  <a:moveTo>
                    <a:pt x="288" y="163"/>
                  </a:moveTo>
                  <a:cubicBezTo>
                    <a:pt x="288" y="156"/>
                    <a:pt x="288" y="156"/>
                    <a:pt x="288" y="156"/>
                  </a:cubicBezTo>
                  <a:cubicBezTo>
                    <a:pt x="295" y="156"/>
                    <a:pt x="295" y="156"/>
                    <a:pt x="295" y="156"/>
                  </a:cubicBezTo>
                  <a:cubicBezTo>
                    <a:pt x="295" y="163"/>
                    <a:pt x="295" y="163"/>
                    <a:pt x="295" y="163"/>
                  </a:cubicBezTo>
                  <a:cubicBezTo>
                    <a:pt x="288" y="163"/>
                    <a:pt x="288" y="163"/>
                    <a:pt x="288" y="163"/>
                  </a:cubicBezTo>
                  <a:moveTo>
                    <a:pt x="303" y="163"/>
                  </a:moveTo>
                  <a:cubicBezTo>
                    <a:pt x="303" y="156"/>
                    <a:pt x="303" y="156"/>
                    <a:pt x="303" y="156"/>
                  </a:cubicBezTo>
                  <a:cubicBezTo>
                    <a:pt x="310" y="156"/>
                    <a:pt x="310" y="156"/>
                    <a:pt x="310" y="156"/>
                  </a:cubicBezTo>
                  <a:cubicBezTo>
                    <a:pt x="310" y="163"/>
                    <a:pt x="310" y="163"/>
                    <a:pt x="310" y="163"/>
                  </a:cubicBezTo>
                  <a:cubicBezTo>
                    <a:pt x="303" y="163"/>
                    <a:pt x="303" y="163"/>
                    <a:pt x="303" y="163"/>
                  </a:cubicBezTo>
                  <a:moveTo>
                    <a:pt x="317" y="163"/>
                  </a:moveTo>
                  <a:cubicBezTo>
                    <a:pt x="317" y="156"/>
                    <a:pt x="317" y="156"/>
                    <a:pt x="317" y="156"/>
                  </a:cubicBezTo>
                  <a:cubicBezTo>
                    <a:pt x="324" y="156"/>
                    <a:pt x="324" y="156"/>
                    <a:pt x="324" y="156"/>
                  </a:cubicBezTo>
                  <a:cubicBezTo>
                    <a:pt x="324" y="163"/>
                    <a:pt x="324" y="163"/>
                    <a:pt x="324" y="163"/>
                  </a:cubicBezTo>
                  <a:cubicBezTo>
                    <a:pt x="317" y="163"/>
                    <a:pt x="317" y="163"/>
                    <a:pt x="317" y="163"/>
                  </a:cubicBezTo>
                  <a:moveTo>
                    <a:pt x="332" y="163"/>
                  </a:moveTo>
                  <a:cubicBezTo>
                    <a:pt x="332" y="156"/>
                    <a:pt x="332" y="156"/>
                    <a:pt x="332" y="156"/>
                  </a:cubicBezTo>
                  <a:cubicBezTo>
                    <a:pt x="339" y="156"/>
                    <a:pt x="339" y="156"/>
                    <a:pt x="339" y="156"/>
                  </a:cubicBezTo>
                  <a:cubicBezTo>
                    <a:pt x="339" y="163"/>
                    <a:pt x="339" y="163"/>
                    <a:pt x="339" y="163"/>
                  </a:cubicBezTo>
                  <a:cubicBezTo>
                    <a:pt x="332" y="163"/>
                    <a:pt x="332" y="163"/>
                    <a:pt x="332" y="163"/>
                  </a:cubicBezTo>
                  <a:moveTo>
                    <a:pt x="347" y="163"/>
                  </a:moveTo>
                  <a:cubicBezTo>
                    <a:pt x="347" y="156"/>
                    <a:pt x="347" y="156"/>
                    <a:pt x="347" y="156"/>
                  </a:cubicBezTo>
                  <a:cubicBezTo>
                    <a:pt x="354" y="156"/>
                    <a:pt x="354" y="156"/>
                    <a:pt x="354" y="156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47" y="163"/>
                    <a:pt x="347" y="163"/>
                    <a:pt x="347" y="163"/>
                  </a:cubicBezTo>
                  <a:moveTo>
                    <a:pt x="362" y="163"/>
                  </a:moveTo>
                  <a:cubicBezTo>
                    <a:pt x="362" y="156"/>
                    <a:pt x="362" y="156"/>
                    <a:pt x="362" y="156"/>
                  </a:cubicBezTo>
                  <a:cubicBezTo>
                    <a:pt x="369" y="156"/>
                    <a:pt x="369" y="156"/>
                    <a:pt x="369" y="156"/>
                  </a:cubicBezTo>
                  <a:cubicBezTo>
                    <a:pt x="369" y="163"/>
                    <a:pt x="369" y="163"/>
                    <a:pt x="369" y="163"/>
                  </a:cubicBezTo>
                  <a:cubicBezTo>
                    <a:pt x="362" y="163"/>
                    <a:pt x="362" y="163"/>
                    <a:pt x="362" y="163"/>
                  </a:cubicBezTo>
                  <a:moveTo>
                    <a:pt x="376" y="163"/>
                  </a:moveTo>
                  <a:cubicBezTo>
                    <a:pt x="376" y="156"/>
                    <a:pt x="376" y="156"/>
                    <a:pt x="376" y="156"/>
                  </a:cubicBezTo>
                  <a:cubicBezTo>
                    <a:pt x="383" y="156"/>
                    <a:pt x="383" y="156"/>
                    <a:pt x="383" y="156"/>
                  </a:cubicBezTo>
                  <a:cubicBezTo>
                    <a:pt x="383" y="163"/>
                    <a:pt x="383" y="163"/>
                    <a:pt x="383" y="163"/>
                  </a:cubicBezTo>
                  <a:cubicBezTo>
                    <a:pt x="376" y="163"/>
                    <a:pt x="376" y="163"/>
                    <a:pt x="376" y="163"/>
                  </a:cubicBezTo>
                  <a:moveTo>
                    <a:pt x="22" y="148"/>
                  </a:moveTo>
                  <a:cubicBezTo>
                    <a:pt x="22" y="141"/>
                    <a:pt x="22" y="141"/>
                    <a:pt x="22" y="141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22" y="148"/>
                    <a:pt x="22" y="148"/>
                    <a:pt x="22" y="148"/>
                  </a:cubicBezTo>
                  <a:moveTo>
                    <a:pt x="37" y="148"/>
                  </a:moveTo>
                  <a:cubicBezTo>
                    <a:pt x="37" y="141"/>
                    <a:pt x="37" y="141"/>
                    <a:pt x="37" y="141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37" y="148"/>
                    <a:pt x="37" y="148"/>
                    <a:pt x="37" y="148"/>
                  </a:cubicBezTo>
                  <a:moveTo>
                    <a:pt x="52" y="148"/>
                  </a:moveTo>
                  <a:cubicBezTo>
                    <a:pt x="52" y="141"/>
                    <a:pt x="52" y="141"/>
                    <a:pt x="52" y="141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2" y="148"/>
                    <a:pt x="52" y="148"/>
                    <a:pt x="52" y="148"/>
                  </a:cubicBezTo>
                  <a:moveTo>
                    <a:pt x="67" y="148"/>
                  </a:moveTo>
                  <a:cubicBezTo>
                    <a:pt x="67" y="141"/>
                    <a:pt x="67" y="141"/>
                    <a:pt x="67" y="141"/>
                  </a:cubicBezTo>
                  <a:cubicBezTo>
                    <a:pt x="74" y="141"/>
                    <a:pt x="74" y="141"/>
                    <a:pt x="74" y="141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67" y="148"/>
                    <a:pt x="67" y="148"/>
                    <a:pt x="67" y="148"/>
                  </a:cubicBezTo>
                  <a:moveTo>
                    <a:pt x="81" y="148"/>
                  </a:moveTo>
                  <a:cubicBezTo>
                    <a:pt x="81" y="141"/>
                    <a:pt x="81" y="141"/>
                    <a:pt x="81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8"/>
                    <a:pt x="88" y="148"/>
                    <a:pt x="88" y="148"/>
                  </a:cubicBezTo>
                  <a:cubicBezTo>
                    <a:pt x="81" y="148"/>
                    <a:pt x="81" y="148"/>
                    <a:pt x="81" y="148"/>
                  </a:cubicBezTo>
                  <a:moveTo>
                    <a:pt x="96" y="148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3" y="148"/>
                    <a:pt x="103" y="148"/>
                    <a:pt x="103" y="148"/>
                  </a:cubicBezTo>
                  <a:cubicBezTo>
                    <a:pt x="96" y="148"/>
                    <a:pt x="96" y="148"/>
                    <a:pt x="96" y="148"/>
                  </a:cubicBezTo>
                  <a:moveTo>
                    <a:pt x="111" y="148"/>
                  </a:moveTo>
                  <a:cubicBezTo>
                    <a:pt x="111" y="141"/>
                    <a:pt x="111" y="141"/>
                    <a:pt x="111" y="141"/>
                  </a:cubicBezTo>
                  <a:cubicBezTo>
                    <a:pt x="118" y="141"/>
                    <a:pt x="118" y="141"/>
                    <a:pt x="118" y="141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1" y="148"/>
                    <a:pt x="111" y="148"/>
                    <a:pt x="111" y="148"/>
                  </a:cubicBezTo>
                  <a:moveTo>
                    <a:pt x="126" y="148"/>
                  </a:moveTo>
                  <a:cubicBezTo>
                    <a:pt x="126" y="141"/>
                    <a:pt x="126" y="141"/>
                    <a:pt x="126" y="141"/>
                  </a:cubicBezTo>
                  <a:cubicBezTo>
                    <a:pt x="133" y="141"/>
                    <a:pt x="133" y="141"/>
                    <a:pt x="133" y="141"/>
                  </a:cubicBezTo>
                  <a:cubicBezTo>
                    <a:pt x="133" y="148"/>
                    <a:pt x="133" y="148"/>
                    <a:pt x="133" y="148"/>
                  </a:cubicBezTo>
                  <a:cubicBezTo>
                    <a:pt x="126" y="148"/>
                    <a:pt x="126" y="148"/>
                    <a:pt x="126" y="148"/>
                  </a:cubicBezTo>
                  <a:moveTo>
                    <a:pt x="140" y="148"/>
                  </a:moveTo>
                  <a:cubicBezTo>
                    <a:pt x="140" y="141"/>
                    <a:pt x="140" y="141"/>
                    <a:pt x="140" y="141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0" y="148"/>
                    <a:pt x="140" y="148"/>
                    <a:pt x="140" y="148"/>
                  </a:cubicBezTo>
                  <a:moveTo>
                    <a:pt x="155" y="148"/>
                  </a:moveTo>
                  <a:cubicBezTo>
                    <a:pt x="155" y="141"/>
                    <a:pt x="155" y="141"/>
                    <a:pt x="155" y="141"/>
                  </a:cubicBezTo>
                  <a:cubicBezTo>
                    <a:pt x="162" y="141"/>
                    <a:pt x="162" y="141"/>
                    <a:pt x="162" y="141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55" y="148"/>
                    <a:pt x="155" y="148"/>
                    <a:pt x="155" y="148"/>
                  </a:cubicBezTo>
                  <a:moveTo>
                    <a:pt x="170" y="148"/>
                  </a:moveTo>
                  <a:cubicBezTo>
                    <a:pt x="170" y="141"/>
                    <a:pt x="170" y="141"/>
                    <a:pt x="170" y="141"/>
                  </a:cubicBezTo>
                  <a:cubicBezTo>
                    <a:pt x="177" y="141"/>
                    <a:pt x="177" y="141"/>
                    <a:pt x="177" y="141"/>
                  </a:cubicBezTo>
                  <a:cubicBezTo>
                    <a:pt x="177" y="148"/>
                    <a:pt x="177" y="148"/>
                    <a:pt x="177" y="148"/>
                  </a:cubicBezTo>
                  <a:cubicBezTo>
                    <a:pt x="170" y="148"/>
                    <a:pt x="170" y="148"/>
                    <a:pt x="170" y="148"/>
                  </a:cubicBezTo>
                  <a:moveTo>
                    <a:pt x="185" y="148"/>
                  </a:moveTo>
                  <a:cubicBezTo>
                    <a:pt x="185" y="141"/>
                    <a:pt x="185" y="141"/>
                    <a:pt x="185" y="141"/>
                  </a:cubicBezTo>
                  <a:cubicBezTo>
                    <a:pt x="192" y="141"/>
                    <a:pt x="192" y="141"/>
                    <a:pt x="192" y="141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185" y="148"/>
                    <a:pt x="185" y="148"/>
                    <a:pt x="185" y="148"/>
                  </a:cubicBezTo>
                  <a:moveTo>
                    <a:pt x="199" y="148"/>
                  </a:moveTo>
                  <a:cubicBezTo>
                    <a:pt x="199" y="141"/>
                    <a:pt x="199" y="141"/>
                    <a:pt x="199" y="141"/>
                  </a:cubicBezTo>
                  <a:cubicBezTo>
                    <a:pt x="206" y="141"/>
                    <a:pt x="206" y="141"/>
                    <a:pt x="206" y="141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199" y="148"/>
                    <a:pt x="199" y="148"/>
                    <a:pt x="199" y="148"/>
                  </a:cubicBezTo>
                  <a:moveTo>
                    <a:pt x="214" y="148"/>
                  </a:moveTo>
                  <a:cubicBezTo>
                    <a:pt x="214" y="141"/>
                    <a:pt x="214" y="141"/>
                    <a:pt x="214" y="141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14" y="148"/>
                    <a:pt x="214" y="148"/>
                    <a:pt x="214" y="148"/>
                  </a:cubicBezTo>
                  <a:moveTo>
                    <a:pt x="229" y="148"/>
                  </a:moveTo>
                  <a:cubicBezTo>
                    <a:pt x="229" y="141"/>
                    <a:pt x="229" y="141"/>
                    <a:pt x="229" y="141"/>
                  </a:cubicBezTo>
                  <a:cubicBezTo>
                    <a:pt x="236" y="141"/>
                    <a:pt x="236" y="141"/>
                    <a:pt x="236" y="141"/>
                  </a:cubicBezTo>
                  <a:cubicBezTo>
                    <a:pt x="236" y="148"/>
                    <a:pt x="236" y="148"/>
                    <a:pt x="236" y="148"/>
                  </a:cubicBezTo>
                  <a:cubicBezTo>
                    <a:pt x="229" y="148"/>
                    <a:pt x="229" y="148"/>
                    <a:pt x="229" y="148"/>
                  </a:cubicBezTo>
                  <a:moveTo>
                    <a:pt x="244" y="148"/>
                  </a:moveTo>
                  <a:cubicBezTo>
                    <a:pt x="244" y="141"/>
                    <a:pt x="244" y="141"/>
                    <a:pt x="244" y="141"/>
                  </a:cubicBezTo>
                  <a:cubicBezTo>
                    <a:pt x="251" y="141"/>
                    <a:pt x="251" y="141"/>
                    <a:pt x="251" y="141"/>
                  </a:cubicBezTo>
                  <a:cubicBezTo>
                    <a:pt x="251" y="148"/>
                    <a:pt x="251" y="148"/>
                    <a:pt x="251" y="148"/>
                  </a:cubicBezTo>
                  <a:cubicBezTo>
                    <a:pt x="244" y="148"/>
                    <a:pt x="244" y="148"/>
                    <a:pt x="244" y="148"/>
                  </a:cubicBezTo>
                  <a:moveTo>
                    <a:pt x="258" y="148"/>
                  </a:moveTo>
                  <a:cubicBezTo>
                    <a:pt x="258" y="141"/>
                    <a:pt x="258" y="141"/>
                    <a:pt x="258" y="141"/>
                  </a:cubicBezTo>
                  <a:cubicBezTo>
                    <a:pt x="265" y="141"/>
                    <a:pt x="265" y="141"/>
                    <a:pt x="265" y="141"/>
                  </a:cubicBezTo>
                  <a:cubicBezTo>
                    <a:pt x="265" y="148"/>
                    <a:pt x="265" y="148"/>
                    <a:pt x="265" y="148"/>
                  </a:cubicBezTo>
                  <a:cubicBezTo>
                    <a:pt x="258" y="148"/>
                    <a:pt x="258" y="148"/>
                    <a:pt x="258" y="148"/>
                  </a:cubicBezTo>
                  <a:moveTo>
                    <a:pt x="273" y="148"/>
                  </a:moveTo>
                  <a:cubicBezTo>
                    <a:pt x="273" y="141"/>
                    <a:pt x="273" y="141"/>
                    <a:pt x="273" y="141"/>
                  </a:cubicBezTo>
                  <a:cubicBezTo>
                    <a:pt x="280" y="141"/>
                    <a:pt x="280" y="141"/>
                    <a:pt x="280" y="141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73" y="148"/>
                    <a:pt x="273" y="148"/>
                    <a:pt x="273" y="148"/>
                  </a:cubicBezTo>
                  <a:moveTo>
                    <a:pt x="288" y="148"/>
                  </a:moveTo>
                  <a:cubicBezTo>
                    <a:pt x="288" y="141"/>
                    <a:pt x="288" y="141"/>
                    <a:pt x="288" y="141"/>
                  </a:cubicBezTo>
                  <a:cubicBezTo>
                    <a:pt x="295" y="141"/>
                    <a:pt x="295" y="141"/>
                    <a:pt x="295" y="141"/>
                  </a:cubicBezTo>
                  <a:cubicBezTo>
                    <a:pt x="295" y="148"/>
                    <a:pt x="295" y="148"/>
                    <a:pt x="295" y="148"/>
                  </a:cubicBezTo>
                  <a:cubicBezTo>
                    <a:pt x="288" y="148"/>
                    <a:pt x="288" y="148"/>
                    <a:pt x="288" y="148"/>
                  </a:cubicBezTo>
                  <a:moveTo>
                    <a:pt x="303" y="148"/>
                  </a:moveTo>
                  <a:cubicBezTo>
                    <a:pt x="303" y="141"/>
                    <a:pt x="303" y="141"/>
                    <a:pt x="303" y="141"/>
                  </a:cubicBezTo>
                  <a:cubicBezTo>
                    <a:pt x="310" y="141"/>
                    <a:pt x="310" y="141"/>
                    <a:pt x="310" y="141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3" y="148"/>
                    <a:pt x="303" y="148"/>
                    <a:pt x="303" y="148"/>
                  </a:cubicBezTo>
                  <a:moveTo>
                    <a:pt x="317" y="148"/>
                  </a:moveTo>
                  <a:cubicBezTo>
                    <a:pt x="317" y="141"/>
                    <a:pt x="317" y="141"/>
                    <a:pt x="317" y="141"/>
                  </a:cubicBezTo>
                  <a:cubicBezTo>
                    <a:pt x="324" y="141"/>
                    <a:pt x="324" y="141"/>
                    <a:pt x="324" y="141"/>
                  </a:cubicBezTo>
                  <a:cubicBezTo>
                    <a:pt x="324" y="148"/>
                    <a:pt x="324" y="148"/>
                    <a:pt x="324" y="148"/>
                  </a:cubicBezTo>
                  <a:cubicBezTo>
                    <a:pt x="317" y="148"/>
                    <a:pt x="317" y="148"/>
                    <a:pt x="317" y="148"/>
                  </a:cubicBezTo>
                  <a:moveTo>
                    <a:pt x="332" y="148"/>
                  </a:moveTo>
                  <a:cubicBezTo>
                    <a:pt x="332" y="141"/>
                    <a:pt x="332" y="141"/>
                    <a:pt x="332" y="141"/>
                  </a:cubicBezTo>
                  <a:cubicBezTo>
                    <a:pt x="339" y="141"/>
                    <a:pt x="339" y="141"/>
                    <a:pt x="339" y="141"/>
                  </a:cubicBezTo>
                  <a:cubicBezTo>
                    <a:pt x="339" y="148"/>
                    <a:pt x="339" y="148"/>
                    <a:pt x="339" y="148"/>
                  </a:cubicBezTo>
                  <a:cubicBezTo>
                    <a:pt x="332" y="148"/>
                    <a:pt x="332" y="148"/>
                    <a:pt x="332" y="148"/>
                  </a:cubicBezTo>
                  <a:moveTo>
                    <a:pt x="347" y="148"/>
                  </a:moveTo>
                  <a:cubicBezTo>
                    <a:pt x="347" y="141"/>
                    <a:pt x="347" y="141"/>
                    <a:pt x="347" y="141"/>
                  </a:cubicBezTo>
                  <a:cubicBezTo>
                    <a:pt x="354" y="141"/>
                    <a:pt x="354" y="141"/>
                    <a:pt x="354" y="141"/>
                  </a:cubicBezTo>
                  <a:cubicBezTo>
                    <a:pt x="354" y="148"/>
                    <a:pt x="354" y="148"/>
                    <a:pt x="354" y="148"/>
                  </a:cubicBezTo>
                  <a:cubicBezTo>
                    <a:pt x="347" y="148"/>
                    <a:pt x="347" y="148"/>
                    <a:pt x="347" y="148"/>
                  </a:cubicBezTo>
                  <a:moveTo>
                    <a:pt x="362" y="148"/>
                  </a:moveTo>
                  <a:cubicBezTo>
                    <a:pt x="362" y="141"/>
                    <a:pt x="362" y="141"/>
                    <a:pt x="362" y="141"/>
                  </a:cubicBezTo>
                  <a:cubicBezTo>
                    <a:pt x="369" y="141"/>
                    <a:pt x="369" y="141"/>
                    <a:pt x="369" y="141"/>
                  </a:cubicBezTo>
                  <a:cubicBezTo>
                    <a:pt x="369" y="148"/>
                    <a:pt x="369" y="148"/>
                    <a:pt x="369" y="148"/>
                  </a:cubicBezTo>
                  <a:cubicBezTo>
                    <a:pt x="362" y="148"/>
                    <a:pt x="362" y="148"/>
                    <a:pt x="362" y="148"/>
                  </a:cubicBezTo>
                  <a:moveTo>
                    <a:pt x="22" y="133"/>
                  </a:moveTo>
                  <a:cubicBezTo>
                    <a:pt x="22" y="126"/>
                    <a:pt x="22" y="126"/>
                    <a:pt x="22" y="126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29" y="133"/>
                    <a:pt x="29" y="133"/>
                    <a:pt x="29" y="133"/>
                  </a:cubicBezTo>
                  <a:cubicBezTo>
                    <a:pt x="22" y="133"/>
                    <a:pt x="22" y="133"/>
                    <a:pt x="22" y="133"/>
                  </a:cubicBezTo>
                  <a:moveTo>
                    <a:pt x="37" y="133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44" y="126"/>
                    <a:pt x="44" y="126"/>
                    <a:pt x="44" y="12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37" y="133"/>
                    <a:pt x="37" y="133"/>
                    <a:pt x="37" y="133"/>
                  </a:cubicBezTo>
                  <a:moveTo>
                    <a:pt x="52" y="133"/>
                  </a:moveTo>
                  <a:cubicBezTo>
                    <a:pt x="52" y="126"/>
                    <a:pt x="52" y="126"/>
                    <a:pt x="5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59" y="133"/>
                    <a:pt x="59" y="133"/>
                    <a:pt x="59" y="133"/>
                  </a:cubicBezTo>
                  <a:cubicBezTo>
                    <a:pt x="52" y="133"/>
                    <a:pt x="52" y="133"/>
                    <a:pt x="52" y="133"/>
                  </a:cubicBezTo>
                  <a:moveTo>
                    <a:pt x="67" y="133"/>
                  </a:moveTo>
                  <a:cubicBezTo>
                    <a:pt x="67" y="126"/>
                    <a:pt x="67" y="126"/>
                    <a:pt x="67" y="126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67" y="133"/>
                    <a:pt x="67" y="133"/>
                    <a:pt x="67" y="133"/>
                  </a:cubicBezTo>
                  <a:moveTo>
                    <a:pt x="81" y="133"/>
                  </a:moveTo>
                  <a:cubicBezTo>
                    <a:pt x="81" y="126"/>
                    <a:pt x="81" y="126"/>
                    <a:pt x="81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33"/>
                    <a:pt x="88" y="133"/>
                    <a:pt x="88" y="133"/>
                  </a:cubicBezTo>
                  <a:cubicBezTo>
                    <a:pt x="81" y="133"/>
                    <a:pt x="81" y="133"/>
                    <a:pt x="81" y="133"/>
                  </a:cubicBezTo>
                  <a:moveTo>
                    <a:pt x="96" y="133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33"/>
                    <a:pt x="103" y="133"/>
                    <a:pt x="103" y="133"/>
                  </a:cubicBezTo>
                  <a:cubicBezTo>
                    <a:pt x="96" y="133"/>
                    <a:pt x="96" y="133"/>
                    <a:pt x="96" y="133"/>
                  </a:cubicBezTo>
                  <a:moveTo>
                    <a:pt x="111" y="133"/>
                  </a:moveTo>
                  <a:cubicBezTo>
                    <a:pt x="111" y="126"/>
                    <a:pt x="111" y="126"/>
                    <a:pt x="111" y="126"/>
                  </a:cubicBezTo>
                  <a:cubicBezTo>
                    <a:pt x="118" y="126"/>
                    <a:pt x="118" y="126"/>
                    <a:pt x="118" y="126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11" y="133"/>
                    <a:pt x="111" y="133"/>
                    <a:pt x="111" y="133"/>
                  </a:cubicBezTo>
                  <a:moveTo>
                    <a:pt x="126" y="133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26" y="133"/>
                    <a:pt x="126" y="133"/>
                    <a:pt x="126" y="133"/>
                  </a:cubicBezTo>
                  <a:moveTo>
                    <a:pt x="140" y="133"/>
                  </a:moveTo>
                  <a:cubicBezTo>
                    <a:pt x="140" y="126"/>
                    <a:pt x="140" y="126"/>
                    <a:pt x="140" y="126"/>
                  </a:cubicBezTo>
                  <a:cubicBezTo>
                    <a:pt x="147" y="126"/>
                    <a:pt x="147" y="126"/>
                    <a:pt x="147" y="126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0" y="133"/>
                    <a:pt x="140" y="133"/>
                    <a:pt x="140" y="133"/>
                  </a:cubicBezTo>
                  <a:moveTo>
                    <a:pt x="155" y="133"/>
                  </a:moveTo>
                  <a:cubicBezTo>
                    <a:pt x="155" y="126"/>
                    <a:pt x="155" y="126"/>
                    <a:pt x="155" y="126"/>
                  </a:cubicBezTo>
                  <a:cubicBezTo>
                    <a:pt x="162" y="126"/>
                    <a:pt x="162" y="126"/>
                    <a:pt x="162" y="126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55" y="133"/>
                    <a:pt x="155" y="133"/>
                    <a:pt x="155" y="133"/>
                  </a:cubicBezTo>
                  <a:moveTo>
                    <a:pt x="170" y="133"/>
                  </a:moveTo>
                  <a:cubicBezTo>
                    <a:pt x="170" y="126"/>
                    <a:pt x="170" y="126"/>
                    <a:pt x="170" y="126"/>
                  </a:cubicBezTo>
                  <a:cubicBezTo>
                    <a:pt x="177" y="126"/>
                    <a:pt x="177" y="126"/>
                    <a:pt x="177" y="126"/>
                  </a:cubicBezTo>
                  <a:cubicBezTo>
                    <a:pt x="177" y="133"/>
                    <a:pt x="177" y="133"/>
                    <a:pt x="177" y="133"/>
                  </a:cubicBezTo>
                  <a:cubicBezTo>
                    <a:pt x="170" y="133"/>
                    <a:pt x="170" y="133"/>
                    <a:pt x="170" y="133"/>
                  </a:cubicBezTo>
                  <a:moveTo>
                    <a:pt x="185" y="133"/>
                  </a:moveTo>
                  <a:cubicBezTo>
                    <a:pt x="185" y="126"/>
                    <a:pt x="185" y="126"/>
                    <a:pt x="185" y="126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85" y="133"/>
                    <a:pt x="185" y="133"/>
                    <a:pt x="185" y="133"/>
                  </a:cubicBezTo>
                  <a:moveTo>
                    <a:pt x="199" y="133"/>
                  </a:moveTo>
                  <a:cubicBezTo>
                    <a:pt x="199" y="126"/>
                    <a:pt x="199" y="126"/>
                    <a:pt x="199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206" y="133"/>
                    <a:pt x="206" y="133"/>
                    <a:pt x="206" y="133"/>
                  </a:cubicBezTo>
                  <a:cubicBezTo>
                    <a:pt x="199" y="133"/>
                    <a:pt x="199" y="133"/>
                    <a:pt x="199" y="133"/>
                  </a:cubicBezTo>
                  <a:moveTo>
                    <a:pt x="214" y="133"/>
                  </a:moveTo>
                  <a:cubicBezTo>
                    <a:pt x="214" y="126"/>
                    <a:pt x="214" y="126"/>
                    <a:pt x="214" y="126"/>
                  </a:cubicBezTo>
                  <a:cubicBezTo>
                    <a:pt x="221" y="126"/>
                    <a:pt x="221" y="126"/>
                    <a:pt x="221" y="126"/>
                  </a:cubicBezTo>
                  <a:cubicBezTo>
                    <a:pt x="221" y="133"/>
                    <a:pt x="221" y="133"/>
                    <a:pt x="221" y="133"/>
                  </a:cubicBezTo>
                  <a:cubicBezTo>
                    <a:pt x="214" y="133"/>
                    <a:pt x="214" y="133"/>
                    <a:pt x="214" y="133"/>
                  </a:cubicBezTo>
                  <a:moveTo>
                    <a:pt x="229" y="133"/>
                  </a:moveTo>
                  <a:cubicBezTo>
                    <a:pt x="229" y="126"/>
                    <a:pt x="229" y="126"/>
                    <a:pt x="229" y="126"/>
                  </a:cubicBezTo>
                  <a:cubicBezTo>
                    <a:pt x="236" y="126"/>
                    <a:pt x="236" y="126"/>
                    <a:pt x="236" y="126"/>
                  </a:cubicBezTo>
                  <a:cubicBezTo>
                    <a:pt x="236" y="133"/>
                    <a:pt x="236" y="133"/>
                    <a:pt x="236" y="133"/>
                  </a:cubicBezTo>
                  <a:cubicBezTo>
                    <a:pt x="229" y="133"/>
                    <a:pt x="229" y="133"/>
                    <a:pt x="229" y="133"/>
                  </a:cubicBezTo>
                  <a:moveTo>
                    <a:pt x="244" y="133"/>
                  </a:moveTo>
                  <a:cubicBezTo>
                    <a:pt x="244" y="126"/>
                    <a:pt x="244" y="126"/>
                    <a:pt x="244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33"/>
                    <a:pt x="251" y="133"/>
                    <a:pt x="251" y="133"/>
                  </a:cubicBezTo>
                  <a:cubicBezTo>
                    <a:pt x="244" y="133"/>
                    <a:pt x="244" y="133"/>
                    <a:pt x="244" y="133"/>
                  </a:cubicBezTo>
                  <a:moveTo>
                    <a:pt x="258" y="133"/>
                  </a:moveTo>
                  <a:cubicBezTo>
                    <a:pt x="258" y="126"/>
                    <a:pt x="258" y="126"/>
                    <a:pt x="258" y="126"/>
                  </a:cubicBezTo>
                  <a:cubicBezTo>
                    <a:pt x="265" y="126"/>
                    <a:pt x="265" y="126"/>
                    <a:pt x="265" y="126"/>
                  </a:cubicBezTo>
                  <a:cubicBezTo>
                    <a:pt x="265" y="133"/>
                    <a:pt x="265" y="133"/>
                    <a:pt x="265" y="133"/>
                  </a:cubicBezTo>
                  <a:cubicBezTo>
                    <a:pt x="258" y="133"/>
                    <a:pt x="258" y="133"/>
                    <a:pt x="258" y="133"/>
                  </a:cubicBezTo>
                  <a:moveTo>
                    <a:pt x="273" y="133"/>
                  </a:moveTo>
                  <a:cubicBezTo>
                    <a:pt x="273" y="126"/>
                    <a:pt x="273" y="126"/>
                    <a:pt x="273" y="126"/>
                  </a:cubicBezTo>
                  <a:cubicBezTo>
                    <a:pt x="280" y="126"/>
                    <a:pt x="280" y="126"/>
                    <a:pt x="280" y="126"/>
                  </a:cubicBezTo>
                  <a:cubicBezTo>
                    <a:pt x="280" y="133"/>
                    <a:pt x="280" y="133"/>
                    <a:pt x="280" y="133"/>
                  </a:cubicBezTo>
                  <a:cubicBezTo>
                    <a:pt x="273" y="133"/>
                    <a:pt x="273" y="133"/>
                    <a:pt x="273" y="133"/>
                  </a:cubicBezTo>
                  <a:moveTo>
                    <a:pt x="288" y="133"/>
                  </a:moveTo>
                  <a:cubicBezTo>
                    <a:pt x="288" y="126"/>
                    <a:pt x="288" y="126"/>
                    <a:pt x="288" y="126"/>
                  </a:cubicBezTo>
                  <a:cubicBezTo>
                    <a:pt x="295" y="126"/>
                    <a:pt x="295" y="126"/>
                    <a:pt x="295" y="126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288" y="133"/>
                    <a:pt x="288" y="133"/>
                    <a:pt x="288" y="133"/>
                  </a:cubicBezTo>
                  <a:moveTo>
                    <a:pt x="303" y="133"/>
                  </a:moveTo>
                  <a:cubicBezTo>
                    <a:pt x="303" y="126"/>
                    <a:pt x="303" y="126"/>
                    <a:pt x="303" y="126"/>
                  </a:cubicBezTo>
                  <a:cubicBezTo>
                    <a:pt x="310" y="126"/>
                    <a:pt x="310" y="126"/>
                    <a:pt x="310" y="126"/>
                  </a:cubicBezTo>
                  <a:cubicBezTo>
                    <a:pt x="310" y="133"/>
                    <a:pt x="310" y="133"/>
                    <a:pt x="310" y="133"/>
                  </a:cubicBezTo>
                  <a:cubicBezTo>
                    <a:pt x="303" y="133"/>
                    <a:pt x="303" y="133"/>
                    <a:pt x="303" y="133"/>
                  </a:cubicBezTo>
                  <a:moveTo>
                    <a:pt x="317" y="133"/>
                  </a:moveTo>
                  <a:cubicBezTo>
                    <a:pt x="317" y="126"/>
                    <a:pt x="317" y="126"/>
                    <a:pt x="317" y="126"/>
                  </a:cubicBezTo>
                  <a:cubicBezTo>
                    <a:pt x="324" y="126"/>
                    <a:pt x="324" y="126"/>
                    <a:pt x="324" y="126"/>
                  </a:cubicBezTo>
                  <a:cubicBezTo>
                    <a:pt x="324" y="133"/>
                    <a:pt x="324" y="133"/>
                    <a:pt x="324" y="133"/>
                  </a:cubicBezTo>
                  <a:cubicBezTo>
                    <a:pt x="317" y="133"/>
                    <a:pt x="317" y="133"/>
                    <a:pt x="317" y="133"/>
                  </a:cubicBezTo>
                  <a:moveTo>
                    <a:pt x="332" y="133"/>
                  </a:moveTo>
                  <a:cubicBezTo>
                    <a:pt x="332" y="126"/>
                    <a:pt x="332" y="126"/>
                    <a:pt x="332" y="126"/>
                  </a:cubicBezTo>
                  <a:cubicBezTo>
                    <a:pt x="339" y="126"/>
                    <a:pt x="339" y="126"/>
                    <a:pt x="339" y="126"/>
                  </a:cubicBezTo>
                  <a:cubicBezTo>
                    <a:pt x="339" y="133"/>
                    <a:pt x="339" y="133"/>
                    <a:pt x="339" y="133"/>
                  </a:cubicBezTo>
                  <a:cubicBezTo>
                    <a:pt x="332" y="133"/>
                    <a:pt x="332" y="133"/>
                    <a:pt x="332" y="133"/>
                  </a:cubicBezTo>
                  <a:moveTo>
                    <a:pt x="347" y="133"/>
                  </a:moveTo>
                  <a:cubicBezTo>
                    <a:pt x="347" y="126"/>
                    <a:pt x="347" y="126"/>
                    <a:pt x="347" y="126"/>
                  </a:cubicBezTo>
                  <a:cubicBezTo>
                    <a:pt x="354" y="126"/>
                    <a:pt x="354" y="126"/>
                    <a:pt x="354" y="126"/>
                  </a:cubicBezTo>
                  <a:cubicBezTo>
                    <a:pt x="354" y="133"/>
                    <a:pt x="354" y="133"/>
                    <a:pt x="354" y="133"/>
                  </a:cubicBezTo>
                  <a:cubicBezTo>
                    <a:pt x="347" y="133"/>
                    <a:pt x="347" y="133"/>
                    <a:pt x="347" y="133"/>
                  </a:cubicBezTo>
                  <a:moveTo>
                    <a:pt x="362" y="133"/>
                  </a:moveTo>
                  <a:cubicBezTo>
                    <a:pt x="362" y="126"/>
                    <a:pt x="362" y="126"/>
                    <a:pt x="362" y="126"/>
                  </a:cubicBezTo>
                  <a:cubicBezTo>
                    <a:pt x="369" y="126"/>
                    <a:pt x="369" y="126"/>
                    <a:pt x="369" y="126"/>
                  </a:cubicBezTo>
                  <a:cubicBezTo>
                    <a:pt x="369" y="133"/>
                    <a:pt x="369" y="133"/>
                    <a:pt x="369" y="133"/>
                  </a:cubicBezTo>
                  <a:cubicBezTo>
                    <a:pt x="362" y="133"/>
                    <a:pt x="362" y="133"/>
                    <a:pt x="362" y="133"/>
                  </a:cubicBezTo>
                  <a:moveTo>
                    <a:pt x="22" y="118"/>
                  </a:moveTo>
                  <a:cubicBezTo>
                    <a:pt x="22" y="111"/>
                    <a:pt x="22" y="111"/>
                    <a:pt x="22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22" y="118"/>
                    <a:pt x="22" y="118"/>
                    <a:pt x="22" y="118"/>
                  </a:cubicBezTo>
                  <a:moveTo>
                    <a:pt x="37" y="118"/>
                  </a:moveTo>
                  <a:cubicBezTo>
                    <a:pt x="37" y="111"/>
                    <a:pt x="37" y="111"/>
                    <a:pt x="37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8"/>
                    <a:pt x="44" y="118"/>
                    <a:pt x="44" y="118"/>
                  </a:cubicBezTo>
                  <a:cubicBezTo>
                    <a:pt x="37" y="118"/>
                    <a:pt x="37" y="118"/>
                    <a:pt x="37" y="118"/>
                  </a:cubicBezTo>
                  <a:moveTo>
                    <a:pt x="52" y="118"/>
                  </a:moveTo>
                  <a:cubicBezTo>
                    <a:pt x="52" y="111"/>
                    <a:pt x="52" y="111"/>
                    <a:pt x="52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2" y="118"/>
                    <a:pt x="52" y="118"/>
                    <a:pt x="52" y="118"/>
                  </a:cubicBezTo>
                  <a:moveTo>
                    <a:pt x="67" y="118"/>
                  </a:moveTo>
                  <a:cubicBezTo>
                    <a:pt x="67" y="111"/>
                    <a:pt x="67" y="111"/>
                    <a:pt x="67" y="111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67" y="118"/>
                    <a:pt x="67" y="118"/>
                    <a:pt x="67" y="118"/>
                  </a:cubicBezTo>
                  <a:moveTo>
                    <a:pt x="81" y="118"/>
                  </a:moveTo>
                  <a:cubicBezTo>
                    <a:pt x="81" y="111"/>
                    <a:pt x="81" y="111"/>
                    <a:pt x="81" y="111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8" y="118"/>
                    <a:pt x="88" y="118"/>
                    <a:pt x="88" y="118"/>
                  </a:cubicBezTo>
                  <a:cubicBezTo>
                    <a:pt x="81" y="118"/>
                    <a:pt x="81" y="118"/>
                    <a:pt x="81" y="118"/>
                  </a:cubicBezTo>
                  <a:moveTo>
                    <a:pt x="96" y="118"/>
                  </a:moveTo>
                  <a:cubicBezTo>
                    <a:pt x="96" y="111"/>
                    <a:pt x="96" y="111"/>
                    <a:pt x="96" y="111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96" y="118"/>
                    <a:pt x="96" y="118"/>
                    <a:pt x="96" y="118"/>
                  </a:cubicBezTo>
                  <a:moveTo>
                    <a:pt x="111" y="118"/>
                  </a:moveTo>
                  <a:cubicBezTo>
                    <a:pt x="111" y="111"/>
                    <a:pt x="111" y="111"/>
                    <a:pt x="111" y="111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111" y="118"/>
                    <a:pt x="111" y="118"/>
                    <a:pt x="111" y="118"/>
                  </a:cubicBezTo>
                  <a:moveTo>
                    <a:pt x="126" y="118"/>
                  </a:moveTo>
                  <a:cubicBezTo>
                    <a:pt x="126" y="111"/>
                    <a:pt x="126" y="111"/>
                    <a:pt x="126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26" y="118"/>
                    <a:pt x="126" y="118"/>
                    <a:pt x="126" y="118"/>
                  </a:cubicBezTo>
                  <a:moveTo>
                    <a:pt x="140" y="118"/>
                  </a:moveTo>
                  <a:cubicBezTo>
                    <a:pt x="140" y="111"/>
                    <a:pt x="140" y="111"/>
                    <a:pt x="140" y="111"/>
                  </a:cubicBezTo>
                  <a:cubicBezTo>
                    <a:pt x="147" y="111"/>
                    <a:pt x="147" y="111"/>
                    <a:pt x="147" y="111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0" y="118"/>
                    <a:pt x="140" y="118"/>
                    <a:pt x="140" y="118"/>
                  </a:cubicBezTo>
                  <a:moveTo>
                    <a:pt x="155" y="118"/>
                  </a:moveTo>
                  <a:cubicBezTo>
                    <a:pt x="155" y="111"/>
                    <a:pt x="155" y="111"/>
                    <a:pt x="155" y="111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62" y="118"/>
                    <a:pt x="162" y="118"/>
                    <a:pt x="162" y="118"/>
                  </a:cubicBezTo>
                  <a:cubicBezTo>
                    <a:pt x="155" y="118"/>
                    <a:pt x="155" y="118"/>
                    <a:pt x="155" y="118"/>
                  </a:cubicBezTo>
                  <a:moveTo>
                    <a:pt x="170" y="118"/>
                  </a:moveTo>
                  <a:cubicBezTo>
                    <a:pt x="170" y="111"/>
                    <a:pt x="170" y="111"/>
                    <a:pt x="170" y="111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8"/>
                    <a:pt x="177" y="118"/>
                    <a:pt x="177" y="118"/>
                  </a:cubicBezTo>
                  <a:cubicBezTo>
                    <a:pt x="170" y="118"/>
                    <a:pt x="170" y="118"/>
                    <a:pt x="170" y="118"/>
                  </a:cubicBezTo>
                  <a:moveTo>
                    <a:pt x="185" y="118"/>
                  </a:moveTo>
                  <a:cubicBezTo>
                    <a:pt x="185" y="111"/>
                    <a:pt x="185" y="111"/>
                    <a:pt x="185" y="111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85" y="118"/>
                    <a:pt x="185" y="118"/>
                    <a:pt x="185" y="118"/>
                  </a:cubicBezTo>
                  <a:moveTo>
                    <a:pt x="199" y="118"/>
                  </a:moveTo>
                  <a:cubicBezTo>
                    <a:pt x="199" y="111"/>
                    <a:pt x="199" y="111"/>
                    <a:pt x="199" y="111"/>
                  </a:cubicBezTo>
                  <a:cubicBezTo>
                    <a:pt x="206" y="111"/>
                    <a:pt x="206" y="111"/>
                    <a:pt x="206" y="111"/>
                  </a:cubicBezTo>
                  <a:cubicBezTo>
                    <a:pt x="206" y="118"/>
                    <a:pt x="206" y="118"/>
                    <a:pt x="206" y="118"/>
                  </a:cubicBezTo>
                  <a:cubicBezTo>
                    <a:pt x="199" y="118"/>
                    <a:pt x="199" y="118"/>
                    <a:pt x="199" y="118"/>
                  </a:cubicBezTo>
                  <a:moveTo>
                    <a:pt x="214" y="118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21" y="111"/>
                    <a:pt x="221" y="111"/>
                    <a:pt x="221" y="111"/>
                  </a:cubicBezTo>
                  <a:cubicBezTo>
                    <a:pt x="221" y="118"/>
                    <a:pt x="221" y="118"/>
                    <a:pt x="221" y="118"/>
                  </a:cubicBezTo>
                  <a:cubicBezTo>
                    <a:pt x="214" y="118"/>
                    <a:pt x="214" y="118"/>
                    <a:pt x="214" y="118"/>
                  </a:cubicBezTo>
                  <a:moveTo>
                    <a:pt x="229" y="118"/>
                  </a:moveTo>
                  <a:cubicBezTo>
                    <a:pt x="229" y="111"/>
                    <a:pt x="229" y="111"/>
                    <a:pt x="229" y="111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29" y="118"/>
                    <a:pt x="229" y="118"/>
                    <a:pt x="229" y="118"/>
                  </a:cubicBezTo>
                  <a:moveTo>
                    <a:pt x="244" y="118"/>
                  </a:moveTo>
                  <a:cubicBezTo>
                    <a:pt x="244" y="111"/>
                    <a:pt x="244" y="111"/>
                    <a:pt x="244" y="111"/>
                  </a:cubicBezTo>
                  <a:cubicBezTo>
                    <a:pt x="251" y="111"/>
                    <a:pt x="251" y="111"/>
                    <a:pt x="251" y="111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4" y="118"/>
                    <a:pt x="244" y="118"/>
                    <a:pt x="244" y="118"/>
                  </a:cubicBezTo>
                  <a:moveTo>
                    <a:pt x="258" y="118"/>
                  </a:moveTo>
                  <a:cubicBezTo>
                    <a:pt x="258" y="111"/>
                    <a:pt x="258" y="111"/>
                    <a:pt x="258" y="111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58" y="118"/>
                    <a:pt x="258" y="118"/>
                    <a:pt x="258" y="118"/>
                  </a:cubicBezTo>
                  <a:moveTo>
                    <a:pt x="273" y="118"/>
                  </a:moveTo>
                  <a:cubicBezTo>
                    <a:pt x="273" y="111"/>
                    <a:pt x="273" y="111"/>
                    <a:pt x="273" y="111"/>
                  </a:cubicBezTo>
                  <a:cubicBezTo>
                    <a:pt x="280" y="111"/>
                    <a:pt x="280" y="111"/>
                    <a:pt x="280" y="111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3" y="118"/>
                    <a:pt x="273" y="118"/>
                    <a:pt x="273" y="118"/>
                  </a:cubicBezTo>
                  <a:moveTo>
                    <a:pt x="288" y="118"/>
                  </a:moveTo>
                  <a:cubicBezTo>
                    <a:pt x="288" y="111"/>
                    <a:pt x="288" y="111"/>
                    <a:pt x="288" y="111"/>
                  </a:cubicBezTo>
                  <a:cubicBezTo>
                    <a:pt x="295" y="111"/>
                    <a:pt x="295" y="111"/>
                    <a:pt x="295" y="111"/>
                  </a:cubicBezTo>
                  <a:cubicBezTo>
                    <a:pt x="295" y="118"/>
                    <a:pt x="295" y="118"/>
                    <a:pt x="295" y="118"/>
                  </a:cubicBezTo>
                  <a:cubicBezTo>
                    <a:pt x="288" y="118"/>
                    <a:pt x="288" y="118"/>
                    <a:pt x="288" y="118"/>
                  </a:cubicBezTo>
                  <a:moveTo>
                    <a:pt x="303" y="118"/>
                  </a:moveTo>
                  <a:cubicBezTo>
                    <a:pt x="303" y="111"/>
                    <a:pt x="303" y="111"/>
                    <a:pt x="303" y="111"/>
                  </a:cubicBezTo>
                  <a:cubicBezTo>
                    <a:pt x="310" y="111"/>
                    <a:pt x="310" y="111"/>
                    <a:pt x="310" y="111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03" y="118"/>
                    <a:pt x="303" y="118"/>
                    <a:pt x="303" y="118"/>
                  </a:cubicBezTo>
                  <a:moveTo>
                    <a:pt x="317" y="118"/>
                  </a:moveTo>
                  <a:cubicBezTo>
                    <a:pt x="317" y="111"/>
                    <a:pt x="317" y="111"/>
                    <a:pt x="317" y="111"/>
                  </a:cubicBezTo>
                  <a:cubicBezTo>
                    <a:pt x="324" y="111"/>
                    <a:pt x="324" y="111"/>
                    <a:pt x="324" y="111"/>
                  </a:cubicBezTo>
                  <a:cubicBezTo>
                    <a:pt x="324" y="118"/>
                    <a:pt x="324" y="118"/>
                    <a:pt x="324" y="118"/>
                  </a:cubicBezTo>
                  <a:cubicBezTo>
                    <a:pt x="317" y="118"/>
                    <a:pt x="317" y="118"/>
                    <a:pt x="317" y="118"/>
                  </a:cubicBezTo>
                  <a:moveTo>
                    <a:pt x="332" y="118"/>
                  </a:moveTo>
                  <a:cubicBezTo>
                    <a:pt x="332" y="111"/>
                    <a:pt x="332" y="111"/>
                    <a:pt x="332" y="111"/>
                  </a:cubicBezTo>
                  <a:cubicBezTo>
                    <a:pt x="339" y="111"/>
                    <a:pt x="339" y="111"/>
                    <a:pt x="339" y="111"/>
                  </a:cubicBezTo>
                  <a:cubicBezTo>
                    <a:pt x="339" y="118"/>
                    <a:pt x="339" y="118"/>
                    <a:pt x="339" y="118"/>
                  </a:cubicBezTo>
                  <a:cubicBezTo>
                    <a:pt x="332" y="118"/>
                    <a:pt x="332" y="118"/>
                    <a:pt x="332" y="118"/>
                  </a:cubicBezTo>
                  <a:moveTo>
                    <a:pt x="347" y="118"/>
                  </a:moveTo>
                  <a:cubicBezTo>
                    <a:pt x="347" y="111"/>
                    <a:pt x="347" y="111"/>
                    <a:pt x="347" y="111"/>
                  </a:cubicBezTo>
                  <a:cubicBezTo>
                    <a:pt x="354" y="111"/>
                    <a:pt x="354" y="111"/>
                    <a:pt x="354" y="111"/>
                  </a:cubicBezTo>
                  <a:cubicBezTo>
                    <a:pt x="354" y="118"/>
                    <a:pt x="354" y="118"/>
                    <a:pt x="354" y="118"/>
                  </a:cubicBezTo>
                  <a:cubicBezTo>
                    <a:pt x="347" y="118"/>
                    <a:pt x="347" y="118"/>
                    <a:pt x="347" y="118"/>
                  </a:cubicBezTo>
                  <a:moveTo>
                    <a:pt x="362" y="118"/>
                  </a:moveTo>
                  <a:cubicBezTo>
                    <a:pt x="362" y="111"/>
                    <a:pt x="362" y="111"/>
                    <a:pt x="362" y="111"/>
                  </a:cubicBezTo>
                  <a:cubicBezTo>
                    <a:pt x="369" y="111"/>
                    <a:pt x="369" y="111"/>
                    <a:pt x="369" y="111"/>
                  </a:cubicBezTo>
                  <a:cubicBezTo>
                    <a:pt x="369" y="118"/>
                    <a:pt x="369" y="118"/>
                    <a:pt x="369" y="118"/>
                  </a:cubicBezTo>
                  <a:cubicBezTo>
                    <a:pt x="362" y="118"/>
                    <a:pt x="362" y="118"/>
                    <a:pt x="362" y="118"/>
                  </a:cubicBezTo>
                  <a:moveTo>
                    <a:pt x="37" y="104"/>
                  </a:moveTo>
                  <a:cubicBezTo>
                    <a:pt x="37" y="97"/>
                    <a:pt x="37" y="97"/>
                    <a:pt x="37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37" y="104"/>
                    <a:pt x="37" y="104"/>
                    <a:pt x="37" y="104"/>
                  </a:cubicBezTo>
                  <a:moveTo>
                    <a:pt x="52" y="104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104"/>
                    <a:pt x="59" y="104"/>
                    <a:pt x="59" y="104"/>
                  </a:cubicBezTo>
                  <a:cubicBezTo>
                    <a:pt x="52" y="104"/>
                    <a:pt x="52" y="104"/>
                    <a:pt x="52" y="104"/>
                  </a:cubicBezTo>
                  <a:moveTo>
                    <a:pt x="67" y="104"/>
                  </a:moveTo>
                  <a:cubicBezTo>
                    <a:pt x="67" y="97"/>
                    <a:pt x="67" y="97"/>
                    <a:pt x="67" y="97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67" y="104"/>
                    <a:pt x="67" y="104"/>
                    <a:pt x="67" y="104"/>
                  </a:cubicBezTo>
                  <a:moveTo>
                    <a:pt x="81" y="104"/>
                  </a:moveTo>
                  <a:cubicBezTo>
                    <a:pt x="81" y="97"/>
                    <a:pt x="81" y="97"/>
                    <a:pt x="81" y="97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1" y="104"/>
                    <a:pt x="81" y="104"/>
                    <a:pt x="81" y="104"/>
                  </a:cubicBezTo>
                  <a:moveTo>
                    <a:pt x="96" y="104"/>
                  </a:moveTo>
                  <a:cubicBezTo>
                    <a:pt x="96" y="97"/>
                    <a:pt x="96" y="97"/>
                    <a:pt x="96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96" y="104"/>
                    <a:pt x="96" y="104"/>
                    <a:pt x="96" y="104"/>
                  </a:cubicBezTo>
                  <a:moveTo>
                    <a:pt x="111" y="104"/>
                  </a:moveTo>
                  <a:cubicBezTo>
                    <a:pt x="111" y="97"/>
                    <a:pt x="111" y="97"/>
                    <a:pt x="111" y="97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1" y="104"/>
                    <a:pt x="111" y="104"/>
                    <a:pt x="111" y="104"/>
                  </a:cubicBezTo>
                  <a:moveTo>
                    <a:pt x="126" y="104"/>
                  </a:moveTo>
                  <a:cubicBezTo>
                    <a:pt x="126" y="97"/>
                    <a:pt x="126" y="97"/>
                    <a:pt x="126" y="97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3" y="104"/>
                    <a:pt x="133" y="104"/>
                    <a:pt x="133" y="104"/>
                  </a:cubicBezTo>
                  <a:cubicBezTo>
                    <a:pt x="126" y="104"/>
                    <a:pt x="126" y="104"/>
                    <a:pt x="126" y="104"/>
                  </a:cubicBezTo>
                  <a:moveTo>
                    <a:pt x="140" y="104"/>
                  </a:moveTo>
                  <a:cubicBezTo>
                    <a:pt x="140" y="97"/>
                    <a:pt x="140" y="97"/>
                    <a:pt x="140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0" y="104"/>
                    <a:pt x="140" y="104"/>
                    <a:pt x="140" y="104"/>
                  </a:cubicBezTo>
                  <a:moveTo>
                    <a:pt x="155" y="104"/>
                  </a:moveTo>
                  <a:cubicBezTo>
                    <a:pt x="155" y="97"/>
                    <a:pt x="155" y="97"/>
                    <a:pt x="155" y="97"/>
                  </a:cubicBezTo>
                  <a:cubicBezTo>
                    <a:pt x="162" y="97"/>
                    <a:pt x="162" y="97"/>
                    <a:pt x="162" y="97"/>
                  </a:cubicBezTo>
                  <a:cubicBezTo>
                    <a:pt x="162" y="104"/>
                    <a:pt x="162" y="104"/>
                    <a:pt x="162" y="104"/>
                  </a:cubicBezTo>
                  <a:cubicBezTo>
                    <a:pt x="155" y="104"/>
                    <a:pt x="155" y="104"/>
                    <a:pt x="155" y="104"/>
                  </a:cubicBezTo>
                  <a:moveTo>
                    <a:pt x="170" y="104"/>
                  </a:moveTo>
                  <a:cubicBezTo>
                    <a:pt x="170" y="97"/>
                    <a:pt x="170" y="97"/>
                    <a:pt x="170" y="97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0" y="104"/>
                    <a:pt x="170" y="104"/>
                    <a:pt x="170" y="104"/>
                  </a:cubicBezTo>
                  <a:moveTo>
                    <a:pt x="185" y="104"/>
                  </a:moveTo>
                  <a:cubicBezTo>
                    <a:pt x="185" y="97"/>
                    <a:pt x="185" y="97"/>
                    <a:pt x="185" y="97"/>
                  </a:cubicBezTo>
                  <a:cubicBezTo>
                    <a:pt x="192" y="97"/>
                    <a:pt x="192" y="97"/>
                    <a:pt x="192" y="97"/>
                  </a:cubicBezTo>
                  <a:cubicBezTo>
                    <a:pt x="192" y="104"/>
                    <a:pt x="192" y="104"/>
                    <a:pt x="192" y="104"/>
                  </a:cubicBezTo>
                  <a:cubicBezTo>
                    <a:pt x="185" y="104"/>
                    <a:pt x="185" y="104"/>
                    <a:pt x="185" y="104"/>
                  </a:cubicBezTo>
                  <a:moveTo>
                    <a:pt x="199" y="104"/>
                  </a:moveTo>
                  <a:cubicBezTo>
                    <a:pt x="199" y="97"/>
                    <a:pt x="199" y="97"/>
                    <a:pt x="199" y="97"/>
                  </a:cubicBezTo>
                  <a:cubicBezTo>
                    <a:pt x="206" y="97"/>
                    <a:pt x="206" y="97"/>
                    <a:pt x="206" y="97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199" y="104"/>
                    <a:pt x="199" y="104"/>
                    <a:pt x="199" y="104"/>
                  </a:cubicBezTo>
                  <a:moveTo>
                    <a:pt x="214" y="104"/>
                  </a:moveTo>
                  <a:cubicBezTo>
                    <a:pt x="214" y="97"/>
                    <a:pt x="214" y="97"/>
                    <a:pt x="214" y="97"/>
                  </a:cubicBezTo>
                  <a:cubicBezTo>
                    <a:pt x="221" y="97"/>
                    <a:pt x="221" y="97"/>
                    <a:pt x="221" y="97"/>
                  </a:cubicBezTo>
                  <a:cubicBezTo>
                    <a:pt x="221" y="104"/>
                    <a:pt x="221" y="104"/>
                    <a:pt x="221" y="104"/>
                  </a:cubicBezTo>
                  <a:cubicBezTo>
                    <a:pt x="214" y="104"/>
                    <a:pt x="214" y="104"/>
                    <a:pt x="214" y="104"/>
                  </a:cubicBezTo>
                  <a:moveTo>
                    <a:pt x="229" y="104"/>
                  </a:moveTo>
                  <a:cubicBezTo>
                    <a:pt x="229" y="97"/>
                    <a:pt x="229" y="97"/>
                    <a:pt x="229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29" y="104"/>
                    <a:pt x="229" y="104"/>
                    <a:pt x="229" y="104"/>
                  </a:cubicBezTo>
                  <a:moveTo>
                    <a:pt x="244" y="104"/>
                  </a:moveTo>
                  <a:cubicBezTo>
                    <a:pt x="244" y="97"/>
                    <a:pt x="244" y="97"/>
                    <a:pt x="244" y="97"/>
                  </a:cubicBezTo>
                  <a:cubicBezTo>
                    <a:pt x="251" y="97"/>
                    <a:pt x="251" y="97"/>
                    <a:pt x="251" y="97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44" y="104"/>
                    <a:pt x="244" y="104"/>
                    <a:pt x="244" y="104"/>
                  </a:cubicBezTo>
                  <a:moveTo>
                    <a:pt x="258" y="104"/>
                  </a:moveTo>
                  <a:cubicBezTo>
                    <a:pt x="258" y="97"/>
                    <a:pt x="258" y="97"/>
                    <a:pt x="258" y="97"/>
                  </a:cubicBezTo>
                  <a:cubicBezTo>
                    <a:pt x="265" y="97"/>
                    <a:pt x="265" y="97"/>
                    <a:pt x="265" y="97"/>
                  </a:cubicBezTo>
                  <a:cubicBezTo>
                    <a:pt x="265" y="104"/>
                    <a:pt x="265" y="104"/>
                    <a:pt x="265" y="104"/>
                  </a:cubicBezTo>
                  <a:cubicBezTo>
                    <a:pt x="258" y="104"/>
                    <a:pt x="258" y="104"/>
                    <a:pt x="258" y="104"/>
                  </a:cubicBezTo>
                  <a:moveTo>
                    <a:pt x="273" y="104"/>
                  </a:moveTo>
                  <a:cubicBezTo>
                    <a:pt x="273" y="97"/>
                    <a:pt x="273" y="97"/>
                    <a:pt x="273" y="97"/>
                  </a:cubicBezTo>
                  <a:cubicBezTo>
                    <a:pt x="280" y="97"/>
                    <a:pt x="280" y="97"/>
                    <a:pt x="280" y="97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3" y="104"/>
                    <a:pt x="273" y="104"/>
                    <a:pt x="273" y="104"/>
                  </a:cubicBezTo>
                  <a:moveTo>
                    <a:pt x="288" y="104"/>
                  </a:moveTo>
                  <a:cubicBezTo>
                    <a:pt x="288" y="97"/>
                    <a:pt x="288" y="97"/>
                    <a:pt x="288" y="97"/>
                  </a:cubicBezTo>
                  <a:cubicBezTo>
                    <a:pt x="295" y="97"/>
                    <a:pt x="295" y="97"/>
                    <a:pt x="295" y="97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88" y="104"/>
                    <a:pt x="288" y="104"/>
                    <a:pt x="288" y="104"/>
                  </a:cubicBezTo>
                  <a:moveTo>
                    <a:pt x="303" y="104"/>
                  </a:moveTo>
                  <a:cubicBezTo>
                    <a:pt x="303" y="97"/>
                    <a:pt x="303" y="97"/>
                    <a:pt x="303" y="97"/>
                  </a:cubicBezTo>
                  <a:cubicBezTo>
                    <a:pt x="310" y="97"/>
                    <a:pt x="310" y="97"/>
                    <a:pt x="310" y="97"/>
                  </a:cubicBezTo>
                  <a:cubicBezTo>
                    <a:pt x="310" y="104"/>
                    <a:pt x="310" y="104"/>
                    <a:pt x="310" y="104"/>
                  </a:cubicBezTo>
                  <a:cubicBezTo>
                    <a:pt x="303" y="104"/>
                    <a:pt x="303" y="104"/>
                    <a:pt x="303" y="104"/>
                  </a:cubicBezTo>
                  <a:moveTo>
                    <a:pt x="317" y="104"/>
                  </a:moveTo>
                  <a:cubicBezTo>
                    <a:pt x="317" y="97"/>
                    <a:pt x="317" y="97"/>
                    <a:pt x="317" y="97"/>
                  </a:cubicBezTo>
                  <a:cubicBezTo>
                    <a:pt x="324" y="97"/>
                    <a:pt x="324" y="97"/>
                    <a:pt x="324" y="97"/>
                  </a:cubicBezTo>
                  <a:cubicBezTo>
                    <a:pt x="324" y="104"/>
                    <a:pt x="324" y="104"/>
                    <a:pt x="324" y="104"/>
                  </a:cubicBezTo>
                  <a:cubicBezTo>
                    <a:pt x="317" y="104"/>
                    <a:pt x="317" y="104"/>
                    <a:pt x="317" y="104"/>
                  </a:cubicBezTo>
                  <a:moveTo>
                    <a:pt x="332" y="104"/>
                  </a:moveTo>
                  <a:cubicBezTo>
                    <a:pt x="332" y="97"/>
                    <a:pt x="332" y="97"/>
                    <a:pt x="332" y="97"/>
                  </a:cubicBezTo>
                  <a:cubicBezTo>
                    <a:pt x="339" y="97"/>
                    <a:pt x="339" y="97"/>
                    <a:pt x="339" y="97"/>
                  </a:cubicBezTo>
                  <a:cubicBezTo>
                    <a:pt x="339" y="104"/>
                    <a:pt x="339" y="104"/>
                    <a:pt x="339" y="104"/>
                  </a:cubicBezTo>
                  <a:cubicBezTo>
                    <a:pt x="332" y="104"/>
                    <a:pt x="332" y="104"/>
                    <a:pt x="332" y="104"/>
                  </a:cubicBezTo>
                  <a:moveTo>
                    <a:pt x="347" y="104"/>
                  </a:moveTo>
                  <a:cubicBezTo>
                    <a:pt x="347" y="97"/>
                    <a:pt x="347" y="97"/>
                    <a:pt x="347" y="97"/>
                  </a:cubicBezTo>
                  <a:cubicBezTo>
                    <a:pt x="354" y="97"/>
                    <a:pt x="354" y="97"/>
                    <a:pt x="354" y="97"/>
                  </a:cubicBezTo>
                  <a:cubicBezTo>
                    <a:pt x="354" y="104"/>
                    <a:pt x="354" y="104"/>
                    <a:pt x="354" y="104"/>
                  </a:cubicBezTo>
                  <a:cubicBezTo>
                    <a:pt x="347" y="104"/>
                    <a:pt x="347" y="104"/>
                    <a:pt x="347" y="104"/>
                  </a:cubicBezTo>
                  <a:moveTo>
                    <a:pt x="37" y="89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37" y="89"/>
                    <a:pt x="37" y="89"/>
                    <a:pt x="37" y="89"/>
                  </a:cubicBezTo>
                  <a:moveTo>
                    <a:pt x="52" y="89"/>
                  </a:moveTo>
                  <a:cubicBezTo>
                    <a:pt x="52" y="82"/>
                    <a:pt x="52" y="82"/>
                    <a:pt x="52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2" y="89"/>
                    <a:pt x="52" y="89"/>
                    <a:pt x="52" y="89"/>
                  </a:cubicBezTo>
                  <a:moveTo>
                    <a:pt x="67" y="89"/>
                  </a:moveTo>
                  <a:cubicBezTo>
                    <a:pt x="67" y="82"/>
                    <a:pt x="67" y="82"/>
                    <a:pt x="67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67" y="89"/>
                    <a:pt x="67" y="89"/>
                    <a:pt x="67" y="89"/>
                  </a:cubicBezTo>
                  <a:moveTo>
                    <a:pt x="81" y="89"/>
                  </a:moveTo>
                  <a:cubicBezTo>
                    <a:pt x="81" y="82"/>
                    <a:pt x="81" y="82"/>
                    <a:pt x="81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1" y="89"/>
                    <a:pt x="81" y="89"/>
                    <a:pt x="81" y="89"/>
                  </a:cubicBezTo>
                  <a:moveTo>
                    <a:pt x="96" y="89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96" y="89"/>
                    <a:pt x="96" y="89"/>
                    <a:pt x="96" y="89"/>
                  </a:cubicBezTo>
                  <a:moveTo>
                    <a:pt x="111" y="89"/>
                  </a:moveTo>
                  <a:cubicBezTo>
                    <a:pt x="111" y="82"/>
                    <a:pt x="111" y="82"/>
                    <a:pt x="111" y="82"/>
                  </a:cubicBezTo>
                  <a:cubicBezTo>
                    <a:pt x="118" y="82"/>
                    <a:pt x="118" y="82"/>
                    <a:pt x="118" y="82"/>
                  </a:cubicBezTo>
                  <a:cubicBezTo>
                    <a:pt x="118" y="89"/>
                    <a:pt x="118" y="89"/>
                    <a:pt x="118" y="89"/>
                  </a:cubicBezTo>
                  <a:cubicBezTo>
                    <a:pt x="111" y="89"/>
                    <a:pt x="111" y="89"/>
                    <a:pt x="111" y="89"/>
                  </a:cubicBezTo>
                  <a:moveTo>
                    <a:pt x="126" y="89"/>
                  </a:moveTo>
                  <a:cubicBezTo>
                    <a:pt x="126" y="82"/>
                    <a:pt x="126" y="82"/>
                    <a:pt x="126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26" y="89"/>
                    <a:pt x="126" y="89"/>
                    <a:pt x="126" y="89"/>
                  </a:cubicBezTo>
                  <a:moveTo>
                    <a:pt x="140" y="89"/>
                  </a:moveTo>
                  <a:cubicBezTo>
                    <a:pt x="140" y="82"/>
                    <a:pt x="140" y="82"/>
                    <a:pt x="140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7" y="89"/>
                    <a:pt x="147" y="89"/>
                    <a:pt x="147" y="89"/>
                  </a:cubicBezTo>
                  <a:cubicBezTo>
                    <a:pt x="140" y="89"/>
                    <a:pt x="140" y="89"/>
                    <a:pt x="140" y="89"/>
                  </a:cubicBezTo>
                  <a:moveTo>
                    <a:pt x="155" y="89"/>
                  </a:moveTo>
                  <a:cubicBezTo>
                    <a:pt x="155" y="82"/>
                    <a:pt x="155" y="82"/>
                    <a:pt x="155" y="82"/>
                  </a:cubicBezTo>
                  <a:cubicBezTo>
                    <a:pt x="162" y="82"/>
                    <a:pt x="162" y="82"/>
                    <a:pt x="162" y="82"/>
                  </a:cubicBezTo>
                  <a:cubicBezTo>
                    <a:pt x="162" y="89"/>
                    <a:pt x="162" y="89"/>
                    <a:pt x="162" y="89"/>
                  </a:cubicBezTo>
                  <a:cubicBezTo>
                    <a:pt x="155" y="89"/>
                    <a:pt x="155" y="89"/>
                    <a:pt x="155" y="89"/>
                  </a:cubicBezTo>
                  <a:moveTo>
                    <a:pt x="170" y="89"/>
                  </a:moveTo>
                  <a:cubicBezTo>
                    <a:pt x="170" y="82"/>
                    <a:pt x="170" y="82"/>
                    <a:pt x="170" y="82"/>
                  </a:cubicBezTo>
                  <a:cubicBezTo>
                    <a:pt x="177" y="82"/>
                    <a:pt x="177" y="82"/>
                    <a:pt x="177" y="82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0" y="89"/>
                    <a:pt x="170" y="89"/>
                    <a:pt x="170" y="89"/>
                  </a:cubicBezTo>
                  <a:moveTo>
                    <a:pt x="185" y="89"/>
                  </a:moveTo>
                  <a:cubicBezTo>
                    <a:pt x="185" y="82"/>
                    <a:pt x="185" y="82"/>
                    <a:pt x="185" y="82"/>
                  </a:cubicBezTo>
                  <a:cubicBezTo>
                    <a:pt x="192" y="82"/>
                    <a:pt x="192" y="82"/>
                    <a:pt x="192" y="82"/>
                  </a:cubicBezTo>
                  <a:cubicBezTo>
                    <a:pt x="192" y="89"/>
                    <a:pt x="192" y="89"/>
                    <a:pt x="192" y="89"/>
                  </a:cubicBezTo>
                  <a:cubicBezTo>
                    <a:pt x="185" y="89"/>
                    <a:pt x="185" y="89"/>
                    <a:pt x="185" y="89"/>
                  </a:cubicBezTo>
                  <a:moveTo>
                    <a:pt x="199" y="89"/>
                  </a:moveTo>
                  <a:cubicBezTo>
                    <a:pt x="199" y="82"/>
                    <a:pt x="199" y="82"/>
                    <a:pt x="199" y="82"/>
                  </a:cubicBezTo>
                  <a:cubicBezTo>
                    <a:pt x="206" y="82"/>
                    <a:pt x="206" y="82"/>
                    <a:pt x="206" y="82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199" y="89"/>
                    <a:pt x="199" y="89"/>
                    <a:pt x="199" y="89"/>
                  </a:cubicBezTo>
                  <a:moveTo>
                    <a:pt x="214" y="89"/>
                  </a:moveTo>
                  <a:cubicBezTo>
                    <a:pt x="214" y="82"/>
                    <a:pt x="214" y="82"/>
                    <a:pt x="214" y="82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14" y="89"/>
                    <a:pt x="214" y="89"/>
                    <a:pt x="214" y="89"/>
                  </a:cubicBezTo>
                  <a:moveTo>
                    <a:pt x="229" y="89"/>
                  </a:moveTo>
                  <a:cubicBezTo>
                    <a:pt x="229" y="82"/>
                    <a:pt x="229" y="82"/>
                    <a:pt x="229" y="82"/>
                  </a:cubicBezTo>
                  <a:cubicBezTo>
                    <a:pt x="236" y="82"/>
                    <a:pt x="236" y="82"/>
                    <a:pt x="236" y="82"/>
                  </a:cubicBezTo>
                  <a:cubicBezTo>
                    <a:pt x="236" y="89"/>
                    <a:pt x="236" y="89"/>
                    <a:pt x="236" y="89"/>
                  </a:cubicBezTo>
                  <a:cubicBezTo>
                    <a:pt x="229" y="89"/>
                    <a:pt x="229" y="89"/>
                    <a:pt x="229" y="89"/>
                  </a:cubicBezTo>
                  <a:moveTo>
                    <a:pt x="244" y="89"/>
                  </a:moveTo>
                  <a:cubicBezTo>
                    <a:pt x="244" y="82"/>
                    <a:pt x="244" y="82"/>
                    <a:pt x="244" y="82"/>
                  </a:cubicBezTo>
                  <a:cubicBezTo>
                    <a:pt x="251" y="82"/>
                    <a:pt x="251" y="82"/>
                    <a:pt x="251" y="82"/>
                  </a:cubicBezTo>
                  <a:cubicBezTo>
                    <a:pt x="251" y="89"/>
                    <a:pt x="251" y="89"/>
                    <a:pt x="251" y="89"/>
                  </a:cubicBezTo>
                  <a:cubicBezTo>
                    <a:pt x="244" y="89"/>
                    <a:pt x="244" y="89"/>
                    <a:pt x="244" y="89"/>
                  </a:cubicBezTo>
                  <a:moveTo>
                    <a:pt x="258" y="89"/>
                  </a:moveTo>
                  <a:cubicBezTo>
                    <a:pt x="258" y="82"/>
                    <a:pt x="258" y="82"/>
                    <a:pt x="258" y="82"/>
                  </a:cubicBezTo>
                  <a:cubicBezTo>
                    <a:pt x="265" y="82"/>
                    <a:pt x="265" y="82"/>
                    <a:pt x="265" y="82"/>
                  </a:cubicBezTo>
                  <a:cubicBezTo>
                    <a:pt x="265" y="89"/>
                    <a:pt x="265" y="89"/>
                    <a:pt x="265" y="89"/>
                  </a:cubicBezTo>
                  <a:cubicBezTo>
                    <a:pt x="258" y="89"/>
                    <a:pt x="258" y="89"/>
                    <a:pt x="258" y="89"/>
                  </a:cubicBezTo>
                  <a:moveTo>
                    <a:pt x="273" y="89"/>
                  </a:moveTo>
                  <a:cubicBezTo>
                    <a:pt x="273" y="82"/>
                    <a:pt x="273" y="82"/>
                    <a:pt x="273" y="82"/>
                  </a:cubicBezTo>
                  <a:cubicBezTo>
                    <a:pt x="280" y="82"/>
                    <a:pt x="280" y="82"/>
                    <a:pt x="280" y="82"/>
                  </a:cubicBezTo>
                  <a:cubicBezTo>
                    <a:pt x="280" y="89"/>
                    <a:pt x="280" y="89"/>
                    <a:pt x="280" y="89"/>
                  </a:cubicBezTo>
                  <a:cubicBezTo>
                    <a:pt x="273" y="89"/>
                    <a:pt x="273" y="89"/>
                    <a:pt x="273" y="89"/>
                  </a:cubicBezTo>
                  <a:moveTo>
                    <a:pt x="288" y="89"/>
                  </a:moveTo>
                  <a:cubicBezTo>
                    <a:pt x="288" y="82"/>
                    <a:pt x="288" y="82"/>
                    <a:pt x="288" y="82"/>
                  </a:cubicBezTo>
                  <a:cubicBezTo>
                    <a:pt x="295" y="82"/>
                    <a:pt x="295" y="82"/>
                    <a:pt x="295" y="82"/>
                  </a:cubicBezTo>
                  <a:cubicBezTo>
                    <a:pt x="295" y="89"/>
                    <a:pt x="295" y="89"/>
                    <a:pt x="295" y="89"/>
                  </a:cubicBezTo>
                  <a:cubicBezTo>
                    <a:pt x="288" y="89"/>
                    <a:pt x="288" y="89"/>
                    <a:pt x="288" y="89"/>
                  </a:cubicBezTo>
                  <a:moveTo>
                    <a:pt x="303" y="89"/>
                  </a:moveTo>
                  <a:cubicBezTo>
                    <a:pt x="303" y="82"/>
                    <a:pt x="303" y="82"/>
                    <a:pt x="303" y="82"/>
                  </a:cubicBezTo>
                  <a:cubicBezTo>
                    <a:pt x="310" y="82"/>
                    <a:pt x="310" y="82"/>
                    <a:pt x="310" y="82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03" y="89"/>
                    <a:pt x="303" y="89"/>
                    <a:pt x="303" y="89"/>
                  </a:cubicBezTo>
                  <a:moveTo>
                    <a:pt x="317" y="89"/>
                  </a:moveTo>
                  <a:cubicBezTo>
                    <a:pt x="317" y="82"/>
                    <a:pt x="317" y="82"/>
                    <a:pt x="317" y="82"/>
                  </a:cubicBezTo>
                  <a:cubicBezTo>
                    <a:pt x="324" y="82"/>
                    <a:pt x="324" y="82"/>
                    <a:pt x="324" y="82"/>
                  </a:cubicBezTo>
                  <a:cubicBezTo>
                    <a:pt x="324" y="89"/>
                    <a:pt x="324" y="89"/>
                    <a:pt x="324" y="89"/>
                  </a:cubicBezTo>
                  <a:cubicBezTo>
                    <a:pt x="317" y="89"/>
                    <a:pt x="317" y="89"/>
                    <a:pt x="317" y="89"/>
                  </a:cubicBezTo>
                  <a:moveTo>
                    <a:pt x="332" y="89"/>
                  </a:moveTo>
                  <a:cubicBezTo>
                    <a:pt x="332" y="82"/>
                    <a:pt x="332" y="82"/>
                    <a:pt x="332" y="82"/>
                  </a:cubicBezTo>
                  <a:cubicBezTo>
                    <a:pt x="339" y="82"/>
                    <a:pt x="339" y="82"/>
                    <a:pt x="339" y="82"/>
                  </a:cubicBezTo>
                  <a:cubicBezTo>
                    <a:pt x="339" y="89"/>
                    <a:pt x="339" y="89"/>
                    <a:pt x="339" y="89"/>
                  </a:cubicBezTo>
                  <a:cubicBezTo>
                    <a:pt x="332" y="89"/>
                    <a:pt x="332" y="89"/>
                    <a:pt x="332" y="89"/>
                  </a:cubicBezTo>
                  <a:moveTo>
                    <a:pt x="347" y="89"/>
                  </a:moveTo>
                  <a:cubicBezTo>
                    <a:pt x="347" y="82"/>
                    <a:pt x="347" y="82"/>
                    <a:pt x="347" y="82"/>
                  </a:cubicBezTo>
                  <a:cubicBezTo>
                    <a:pt x="354" y="82"/>
                    <a:pt x="354" y="82"/>
                    <a:pt x="354" y="82"/>
                  </a:cubicBezTo>
                  <a:cubicBezTo>
                    <a:pt x="354" y="89"/>
                    <a:pt x="354" y="89"/>
                    <a:pt x="354" y="89"/>
                  </a:cubicBezTo>
                  <a:cubicBezTo>
                    <a:pt x="347" y="89"/>
                    <a:pt x="347" y="89"/>
                    <a:pt x="347" y="89"/>
                  </a:cubicBezTo>
                  <a:moveTo>
                    <a:pt x="52" y="74"/>
                  </a:moveTo>
                  <a:cubicBezTo>
                    <a:pt x="52" y="67"/>
                    <a:pt x="52" y="67"/>
                    <a:pt x="52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2" y="74"/>
                    <a:pt x="52" y="74"/>
                    <a:pt x="52" y="74"/>
                  </a:cubicBezTo>
                  <a:moveTo>
                    <a:pt x="67" y="74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67" y="74"/>
                    <a:pt x="67" y="74"/>
                    <a:pt x="67" y="74"/>
                  </a:cubicBezTo>
                  <a:moveTo>
                    <a:pt x="81" y="74"/>
                  </a:moveTo>
                  <a:cubicBezTo>
                    <a:pt x="81" y="67"/>
                    <a:pt x="81" y="67"/>
                    <a:pt x="81" y="67"/>
                  </a:cubicBezTo>
                  <a:cubicBezTo>
                    <a:pt x="88" y="67"/>
                    <a:pt x="88" y="67"/>
                    <a:pt x="88" y="67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1" y="74"/>
                    <a:pt x="81" y="74"/>
                    <a:pt x="81" y="74"/>
                  </a:cubicBezTo>
                  <a:moveTo>
                    <a:pt x="96" y="74"/>
                  </a:moveTo>
                  <a:cubicBezTo>
                    <a:pt x="96" y="67"/>
                    <a:pt x="96" y="67"/>
                    <a:pt x="96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74"/>
                    <a:pt x="103" y="74"/>
                    <a:pt x="103" y="74"/>
                  </a:cubicBezTo>
                  <a:cubicBezTo>
                    <a:pt x="96" y="74"/>
                    <a:pt x="96" y="74"/>
                    <a:pt x="96" y="74"/>
                  </a:cubicBezTo>
                  <a:moveTo>
                    <a:pt x="111" y="74"/>
                  </a:moveTo>
                  <a:cubicBezTo>
                    <a:pt x="111" y="67"/>
                    <a:pt x="111" y="67"/>
                    <a:pt x="111" y="67"/>
                  </a:cubicBezTo>
                  <a:cubicBezTo>
                    <a:pt x="118" y="67"/>
                    <a:pt x="118" y="67"/>
                    <a:pt x="118" y="67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1" y="74"/>
                    <a:pt x="111" y="74"/>
                    <a:pt x="111" y="74"/>
                  </a:cubicBezTo>
                  <a:moveTo>
                    <a:pt x="126" y="74"/>
                  </a:moveTo>
                  <a:cubicBezTo>
                    <a:pt x="126" y="67"/>
                    <a:pt x="126" y="67"/>
                    <a:pt x="126" y="6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33" y="74"/>
                    <a:pt x="133" y="74"/>
                    <a:pt x="133" y="74"/>
                  </a:cubicBezTo>
                  <a:cubicBezTo>
                    <a:pt x="126" y="74"/>
                    <a:pt x="126" y="74"/>
                    <a:pt x="126" y="74"/>
                  </a:cubicBezTo>
                  <a:moveTo>
                    <a:pt x="140" y="74"/>
                  </a:moveTo>
                  <a:cubicBezTo>
                    <a:pt x="140" y="67"/>
                    <a:pt x="140" y="67"/>
                    <a:pt x="140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74"/>
                    <a:pt x="147" y="74"/>
                    <a:pt x="147" y="74"/>
                  </a:cubicBezTo>
                  <a:cubicBezTo>
                    <a:pt x="140" y="74"/>
                    <a:pt x="140" y="74"/>
                    <a:pt x="140" y="74"/>
                  </a:cubicBezTo>
                  <a:moveTo>
                    <a:pt x="155" y="74"/>
                  </a:moveTo>
                  <a:cubicBezTo>
                    <a:pt x="155" y="67"/>
                    <a:pt x="155" y="67"/>
                    <a:pt x="155" y="6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55" y="74"/>
                    <a:pt x="155" y="74"/>
                    <a:pt x="155" y="74"/>
                  </a:cubicBezTo>
                  <a:moveTo>
                    <a:pt x="170" y="74"/>
                  </a:moveTo>
                  <a:cubicBezTo>
                    <a:pt x="170" y="67"/>
                    <a:pt x="170" y="67"/>
                    <a:pt x="170" y="67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7" y="74"/>
                    <a:pt x="177" y="74"/>
                    <a:pt x="177" y="74"/>
                  </a:cubicBezTo>
                  <a:cubicBezTo>
                    <a:pt x="170" y="74"/>
                    <a:pt x="170" y="74"/>
                    <a:pt x="170" y="74"/>
                  </a:cubicBezTo>
                  <a:moveTo>
                    <a:pt x="185" y="74"/>
                  </a:moveTo>
                  <a:cubicBezTo>
                    <a:pt x="185" y="67"/>
                    <a:pt x="185" y="67"/>
                    <a:pt x="185" y="67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85" y="74"/>
                    <a:pt x="185" y="74"/>
                    <a:pt x="185" y="74"/>
                  </a:cubicBezTo>
                  <a:moveTo>
                    <a:pt x="199" y="74"/>
                  </a:moveTo>
                  <a:cubicBezTo>
                    <a:pt x="199" y="67"/>
                    <a:pt x="199" y="67"/>
                    <a:pt x="199" y="67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199" y="74"/>
                    <a:pt x="199" y="74"/>
                    <a:pt x="199" y="74"/>
                  </a:cubicBezTo>
                  <a:moveTo>
                    <a:pt x="214" y="74"/>
                  </a:moveTo>
                  <a:cubicBezTo>
                    <a:pt x="214" y="67"/>
                    <a:pt x="214" y="67"/>
                    <a:pt x="214" y="67"/>
                  </a:cubicBezTo>
                  <a:cubicBezTo>
                    <a:pt x="221" y="67"/>
                    <a:pt x="221" y="67"/>
                    <a:pt x="221" y="67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14" y="74"/>
                    <a:pt x="214" y="74"/>
                    <a:pt x="214" y="74"/>
                  </a:cubicBezTo>
                  <a:moveTo>
                    <a:pt x="229" y="74"/>
                  </a:moveTo>
                  <a:cubicBezTo>
                    <a:pt x="229" y="67"/>
                    <a:pt x="229" y="67"/>
                    <a:pt x="229" y="67"/>
                  </a:cubicBezTo>
                  <a:cubicBezTo>
                    <a:pt x="236" y="67"/>
                    <a:pt x="236" y="67"/>
                    <a:pt x="236" y="67"/>
                  </a:cubicBezTo>
                  <a:cubicBezTo>
                    <a:pt x="236" y="74"/>
                    <a:pt x="236" y="74"/>
                    <a:pt x="236" y="74"/>
                  </a:cubicBezTo>
                  <a:cubicBezTo>
                    <a:pt x="229" y="74"/>
                    <a:pt x="229" y="74"/>
                    <a:pt x="229" y="74"/>
                  </a:cubicBezTo>
                  <a:moveTo>
                    <a:pt x="244" y="74"/>
                  </a:moveTo>
                  <a:cubicBezTo>
                    <a:pt x="244" y="67"/>
                    <a:pt x="244" y="67"/>
                    <a:pt x="244" y="67"/>
                  </a:cubicBezTo>
                  <a:cubicBezTo>
                    <a:pt x="251" y="67"/>
                    <a:pt x="251" y="67"/>
                    <a:pt x="251" y="67"/>
                  </a:cubicBezTo>
                  <a:cubicBezTo>
                    <a:pt x="251" y="74"/>
                    <a:pt x="251" y="74"/>
                    <a:pt x="251" y="74"/>
                  </a:cubicBezTo>
                  <a:cubicBezTo>
                    <a:pt x="244" y="74"/>
                    <a:pt x="244" y="74"/>
                    <a:pt x="244" y="74"/>
                  </a:cubicBezTo>
                  <a:moveTo>
                    <a:pt x="258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5" y="74"/>
                    <a:pt x="265" y="74"/>
                    <a:pt x="265" y="74"/>
                  </a:cubicBezTo>
                  <a:cubicBezTo>
                    <a:pt x="258" y="74"/>
                    <a:pt x="258" y="74"/>
                    <a:pt x="258" y="74"/>
                  </a:cubicBezTo>
                  <a:moveTo>
                    <a:pt x="273" y="74"/>
                  </a:moveTo>
                  <a:cubicBezTo>
                    <a:pt x="273" y="67"/>
                    <a:pt x="273" y="67"/>
                    <a:pt x="273" y="67"/>
                  </a:cubicBezTo>
                  <a:cubicBezTo>
                    <a:pt x="280" y="67"/>
                    <a:pt x="280" y="67"/>
                    <a:pt x="280" y="67"/>
                  </a:cubicBezTo>
                  <a:cubicBezTo>
                    <a:pt x="280" y="74"/>
                    <a:pt x="280" y="74"/>
                    <a:pt x="280" y="74"/>
                  </a:cubicBezTo>
                  <a:cubicBezTo>
                    <a:pt x="273" y="74"/>
                    <a:pt x="273" y="74"/>
                    <a:pt x="273" y="74"/>
                  </a:cubicBezTo>
                  <a:moveTo>
                    <a:pt x="288" y="74"/>
                  </a:moveTo>
                  <a:cubicBezTo>
                    <a:pt x="288" y="67"/>
                    <a:pt x="288" y="67"/>
                    <a:pt x="288" y="67"/>
                  </a:cubicBezTo>
                  <a:cubicBezTo>
                    <a:pt x="295" y="67"/>
                    <a:pt x="295" y="67"/>
                    <a:pt x="295" y="67"/>
                  </a:cubicBezTo>
                  <a:cubicBezTo>
                    <a:pt x="295" y="74"/>
                    <a:pt x="295" y="74"/>
                    <a:pt x="295" y="74"/>
                  </a:cubicBezTo>
                  <a:cubicBezTo>
                    <a:pt x="288" y="74"/>
                    <a:pt x="288" y="74"/>
                    <a:pt x="288" y="74"/>
                  </a:cubicBezTo>
                  <a:moveTo>
                    <a:pt x="303" y="74"/>
                  </a:moveTo>
                  <a:cubicBezTo>
                    <a:pt x="303" y="67"/>
                    <a:pt x="303" y="67"/>
                    <a:pt x="303" y="67"/>
                  </a:cubicBezTo>
                  <a:cubicBezTo>
                    <a:pt x="310" y="67"/>
                    <a:pt x="310" y="67"/>
                    <a:pt x="310" y="67"/>
                  </a:cubicBezTo>
                  <a:cubicBezTo>
                    <a:pt x="310" y="74"/>
                    <a:pt x="310" y="74"/>
                    <a:pt x="310" y="74"/>
                  </a:cubicBezTo>
                  <a:cubicBezTo>
                    <a:pt x="303" y="74"/>
                    <a:pt x="303" y="74"/>
                    <a:pt x="303" y="74"/>
                  </a:cubicBezTo>
                  <a:moveTo>
                    <a:pt x="317" y="74"/>
                  </a:moveTo>
                  <a:cubicBezTo>
                    <a:pt x="317" y="67"/>
                    <a:pt x="317" y="67"/>
                    <a:pt x="317" y="67"/>
                  </a:cubicBezTo>
                  <a:cubicBezTo>
                    <a:pt x="324" y="67"/>
                    <a:pt x="324" y="67"/>
                    <a:pt x="324" y="67"/>
                  </a:cubicBezTo>
                  <a:cubicBezTo>
                    <a:pt x="324" y="74"/>
                    <a:pt x="324" y="74"/>
                    <a:pt x="324" y="74"/>
                  </a:cubicBezTo>
                  <a:cubicBezTo>
                    <a:pt x="317" y="74"/>
                    <a:pt x="317" y="74"/>
                    <a:pt x="317" y="74"/>
                  </a:cubicBezTo>
                  <a:moveTo>
                    <a:pt x="332" y="74"/>
                  </a:moveTo>
                  <a:cubicBezTo>
                    <a:pt x="332" y="67"/>
                    <a:pt x="332" y="67"/>
                    <a:pt x="332" y="67"/>
                  </a:cubicBezTo>
                  <a:cubicBezTo>
                    <a:pt x="339" y="67"/>
                    <a:pt x="339" y="67"/>
                    <a:pt x="339" y="67"/>
                  </a:cubicBezTo>
                  <a:cubicBezTo>
                    <a:pt x="339" y="74"/>
                    <a:pt x="339" y="74"/>
                    <a:pt x="339" y="74"/>
                  </a:cubicBezTo>
                  <a:cubicBezTo>
                    <a:pt x="332" y="74"/>
                    <a:pt x="332" y="74"/>
                    <a:pt x="332" y="74"/>
                  </a:cubicBezTo>
                  <a:moveTo>
                    <a:pt x="67" y="59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67" y="59"/>
                    <a:pt x="67" y="59"/>
                    <a:pt x="67" y="59"/>
                  </a:cubicBezTo>
                  <a:moveTo>
                    <a:pt x="81" y="59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1" y="59"/>
                    <a:pt x="81" y="59"/>
                    <a:pt x="81" y="59"/>
                  </a:cubicBezTo>
                  <a:moveTo>
                    <a:pt x="96" y="59"/>
                  </a:moveTo>
                  <a:cubicBezTo>
                    <a:pt x="96" y="52"/>
                    <a:pt x="96" y="52"/>
                    <a:pt x="96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96" y="59"/>
                    <a:pt x="96" y="59"/>
                    <a:pt x="96" y="59"/>
                  </a:cubicBezTo>
                  <a:moveTo>
                    <a:pt x="111" y="59"/>
                  </a:moveTo>
                  <a:cubicBezTo>
                    <a:pt x="111" y="52"/>
                    <a:pt x="111" y="52"/>
                    <a:pt x="111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9"/>
                    <a:pt x="118" y="59"/>
                    <a:pt x="118" y="59"/>
                  </a:cubicBezTo>
                  <a:cubicBezTo>
                    <a:pt x="111" y="59"/>
                    <a:pt x="111" y="59"/>
                    <a:pt x="111" y="59"/>
                  </a:cubicBezTo>
                  <a:moveTo>
                    <a:pt x="126" y="59"/>
                  </a:moveTo>
                  <a:cubicBezTo>
                    <a:pt x="126" y="52"/>
                    <a:pt x="126" y="52"/>
                    <a:pt x="126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9"/>
                    <a:pt x="133" y="59"/>
                    <a:pt x="133" y="59"/>
                  </a:cubicBezTo>
                  <a:cubicBezTo>
                    <a:pt x="126" y="59"/>
                    <a:pt x="126" y="59"/>
                    <a:pt x="126" y="59"/>
                  </a:cubicBezTo>
                  <a:moveTo>
                    <a:pt x="140" y="59"/>
                  </a:moveTo>
                  <a:cubicBezTo>
                    <a:pt x="140" y="52"/>
                    <a:pt x="140" y="52"/>
                    <a:pt x="140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0" y="59"/>
                    <a:pt x="140" y="59"/>
                    <a:pt x="140" y="59"/>
                  </a:cubicBezTo>
                  <a:moveTo>
                    <a:pt x="155" y="59"/>
                  </a:moveTo>
                  <a:cubicBezTo>
                    <a:pt x="155" y="52"/>
                    <a:pt x="155" y="52"/>
                    <a:pt x="155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9"/>
                    <a:pt x="162" y="59"/>
                    <a:pt x="162" y="59"/>
                  </a:cubicBezTo>
                  <a:cubicBezTo>
                    <a:pt x="155" y="59"/>
                    <a:pt x="155" y="59"/>
                    <a:pt x="155" y="59"/>
                  </a:cubicBezTo>
                  <a:moveTo>
                    <a:pt x="170" y="59"/>
                  </a:moveTo>
                  <a:cubicBezTo>
                    <a:pt x="170" y="52"/>
                    <a:pt x="170" y="52"/>
                    <a:pt x="170" y="52"/>
                  </a:cubicBezTo>
                  <a:cubicBezTo>
                    <a:pt x="177" y="52"/>
                    <a:pt x="177" y="52"/>
                    <a:pt x="177" y="5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70" y="59"/>
                    <a:pt x="170" y="59"/>
                    <a:pt x="170" y="59"/>
                  </a:cubicBezTo>
                  <a:moveTo>
                    <a:pt x="185" y="59"/>
                  </a:moveTo>
                  <a:cubicBezTo>
                    <a:pt x="185" y="52"/>
                    <a:pt x="185" y="52"/>
                    <a:pt x="185" y="52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185" y="59"/>
                    <a:pt x="185" y="59"/>
                    <a:pt x="185" y="59"/>
                  </a:cubicBezTo>
                  <a:moveTo>
                    <a:pt x="199" y="59"/>
                  </a:moveTo>
                  <a:cubicBezTo>
                    <a:pt x="199" y="52"/>
                    <a:pt x="199" y="52"/>
                    <a:pt x="199" y="52"/>
                  </a:cubicBezTo>
                  <a:cubicBezTo>
                    <a:pt x="206" y="52"/>
                    <a:pt x="206" y="52"/>
                    <a:pt x="206" y="52"/>
                  </a:cubicBezTo>
                  <a:cubicBezTo>
                    <a:pt x="206" y="59"/>
                    <a:pt x="206" y="59"/>
                    <a:pt x="206" y="59"/>
                  </a:cubicBezTo>
                  <a:cubicBezTo>
                    <a:pt x="199" y="59"/>
                    <a:pt x="199" y="59"/>
                    <a:pt x="199" y="59"/>
                  </a:cubicBezTo>
                  <a:moveTo>
                    <a:pt x="214" y="59"/>
                  </a:moveTo>
                  <a:cubicBezTo>
                    <a:pt x="214" y="52"/>
                    <a:pt x="214" y="52"/>
                    <a:pt x="214" y="52"/>
                  </a:cubicBezTo>
                  <a:cubicBezTo>
                    <a:pt x="221" y="52"/>
                    <a:pt x="221" y="52"/>
                    <a:pt x="221" y="52"/>
                  </a:cubicBezTo>
                  <a:cubicBezTo>
                    <a:pt x="221" y="59"/>
                    <a:pt x="221" y="59"/>
                    <a:pt x="221" y="59"/>
                  </a:cubicBezTo>
                  <a:cubicBezTo>
                    <a:pt x="214" y="59"/>
                    <a:pt x="214" y="59"/>
                    <a:pt x="214" y="59"/>
                  </a:cubicBezTo>
                  <a:moveTo>
                    <a:pt x="229" y="59"/>
                  </a:moveTo>
                  <a:cubicBezTo>
                    <a:pt x="229" y="52"/>
                    <a:pt x="229" y="52"/>
                    <a:pt x="229" y="52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36" y="59"/>
                    <a:pt x="236" y="59"/>
                    <a:pt x="236" y="59"/>
                  </a:cubicBezTo>
                  <a:cubicBezTo>
                    <a:pt x="229" y="59"/>
                    <a:pt x="229" y="59"/>
                    <a:pt x="229" y="59"/>
                  </a:cubicBezTo>
                  <a:moveTo>
                    <a:pt x="244" y="59"/>
                  </a:moveTo>
                  <a:cubicBezTo>
                    <a:pt x="244" y="52"/>
                    <a:pt x="244" y="52"/>
                    <a:pt x="244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9"/>
                    <a:pt x="251" y="59"/>
                    <a:pt x="251" y="59"/>
                  </a:cubicBezTo>
                  <a:cubicBezTo>
                    <a:pt x="244" y="59"/>
                    <a:pt x="244" y="59"/>
                    <a:pt x="244" y="59"/>
                  </a:cubicBezTo>
                  <a:moveTo>
                    <a:pt x="258" y="59"/>
                  </a:moveTo>
                  <a:cubicBezTo>
                    <a:pt x="258" y="52"/>
                    <a:pt x="258" y="52"/>
                    <a:pt x="258" y="52"/>
                  </a:cubicBezTo>
                  <a:cubicBezTo>
                    <a:pt x="265" y="52"/>
                    <a:pt x="265" y="52"/>
                    <a:pt x="265" y="5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58" y="59"/>
                    <a:pt x="258" y="59"/>
                    <a:pt x="258" y="59"/>
                  </a:cubicBezTo>
                  <a:moveTo>
                    <a:pt x="273" y="59"/>
                  </a:moveTo>
                  <a:cubicBezTo>
                    <a:pt x="273" y="52"/>
                    <a:pt x="273" y="52"/>
                    <a:pt x="273" y="52"/>
                  </a:cubicBezTo>
                  <a:cubicBezTo>
                    <a:pt x="280" y="52"/>
                    <a:pt x="280" y="52"/>
                    <a:pt x="280" y="52"/>
                  </a:cubicBezTo>
                  <a:cubicBezTo>
                    <a:pt x="280" y="59"/>
                    <a:pt x="280" y="59"/>
                    <a:pt x="280" y="59"/>
                  </a:cubicBezTo>
                  <a:cubicBezTo>
                    <a:pt x="273" y="59"/>
                    <a:pt x="273" y="59"/>
                    <a:pt x="273" y="59"/>
                  </a:cubicBezTo>
                  <a:moveTo>
                    <a:pt x="288" y="59"/>
                  </a:moveTo>
                  <a:cubicBezTo>
                    <a:pt x="288" y="52"/>
                    <a:pt x="288" y="52"/>
                    <a:pt x="288" y="52"/>
                  </a:cubicBezTo>
                  <a:cubicBezTo>
                    <a:pt x="295" y="52"/>
                    <a:pt x="295" y="52"/>
                    <a:pt x="295" y="52"/>
                  </a:cubicBezTo>
                  <a:cubicBezTo>
                    <a:pt x="295" y="59"/>
                    <a:pt x="295" y="59"/>
                    <a:pt x="295" y="59"/>
                  </a:cubicBezTo>
                  <a:cubicBezTo>
                    <a:pt x="288" y="59"/>
                    <a:pt x="288" y="59"/>
                    <a:pt x="288" y="59"/>
                  </a:cubicBezTo>
                  <a:moveTo>
                    <a:pt x="303" y="59"/>
                  </a:moveTo>
                  <a:cubicBezTo>
                    <a:pt x="303" y="52"/>
                    <a:pt x="303" y="52"/>
                    <a:pt x="303" y="52"/>
                  </a:cubicBezTo>
                  <a:cubicBezTo>
                    <a:pt x="310" y="52"/>
                    <a:pt x="310" y="52"/>
                    <a:pt x="310" y="52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03" y="59"/>
                    <a:pt x="303" y="59"/>
                    <a:pt x="303" y="59"/>
                  </a:cubicBezTo>
                  <a:moveTo>
                    <a:pt x="317" y="59"/>
                  </a:moveTo>
                  <a:cubicBezTo>
                    <a:pt x="317" y="52"/>
                    <a:pt x="317" y="52"/>
                    <a:pt x="317" y="52"/>
                  </a:cubicBezTo>
                  <a:cubicBezTo>
                    <a:pt x="324" y="52"/>
                    <a:pt x="324" y="52"/>
                    <a:pt x="324" y="52"/>
                  </a:cubicBezTo>
                  <a:cubicBezTo>
                    <a:pt x="324" y="59"/>
                    <a:pt x="324" y="59"/>
                    <a:pt x="324" y="59"/>
                  </a:cubicBezTo>
                  <a:cubicBezTo>
                    <a:pt x="317" y="59"/>
                    <a:pt x="317" y="59"/>
                    <a:pt x="317" y="59"/>
                  </a:cubicBezTo>
                  <a:moveTo>
                    <a:pt x="81" y="45"/>
                  </a:moveTo>
                  <a:cubicBezTo>
                    <a:pt x="81" y="38"/>
                    <a:pt x="81" y="38"/>
                    <a:pt x="81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1" y="45"/>
                    <a:pt x="81" y="45"/>
                    <a:pt x="81" y="45"/>
                  </a:cubicBezTo>
                  <a:moveTo>
                    <a:pt x="96" y="45"/>
                  </a:moveTo>
                  <a:cubicBezTo>
                    <a:pt x="96" y="38"/>
                    <a:pt x="96" y="38"/>
                    <a:pt x="96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96" y="45"/>
                    <a:pt x="96" y="45"/>
                    <a:pt x="96" y="45"/>
                  </a:cubicBezTo>
                  <a:moveTo>
                    <a:pt x="111" y="45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1" y="45"/>
                    <a:pt x="111" y="45"/>
                    <a:pt x="111" y="45"/>
                  </a:cubicBezTo>
                  <a:moveTo>
                    <a:pt x="126" y="45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26" y="45"/>
                    <a:pt x="126" y="45"/>
                    <a:pt x="126" y="45"/>
                  </a:cubicBezTo>
                  <a:moveTo>
                    <a:pt x="140" y="45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0" y="45"/>
                    <a:pt x="140" y="45"/>
                    <a:pt x="140" y="45"/>
                  </a:cubicBezTo>
                  <a:moveTo>
                    <a:pt x="155" y="45"/>
                  </a:moveTo>
                  <a:cubicBezTo>
                    <a:pt x="155" y="38"/>
                    <a:pt x="155" y="38"/>
                    <a:pt x="155" y="38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55" y="45"/>
                    <a:pt x="155" y="45"/>
                    <a:pt x="155" y="45"/>
                  </a:cubicBezTo>
                  <a:moveTo>
                    <a:pt x="170" y="45"/>
                  </a:moveTo>
                  <a:cubicBezTo>
                    <a:pt x="170" y="38"/>
                    <a:pt x="170" y="38"/>
                    <a:pt x="170" y="38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0" y="45"/>
                    <a:pt x="170" y="45"/>
                    <a:pt x="170" y="45"/>
                  </a:cubicBezTo>
                  <a:moveTo>
                    <a:pt x="185" y="45"/>
                  </a:moveTo>
                  <a:cubicBezTo>
                    <a:pt x="185" y="38"/>
                    <a:pt x="185" y="38"/>
                    <a:pt x="185" y="38"/>
                  </a:cubicBezTo>
                  <a:cubicBezTo>
                    <a:pt x="192" y="38"/>
                    <a:pt x="192" y="38"/>
                    <a:pt x="192" y="38"/>
                  </a:cubicBezTo>
                  <a:cubicBezTo>
                    <a:pt x="192" y="45"/>
                    <a:pt x="192" y="45"/>
                    <a:pt x="192" y="45"/>
                  </a:cubicBezTo>
                  <a:cubicBezTo>
                    <a:pt x="185" y="45"/>
                    <a:pt x="185" y="45"/>
                    <a:pt x="185" y="45"/>
                  </a:cubicBezTo>
                  <a:moveTo>
                    <a:pt x="199" y="45"/>
                  </a:moveTo>
                  <a:cubicBezTo>
                    <a:pt x="199" y="38"/>
                    <a:pt x="199" y="38"/>
                    <a:pt x="199" y="38"/>
                  </a:cubicBezTo>
                  <a:cubicBezTo>
                    <a:pt x="206" y="38"/>
                    <a:pt x="206" y="38"/>
                    <a:pt x="206" y="38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199" y="45"/>
                    <a:pt x="199" y="45"/>
                    <a:pt x="199" y="45"/>
                  </a:cubicBezTo>
                  <a:moveTo>
                    <a:pt x="214" y="45"/>
                  </a:moveTo>
                  <a:cubicBezTo>
                    <a:pt x="214" y="38"/>
                    <a:pt x="214" y="38"/>
                    <a:pt x="214" y="38"/>
                  </a:cubicBezTo>
                  <a:cubicBezTo>
                    <a:pt x="221" y="38"/>
                    <a:pt x="221" y="38"/>
                    <a:pt x="221" y="38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4" y="45"/>
                    <a:pt x="214" y="45"/>
                    <a:pt x="214" y="45"/>
                  </a:cubicBezTo>
                  <a:moveTo>
                    <a:pt x="229" y="45"/>
                  </a:moveTo>
                  <a:cubicBezTo>
                    <a:pt x="229" y="38"/>
                    <a:pt x="229" y="38"/>
                    <a:pt x="229" y="38"/>
                  </a:cubicBezTo>
                  <a:cubicBezTo>
                    <a:pt x="236" y="38"/>
                    <a:pt x="236" y="38"/>
                    <a:pt x="236" y="38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29" y="45"/>
                    <a:pt x="229" y="45"/>
                    <a:pt x="229" y="45"/>
                  </a:cubicBezTo>
                  <a:moveTo>
                    <a:pt x="244" y="45"/>
                  </a:moveTo>
                  <a:cubicBezTo>
                    <a:pt x="244" y="38"/>
                    <a:pt x="244" y="38"/>
                    <a:pt x="244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45"/>
                    <a:pt x="251" y="45"/>
                    <a:pt x="251" y="45"/>
                  </a:cubicBezTo>
                  <a:cubicBezTo>
                    <a:pt x="244" y="45"/>
                    <a:pt x="244" y="45"/>
                    <a:pt x="244" y="45"/>
                  </a:cubicBezTo>
                  <a:moveTo>
                    <a:pt x="258" y="45"/>
                  </a:moveTo>
                  <a:cubicBezTo>
                    <a:pt x="258" y="38"/>
                    <a:pt x="258" y="38"/>
                    <a:pt x="258" y="38"/>
                  </a:cubicBezTo>
                  <a:cubicBezTo>
                    <a:pt x="265" y="38"/>
                    <a:pt x="265" y="38"/>
                    <a:pt x="265" y="38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58" y="45"/>
                    <a:pt x="258" y="45"/>
                    <a:pt x="258" y="45"/>
                  </a:cubicBezTo>
                  <a:moveTo>
                    <a:pt x="273" y="45"/>
                  </a:moveTo>
                  <a:cubicBezTo>
                    <a:pt x="273" y="38"/>
                    <a:pt x="273" y="38"/>
                    <a:pt x="273" y="38"/>
                  </a:cubicBezTo>
                  <a:cubicBezTo>
                    <a:pt x="280" y="38"/>
                    <a:pt x="280" y="38"/>
                    <a:pt x="280" y="38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73" y="45"/>
                    <a:pt x="273" y="45"/>
                    <a:pt x="273" y="45"/>
                  </a:cubicBezTo>
                  <a:moveTo>
                    <a:pt x="288" y="45"/>
                  </a:moveTo>
                  <a:cubicBezTo>
                    <a:pt x="288" y="38"/>
                    <a:pt x="288" y="38"/>
                    <a:pt x="288" y="38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295" y="45"/>
                    <a:pt x="295" y="45"/>
                    <a:pt x="295" y="45"/>
                  </a:cubicBezTo>
                  <a:cubicBezTo>
                    <a:pt x="288" y="45"/>
                    <a:pt x="288" y="45"/>
                    <a:pt x="288" y="45"/>
                  </a:cubicBezTo>
                  <a:moveTo>
                    <a:pt x="303" y="45"/>
                  </a:moveTo>
                  <a:cubicBezTo>
                    <a:pt x="303" y="38"/>
                    <a:pt x="303" y="38"/>
                    <a:pt x="303" y="38"/>
                  </a:cubicBezTo>
                  <a:cubicBezTo>
                    <a:pt x="310" y="38"/>
                    <a:pt x="310" y="38"/>
                    <a:pt x="310" y="38"/>
                  </a:cubicBezTo>
                  <a:cubicBezTo>
                    <a:pt x="310" y="45"/>
                    <a:pt x="310" y="45"/>
                    <a:pt x="310" y="45"/>
                  </a:cubicBezTo>
                  <a:cubicBezTo>
                    <a:pt x="303" y="45"/>
                    <a:pt x="303" y="45"/>
                    <a:pt x="303" y="45"/>
                  </a:cubicBezTo>
                  <a:moveTo>
                    <a:pt x="111" y="30"/>
                  </a:moveTo>
                  <a:cubicBezTo>
                    <a:pt x="111" y="23"/>
                    <a:pt x="111" y="23"/>
                    <a:pt x="111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1" y="30"/>
                    <a:pt x="111" y="30"/>
                    <a:pt x="111" y="30"/>
                  </a:cubicBezTo>
                  <a:moveTo>
                    <a:pt x="126" y="30"/>
                  </a:moveTo>
                  <a:cubicBezTo>
                    <a:pt x="126" y="23"/>
                    <a:pt x="126" y="23"/>
                    <a:pt x="126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6" y="30"/>
                    <a:pt x="126" y="30"/>
                    <a:pt x="126" y="30"/>
                  </a:cubicBezTo>
                  <a:moveTo>
                    <a:pt x="140" y="30"/>
                  </a:moveTo>
                  <a:cubicBezTo>
                    <a:pt x="140" y="23"/>
                    <a:pt x="140" y="23"/>
                    <a:pt x="140" y="23"/>
                  </a:cubicBezTo>
                  <a:cubicBezTo>
                    <a:pt x="147" y="23"/>
                    <a:pt x="147" y="23"/>
                    <a:pt x="147" y="23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0" y="30"/>
                    <a:pt x="140" y="30"/>
                    <a:pt x="140" y="30"/>
                  </a:cubicBezTo>
                  <a:moveTo>
                    <a:pt x="155" y="30"/>
                  </a:moveTo>
                  <a:cubicBezTo>
                    <a:pt x="155" y="23"/>
                    <a:pt x="155" y="23"/>
                    <a:pt x="155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55" y="30"/>
                    <a:pt x="155" y="30"/>
                    <a:pt x="155" y="30"/>
                  </a:cubicBezTo>
                  <a:moveTo>
                    <a:pt x="170" y="30"/>
                  </a:moveTo>
                  <a:cubicBezTo>
                    <a:pt x="170" y="23"/>
                    <a:pt x="170" y="23"/>
                    <a:pt x="170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7" y="30"/>
                    <a:pt x="177" y="30"/>
                    <a:pt x="177" y="30"/>
                  </a:cubicBezTo>
                  <a:cubicBezTo>
                    <a:pt x="170" y="30"/>
                    <a:pt x="170" y="30"/>
                    <a:pt x="170" y="30"/>
                  </a:cubicBezTo>
                  <a:moveTo>
                    <a:pt x="185" y="30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85" y="30"/>
                    <a:pt x="185" y="30"/>
                    <a:pt x="185" y="30"/>
                  </a:cubicBezTo>
                  <a:moveTo>
                    <a:pt x="199" y="30"/>
                  </a:moveTo>
                  <a:cubicBezTo>
                    <a:pt x="199" y="23"/>
                    <a:pt x="199" y="23"/>
                    <a:pt x="199" y="23"/>
                  </a:cubicBezTo>
                  <a:cubicBezTo>
                    <a:pt x="206" y="23"/>
                    <a:pt x="206" y="23"/>
                    <a:pt x="206" y="23"/>
                  </a:cubicBezTo>
                  <a:cubicBezTo>
                    <a:pt x="206" y="30"/>
                    <a:pt x="206" y="30"/>
                    <a:pt x="206" y="30"/>
                  </a:cubicBezTo>
                  <a:cubicBezTo>
                    <a:pt x="199" y="30"/>
                    <a:pt x="199" y="30"/>
                    <a:pt x="199" y="30"/>
                  </a:cubicBezTo>
                  <a:moveTo>
                    <a:pt x="214" y="30"/>
                  </a:moveTo>
                  <a:cubicBezTo>
                    <a:pt x="214" y="23"/>
                    <a:pt x="214" y="23"/>
                    <a:pt x="214" y="23"/>
                  </a:cubicBezTo>
                  <a:cubicBezTo>
                    <a:pt x="221" y="23"/>
                    <a:pt x="221" y="23"/>
                    <a:pt x="221" y="23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14" y="30"/>
                    <a:pt x="214" y="30"/>
                    <a:pt x="214" y="30"/>
                  </a:cubicBezTo>
                  <a:moveTo>
                    <a:pt x="229" y="30"/>
                  </a:moveTo>
                  <a:cubicBezTo>
                    <a:pt x="229" y="23"/>
                    <a:pt x="229" y="23"/>
                    <a:pt x="229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30"/>
                    <a:pt x="236" y="30"/>
                    <a:pt x="236" y="30"/>
                  </a:cubicBezTo>
                  <a:cubicBezTo>
                    <a:pt x="229" y="30"/>
                    <a:pt x="229" y="30"/>
                    <a:pt x="229" y="30"/>
                  </a:cubicBezTo>
                  <a:moveTo>
                    <a:pt x="244" y="30"/>
                  </a:moveTo>
                  <a:cubicBezTo>
                    <a:pt x="244" y="23"/>
                    <a:pt x="244" y="23"/>
                    <a:pt x="244" y="23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30"/>
                    <a:pt x="251" y="30"/>
                    <a:pt x="251" y="30"/>
                  </a:cubicBezTo>
                  <a:cubicBezTo>
                    <a:pt x="244" y="30"/>
                    <a:pt x="244" y="30"/>
                    <a:pt x="244" y="30"/>
                  </a:cubicBezTo>
                  <a:moveTo>
                    <a:pt x="258" y="30"/>
                  </a:moveTo>
                  <a:cubicBezTo>
                    <a:pt x="258" y="23"/>
                    <a:pt x="258" y="23"/>
                    <a:pt x="258" y="23"/>
                  </a:cubicBezTo>
                  <a:cubicBezTo>
                    <a:pt x="265" y="23"/>
                    <a:pt x="265" y="23"/>
                    <a:pt x="265" y="23"/>
                  </a:cubicBezTo>
                  <a:cubicBezTo>
                    <a:pt x="265" y="30"/>
                    <a:pt x="265" y="30"/>
                    <a:pt x="265" y="30"/>
                  </a:cubicBezTo>
                  <a:cubicBezTo>
                    <a:pt x="258" y="30"/>
                    <a:pt x="258" y="30"/>
                    <a:pt x="258" y="30"/>
                  </a:cubicBezTo>
                  <a:moveTo>
                    <a:pt x="273" y="30"/>
                  </a:moveTo>
                  <a:cubicBezTo>
                    <a:pt x="273" y="23"/>
                    <a:pt x="273" y="23"/>
                    <a:pt x="273" y="23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280" y="30"/>
                    <a:pt x="280" y="30"/>
                    <a:pt x="280" y="30"/>
                  </a:cubicBezTo>
                  <a:cubicBezTo>
                    <a:pt x="273" y="30"/>
                    <a:pt x="273" y="30"/>
                    <a:pt x="273" y="30"/>
                  </a:cubicBezTo>
                  <a:moveTo>
                    <a:pt x="155" y="15"/>
                  </a:moveTo>
                  <a:cubicBezTo>
                    <a:pt x="155" y="8"/>
                    <a:pt x="155" y="8"/>
                    <a:pt x="155" y="8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55" y="15"/>
                    <a:pt x="155" y="15"/>
                    <a:pt x="155" y="15"/>
                  </a:cubicBezTo>
                  <a:moveTo>
                    <a:pt x="170" y="15"/>
                  </a:moveTo>
                  <a:cubicBezTo>
                    <a:pt x="170" y="8"/>
                    <a:pt x="170" y="8"/>
                    <a:pt x="170" y="8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0" y="15"/>
                    <a:pt x="170" y="15"/>
                    <a:pt x="170" y="15"/>
                  </a:cubicBezTo>
                  <a:moveTo>
                    <a:pt x="185" y="15"/>
                  </a:moveTo>
                  <a:cubicBezTo>
                    <a:pt x="185" y="8"/>
                    <a:pt x="185" y="8"/>
                    <a:pt x="185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85" y="15"/>
                    <a:pt x="185" y="15"/>
                    <a:pt x="185" y="15"/>
                  </a:cubicBezTo>
                  <a:moveTo>
                    <a:pt x="199" y="15"/>
                  </a:moveTo>
                  <a:cubicBezTo>
                    <a:pt x="199" y="8"/>
                    <a:pt x="199" y="8"/>
                    <a:pt x="199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15"/>
                    <a:pt x="206" y="15"/>
                    <a:pt x="206" y="15"/>
                  </a:cubicBezTo>
                  <a:cubicBezTo>
                    <a:pt x="199" y="15"/>
                    <a:pt x="199" y="15"/>
                    <a:pt x="199" y="15"/>
                  </a:cubicBezTo>
                  <a:moveTo>
                    <a:pt x="214" y="15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21" y="8"/>
                    <a:pt x="221" y="8"/>
                    <a:pt x="221" y="8"/>
                  </a:cubicBezTo>
                  <a:cubicBezTo>
                    <a:pt x="221" y="15"/>
                    <a:pt x="221" y="15"/>
                    <a:pt x="221" y="15"/>
                  </a:cubicBezTo>
                  <a:cubicBezTo>
                    <a:pt x="214" y="15"/>
                    <a:pt x="214" y="15"/>
                    <a:pt x="214" y="15"/>
                  </a:cubicBezTo>
                  <a:moveTo>
                    <a:pt x="229" y="15"/>
                  </a:moveTo>
                  <a:cubicBezTo>
                    <a:pt x="229" y="8"/>
                    <a:pt x="229" y="8"/>
                    <a:pt x="229" y="8"/>
                  </a:cubicBezTo>
                  <a:cubicBezTo>
                    <a:pt x="236" y="8"/>
                    <a:pt x="236" y="8"/>
                    <a:pt x="236" y="8"/>
                  </a:cubicBezTo>
                  <a:cubicBezTo>
                    <a:pt x="236" y="15"/>
                    <a:pt x="236" y="15"/>
                    <a:pt x="236" y="15"/>
                  </a:cubicBezTo>
                  <a:cubicBezTo>
                    <a:pt x="229" y="15"/>
                    <a:pt x="229" y="15"/>
                    <a:pt x="229" y="15"/>
                  </a:cubicBezTo>
                  <a:moveTo>
                    <a:pt x="196" y="0"/>
                  </a:moveTo>
                  <a:cubicBezTo>
                    <a:pt x="177" y="0"/>
                    <a:pt x="158" y="3"/>
                    <a:pt x="141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38" y="9"/>
                    <a:pt x="135" y="10"/>
                    <a:pt x="133" y="11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18" y="16"/>
                    <a:pt x="110" y="20"/>
                    <a:pt x="103" y="24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88" y="32"/>
                    <a:pt x="81" y="37"/>
                    <a:pt x="74" y="43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7" y="48"/>
                    <a:pt x="63" y="52"/>
                    <a:pt x="59" y="56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2" y="63"/>
                    <a:pt x="48" y="68"/>
                    <a:pt x="44" y="72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37" y="81"/>
                    <a:pt x="32" y="89"/>
                    <a:pt x="27" y="97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19" y="111"/>
                    <a:pt x="16" y="118"/>
                    <a:pt x="13" y="126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0" y="133"/>
                    <a:pt x="10" y="133"/>
                    <a:pt x="10" y="133"/>
                  </a:cubicBezTo>
                  <a:cubicBezTo>
                    <a:pt x="9" y="136"/>
                    <a:pt x="9" y="138"/>
                    <a:pt x="8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8"/>
                    <a:pt x="15" y="148"/>
                    <a:pt x="15" y="148"/>
                  </a:cubicBezTo>
                  <a:cubicBezTo>
                    <a:pt x="8" y="148"/>
                    <a:pt x="8" y="148"/>
                    <a:pt x="8" y="148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159"/>
                    <a:pt x="0" y="177"/>
                    <a:pt x="0" y="196"/>
                  </a:cubicBezTo>
                  <a:cubicBezTo>
                    <a:pt x="0" y="215"/>
                    <a:pt x="3" y="233"/>
                    <a:pt x="8" y="251"/>
                  </a:cubicBezTo>
                  <a:cubicBezTo>
                    <a:pt x="8" y="244"/>
                    <a:pt x="8" y="244"/>
                    <a:pt x="8" y="244"/>
                  </a:cubicBezTo>
                  <a:cubicBezTo>
                    <a:pt x="15" y="244"/>
                    <a:pt x="15" y="244"/>
                    <a:pt x="15" y="244"/>
                  </a:cubicBezTo>
                  <a:cubicBezTo>
                    <a:pt x="15" y="251"/>
                    <a:pt x="15" y="251"/>
                    <a:pt x="15" y="251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9" y="254"/>
                    <a:pt x="9" y="256"/>
                    <a:pt x="10" y="259"/>
                  </a:cubicBezTo>
                  <a:cubicBezTo>
                    <a:pt x="15" y="259"/>
                    <a:pt x="15" y="259"/>
                    <a:pt x="15" y="259"/>
                  </a:cubicBezTo>
                  <a:cubicBezTo>
                    <a:pt x="15" y="266"/>
                    <a:pt x="15" y="266"/>
                    <a:pt x="15" y="266"/>
                  </a:cubicBezTo>
                  <a:cubicBezTo>
                    <a:pt x="13" y="266"/>
                    <a:pt x="13" y="266"/>
                    <a:pt x="13" y="266"/>
                  </a:cubicBezTo>
                  <a:cubicBezTo>
                    <a:pt x="16" y="274"/>
                    <a:pt x="19" y="281"/>
                    <a:pt x="23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7" y="295"/>
                    <a:pt x="27" y="295"/>
                    <a:pt x="27" y="295"/>
                  </a:cubicBezTo>
                  <a:cubicBezTo>
                    <a:pt x="32" y="303"/>
                    <a:pt x="37" y="311"/>
                    <a:pt x="43" y="318"/>
                  </a:cubicBezTo>
                  <a:cubicBezTo>
                    <a:pt x="44" y="318"/>
                    <a:pt x="44" y="318"/>
                    <a:pt x="44" y="318"/>
                  </a:cubicBezTo>
                  <a:cubicBezTo>
                    <a:pt x="44" y="320"/>
                    <a:pt x="44" y="320"/>
                    <a:pt x="44" y="320"/>
                  </a:cubicBezTo>
                  <a:cubicBezTo>
                    <a:pt x="48" y="324"/>
                    <a:pt x="52" y="329"/>
                    <a:pt x="56" y="333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36"/>
                    <a:pt x="59" y="336"/>
                    <a:pt x="59" y="336"/>
                  </a:cubicBezTo>
                  <a:cubicBezTo>
                    <a:pt x="63" y="340"/>
                    <a:pt x="67" y="344"/>
                    <a:pt x="72" y="347"/>
                  </a:cubicBezTo>
                  <a:cubicBezTo>
                    <a:pt x="74" y="347"/>
                    <a:pt x="74" y="347"/>
                    <a:pt x="74" y="347"/>
                  </a:cubicBezTo>
                  <a:cubicBezTo>
                    <a:pt x="74" y="349"/>
                    <a:pt x="74" y="349"/>
                    <a:pt x="74" y="349"/>
                  </a:cubicBezTo>
                  <a:cubicBezTo>
                    <a:pt x="81" y="355"/>
                    <a:pt x="88" y="360"/>
                    <a:pt x="96" y="365"/>
                  </a:cubicBezTo>
                  <a:cubicBezTo>
                    <a:pt x="96" y="362"/>
                    <a:pt x="96" y="362"/>
                    <a:pt x="96" y="362"/>
                  </a:cubicBezTo>
                  <a:cubicBezTo>
                    <a:pt x="103" y="362"/>
                    <a:pt x="103" y="362"/>
                    <a:pt x="103" y="362"/>
                  </a:cubicBezTo>
                  <a:cubicBezTo>
                    <a:pt x="103" y="368"/>
                    <a:pt x="103" y="368"/>
                    <a:pt x="103" y="368"/>
                  </a:cubicBezTo>
                  <a:cubicBezTo>
                    <a:pt x="110" y="372"/>
                    <a:pt x="118" y="376"/>
                    <a:pt x="126" y="379"/>
                  </a:cubicBezTo>
                  <a:cubicBezTo>
                    <a:pt x="126" y="377"/>
                    <a:pt x="126" y="377"/>
                    <a:pt x="126" y="377"/>
                  </a:cubicBezTo>
                  <a:cubicBezTo>
                    <a:pt x="133" y="377"/>
                    <a:pt x="133" y="377"/>
                    <a:pt x="133" y="377"/>
                  </a:cubicBezTo>
                  <a:cubicBezTo>
                    <a:pt x="133" y="381"/>
                    <a:pt x="133" y="381"/>
                    <a:pt x="133" y="381"/>
                  </a:cubicBezTo>
                  <a:cubicBezTo>
                    <a:pt x="135" y="382"/>
                    <a:pt x="138" y="383"/>
                    <a:pt x="140" y="384"/>
                  </a:cubicBezTo>
                  <a:cubicBezTo>
                    <a:pt x="140" y="377"/>
                    <a:pt x="140" y="377"/>
                    <a:pt x="140" y="377"/>
                  </a:cubicBezTo>
                  <a:cubicBezTo>
                    <a:pt x="147" y="377"/>
                    <a:pt x="147" y="377"/>
                    <a:pt x="147" y="377"/>
                  </a:cubicBezTo>
                  <a:cubicBezTo>
                    <a:pt x="147" y="384"/>
                    <a:pt x="147" y="384"/>
                    <a:pt x="147" y="384"/>
                  </a:cubicBezTo>
                  <a:cubicBezTo>
                    <a:pt x="141" y="384"/>
                    <a:pt x="141" y="384"/>
                    <a:pt x="141" y="384"/>
                  </a:cubicBezTo>
                  <a:cubicBezTo>
                    <a:pt x="158" y="389"/>
                    <a:pt x="177" y="392"/>
                    <a:pt x="196" y="392"/>
                  </a:cubicBezTo>
                  <a:cubicBezTo>
                    <a:pt x="215" y="392"/>
                    <a:pt x="233" y="389"/>
                    <a:pt x="250" y="384"/>
                  </a:cubicBezTo>
                  <a:cubicBezTo>
                    <a:pt x="244" y="384"/>
                    <a:pt x="244" y="384"/>
                    <a:pt x="244" y="384"/>
                  </a:cubicBezTo>
                  <a:cubicBezTo>
                    <a:pt x="244" y="377"/>
                    <a:pt x="244" y="377"/>
                    <a:pt x="244" y="377"/>
                  </a:cubicBezTo>
                  <a:cubicBezTo>
                    <a:pt x="251" y="377"/>
                    <a:pt x="251" y="377"/>
                    <a:pt x="251" y="377"/>
                  </a:cubicBezTo>
                  <a:cubicBezTo>
                    <a:pt x="251" y="384"/>
                    <a:pt x="251" y="384"/>
                    <a:pt x="251" y="384"/>
                  </a:cubicBezTo>
                  <a:cubicBezTo>
                    <a:pt x="253" y="383"/>
                    <a:pt x="256" y="382"/>
                    <a:pt x="258" y="381"/>
                  </a:cubicBezTo>
                  <a:cubicBezTo>
                    <a:pt x="258" y="377"/>
                    <a:pt x="258" y="377"/>
                    <a:pt x="258" y="377"/>
                  </a:cubicBezTo>
                  <a:cubicBezTo>
                    <a:pt x="265" y="377"/>
                    <a:pt x="265" y="377"/>
                    <a:pt x="265" y="377"/>
                  </a:cubicBezTo>
                  <a:cubicBezTo>
                    <a:pt x="265" y="379"/>
                    <a:pt x="265" y="379"/>
                    <a:pt x="265" y="379"/>
                  </a:cubicBezTo>
                  <a:cubicBezTo>
                    <a:pt x="273" y="376"/>
                    <a:pt x="281" y="372"/>
                    <a:pt x="288" y="368"/>
                  </a:cubicBezTo>
                  <a:cubicBezTo>
                    <a:pt x="288" y="362"/>
                    <a:pt x="288" y="362"/>
                    <a:pt x="288" y="362"/>
                  </a:cubicBezTo>
                  <a:cubicBezTo>
                    <a:pt x="295" y="362"/>
                    <a:pt x="295" y="362"/>
                    <a:pt x="295" y="362"/>
                  </a:cubicBezTo>
                  <a:cubicBezTo>
                    <a:pt x="295" y="365"/>
                    <a:pt x="295" y="365"/>
                    <a:pt x="295" y="365"/>
                  </a:cubicBezTo>
                  <a:cubicBezTo>
                    <a:pt x="303" y="360"/>
                    <a:pt x="310" y="355"/>
                    <a:pt x="317" y="349"/>
                  </a:cubicBezTo>
                  <a:cubicBezTo>
                    <a:pt x="317" y="347"/>
                    <a:pt x="317" y="347"/>
                    <a:pt x="317" y="347"/>
                  </a:cubicBezTo>
                  <a:cubicBezTo>
                    <a:pt x="319" y="347"/>
                    <a:pt x="319" y="347"/>
                    <a:pt x="319" y="347"/>
                  </a:cubicBezTo>
                  <a:cubicBezTo>
                    <a:pt x="324" y="344"/>
                    <a:pt x="328" y="340"/>
                    <a:pt x="332" y="336"/>
                  </a:cubicBezTo>
                  <a:cubicBezTo>
                    <a:pt x="332" y="333"/>
                    <a:pt x="332" y="333"/>
                    <a:pt x="332" y="333"/>
                  </a:cubicBezTo>
                  <a:cubicBezTo>
                    <a:pt x="336" y="333"/>
                    <a:pt x="336" y="333"/>
                    <a:pt x="336" y="333"/>
                  </a:cubicBezTo>
                  <a:cubicBezTo>
                    <a:pt x="339" y="329"/>
                    <a:pt x="343" y="324"/>
                    <a:pt x="347" y="320"/>
                  </a:cubicBezTo>
                  <a:cubicBezTo>
                    <a:pt x="347" y="318"/>
                    <a:pt x="347" y="318"/>
                    <a:pt x="347" y="318"/>
                  </a:cubicBezTo>
                  <a:cubicBezTo>
                    <a:pt x="349" y="318"/>
                    <a:pt x="349" y="318"/>
                    <a:pt x="349" y="318"/>
                  </a:cubicBezTo>
                  <a:cubicBezTo>
                    <a:pt x="354" y="311"/>
                    <a:pt x="359" y="303"/>
                    <a:pt x="364" y="295"/>
                  </a:cubicBezTo>
                  <a:cubicBezTo>
                    <a:pt x="362" y="295"/>
                    <a:pt x="362" y="295"/>
                    <a:pt x="362" y="295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68" y="288"/>
                    <a:pt x="368" y="288"/>
                  </a:cubicBezTo>
                  <a:cubicBezTo>
                    <a:pt x="372" y="281"/>
                    <a:pt x="375" y="274"/>
                    <a:pt x="378" y="266"/>
                  </a:cubicBezTo>
                  <a:cubicBezTo>
                    <a:pt x="376" y="266"/>
                    <a:pt x="376" y="266"/>
                    <a:pt x="376" y="266"/>
                  </a:cubicBezTo>
                  <a:cubicBezTo>
                    <a:pt x="376" y="259"/>
                    <a:pt x="376" y="259"/>
                    <a:pt x="376" y="259"/>
                  </a:cubicBezTo>
                  <a:cubicBezTo>
                    <a:pt x="381" y="259"/>
                    <a:pt x="381" y="259"/>
                    <a:pt x="381" y="259"/>
                  </a:cubicBezTo>
                  <a:cubicBezTo>
                    <a:pt x="382" y="256"/>
                    <a:pt x="382" y="254"/>
                    <a:pt x="383" y="251"/>
                  </a:cubicBezTo>
                  <a:cubicBezTo>
                    <a:pt x="376" y="251"/>
                    <a:pt x="376" y="251"/>
                    <a:pt x="376" y="251"/>
                  </a:cubicBezTo>
                  <a:cubicBezTo>
                    <a:pt x="376" y="244"/>
                    <a:pt x="376" y="244"/>
                    <a:pt x="376" y="244"/>
                  </a:cubicBezTo>
                  <a:cubicBezTo>
                    <a:pt x="383" y="244"/>
                    <a:pt x="383" y="244"/>
                    <a:pt x="383" y="244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88" y="233"/>
                    <a:pt x="391" y="215"/>
                    <a:pt x="391" y="196"/>
                  </a:cubicBezTo>
                  <a:cubicBezTo>
                    <a:pt x="391" y="177"/>
                    <a:pt x="388" y="159"/>
                    <a:pt x="383" y="141"/>
                  </a:cubicBezTo>
                  <a:cubicBezTo>
                    <a:pt x="383" y="148"/>
                    <a:pt x="383" y="148"/>
                    <a:pt x="383" y="148"/>
                  </a:cubicBezTo>
                  <a:cubicBezTo>
                    <a:pt x="376" y="148"/>
                    <a:pt x="376" y="148"/>
                    <a:pt x="376" y="148"/>
                  </a:cubicBezTo>
                  <a:cubicBezTo>
                    <a:pt x="376" y="141"/>
                    <a:pt x="376" y="141"/>
                    <a:pt x="376" y="141"/>
                  </a:cubicBezTo>
                  <a:cubicBezTo>
                    <a:pt x="383" y="141"/>
                    <a:pt x="383" y="141"/>
                    <a:pt x="383" y="141"/>
                  </a:cubicBezTo>
                  <a:cubicBezTo>
                    <a:pt x="382" y="138"/>
                    <a:pt x="382" y="136"/>
                    <a:pt x="381" y="133"/>
                  </a:cubicBezTo>
                  <a:cubicBezTo>
                    <a:pt x="376" y="133"/>
                    <a:pt x="376" y="133"/>
                    <a:pt x="376" y="133"/>
                  </a:cubicBezTo>
                  <a:cubicBezTo>
                    <a:pt x="376" y="126"/>
                    <a:pt x="376" y="126"/>
                    <a:pt x="376" y="126"/>
                  </a:cubicBezTo>
                  <a:cubicBezTo>
                    <a:pt x="378" y="126"/>
                    <a:pt x="378" y="126"/>
                    <a:pt x="378" y="126"/>
                  </a:cubicBezTo>
                  <a:cubicBezTo>
                    <a:pt x="375" y="118"/>
                    <a:pt x="372" y="111"/>
                    <a:pt x="368" y="104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97"/>
                    <a:pt x="362" y="97"/>
                    <a:pt x="362" y="97"/>
                  </a:cubicBezTo>
                  <a:cubicBezTo>
                    <a:pt x="364" y="97"/>
                    <a:pt x="364" y="97"/>
                    <a:pt x="364" y="97"/>
                  </a:cubicBezTo>
                  <a:cubicBezTo>
                    <a:pt x="359" y="89"/>
                    <a:pt x="354" y="81"/>
                    <a:pt x="349" y="74"/>
                  </a:cubicBezTo>
                  <a:cubicBezTo>
                    <a:pt x="347" y="74"/>
                    <a:pt x="347" y="74"/>
                    <a:pt x="347" y="74"/>
                  </a:cubicBezTo>
                  <a:cubicBezTo>
                    <a:pt x="347" y="72"/>
                    <a:pt x="347" y="72"/>
                    <a:pt x="347" y="72"/>
                  </a:cubicBezTo>
                  <a:cubicBezTo>
                    <a:pt x="343" y="68"/>
                    <a:pt x="339" y="63"/>
                    <a:pt x="336" y="59"/>
                  </a:cubicBezTo>
                  <a:cubicBezTo>
                    <a:pt x="332" y="59"/>
                    <a:pt x="332" y="59"/>
                    <a:pt x="332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28" y="52"/>
                    <a:pt x="324" y="48"/>
                    <a:pt x="319" y="45"/>
                  </a:cubicBezTo>
                  <a:cubicBezTo>
                    <a:pt x="317" y="45"/>
                    <a:pt x="317" y="45"/>
                    <a:pt x="317" y="45"/>
                  </a:cubicBezTo>
                  <a:cubicBezTo>
                    <a:pt x="317" y="43"/>
                    <a:pt x="317" y="43"/>
                    <a:pt x="317" y="43"/>
                  </a:cubicBezTo>
                  <a:cubicBezTo>
                    <a:pt x="310" y="37"/>
                    <a:pt x="303" y="32"/>
                    <a:pt x="295" y="28"/>
                  </a:cubicBezTo>
                  <a:cubicBezTo>
                    <a:pt x="295" y="30"/>
                    <a:pt x="295" y="30"/>
                    <a:pt x="295" y="30"/>
                  </a:cubicBezTo>
                  <a:cubicBezTo>
                    <a:pt x="288" y="30"/>
                    <a:pt x="288" y="30"/>
                    <a:pt x="288" y="30"/>
                  </a:cubicBezTo>
                  <a:cubicBezTo>
                    <a:pt x="288" y="24"/>
                    <a:pt x="288" y="24"/>
                    <a:pt x="288" y="24"/>
                  </a:cubicBezTo>
                  <a:cubicBezTo>
                    <a:pt x="281" y="20"/>
                    <a:pt x="273" y="16"/>
                    <a:pt x="265" y="13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8" y="11"/>
                    <a:pt x="258" y="11"/>
                    <a:pt x="258" y="11"/>
                  </a:cubicBezTo>
                  <a:cubicBezTo>
                    <a:pt x="256" y="10"/>
                    <a:pt x="253" y="9"/>
                    <a:pt x="251" y="8"/>
                  </a:cubicBezTo>
                  <a:cubicBezTo>
                    <a:pt x="251" y="15"/>
                    <a:pt x="251" y="15"/>
                    <a:pt x="251" y="15"/>
                  </a:cubicBezTo>
                  <a:cubicBezTo>
                    <a:pt x="244" y="15"/>
                    <a:pt x="244" y="15"/>
                    <a:pt x="244" y="15"/>
                  </a:cubicBezTo>
                  <a:cubicBezTo>
                    <a:pt x="244" y="8"/>
                    <a:pt x="244" y="8"/>
                    <a:pt x="244" y="8"/>
                  </a:cubicBezTo>
                  <a:cubicBezTo>
                    <a:pt x="250" y="8"/>
                    <a:pt x="250" y="8"/>
                    <a:pt x="250" y="8"/>
                  </a:cubicBezTo>
                  <a:cubicBezTo>
                    <a:pt x="233" y="3"/>
                    <a:pt x="214" y="0"/>
                    <a:pt x="196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4" name="îṡliďé">
              <a:extLst>
                <a:ext uri="{FF2B5EF4-FFF2-40B4-BE49-F238E27FC236}">
                  <a16:creationId xmlns:a16="http://schemas.microsoft.com/office/drawing/2014/main" xmlns="" id="{9FB3EEA7-4A01-4491-AF2B-916F9D752E68}"/>
                </a:ext>
              </a:extLst>
            </p:cNvPr>
            <p:cNvSpPr/>
            <p:nvPr/>
          </p:nvSpPr>
          <p:spPr bwMode="auto">
            <a:xfrm>
              <a:off x="2655339" y="2859178"/>
              <a:ext cx="1614486" cy="3382959"/>
            </a:xfrm>
            <a:custGeom>
              <a:avLst/>
              <a:gdLst>
                <a:gd name="T0" fmla="*/ 741 w 741"/>
                <a:gd name="T1" fmla="*/ 1492 h 1555"/>
                <a:gd name="T2" fmla="*/ 678 w 741"/>
                <a:gd name="T3" fmla="*/ 1555 h 1555"/>
                <a:gd name="T4" fmla="*/ 63 w 741"/>
                <a:gd name="T5" fmla="*/ 1555 h 1555"/>
                <a:gd name="T6" fmla="*/ 0 w 741"/>
                <a:gd name="T7" fmla="*/ 1492 h 1555"/>
                <a:gd name="T8" fmla="*/ 0 w 741"/>
                <a:gd name="T9" fmla="*/ 62 h 1555"/>
                <a:gd name="T10" fmla="*/ 63 w 741"/>
                <a:gd name="T11" fmla="*/ 0 h 1555"/>
                <a:gd name="T12" fmla="*/ 678 w 741"/>
                <a:gd name="T13" fmla="*/ 0 h 1555"/>
                <a:gd name="T14" fmla="*/ 741 w 741"/>
                <a:gd name="T15" fmla="*/ 62 h 1555"/>
                <a:gd name="T16" fmla="*/ 741 w 741"/>
                <a:gd name="T17" fmla="*/ 1492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1" h="1555">
                  <a:moveTo>
                    <a:pt x="741" y="1492"/>
                  </a:moveTo>
                  <a:cubicBezTo>
                    <a:pt x="741" y="1527"/>
                    <a:pt x="713" y="1555"/>
                    <a:pt x="678" y="1555"/>
                  </a:cubicBezTo>
                  <a:cubicBezTo>
                    <a:pt x="63" y="1555"/>
                    <a:pt x="63" y="1555"/>
                    <a:pt x="63" y="1555"/>
                  </a:cubicBezTo>
                  <a:cubicBezTo>
                    <a:pt x="28" y="1555"/>
                    <a:pt x="0" y="1527"/>
                    <a:pt x="0" y="149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678" y="0"/>
                    <a:pt x="678" y="0"/>
                    <a:pt x="678" y="0"/>
                  </a:cubicBezTo>
                  <a:cubicBezTo>
                    <a:pt x="713" y="0"/>
                    <a:pt x="741" y="28"/>
                    <a:pt x="741" y="62"/>
                  </a:cubicBezTo>
                  <a:lnTo>
                    <a:pt x="741" y="149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5" name="ïṧliďe">
              <a:extLst>
                <a:ext uri="{FF2B5EF4-FFF2-40B4-BE49-F238E27FC236}">
                  <a16:creationId xmlns:a16="http://schemas.microsoft.com/office/drawing/2014/main" xmlns="" id="{B69093B0-D7EA-4A1D-B7E9-B1BB00C6D9F4}"/>
                </a:ext>
              </a:extLst>
            </p:cNvPr>
            <p:cNvSpPr/>
            <p:nvPr/>
          </p:nvSpPr>
          <p:spPr bwMode="auto">
            <a:xfrm>
              <a:off x="2753764" y="3154453"/>
              <a:ext cx="1417636" cy="400050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6" name="íṧḻidé">
              <a:extLst>
                <a:ext uri="{FF2B5EF4-FFF2-40B4-BE49-F238E27FC236}">
                  <a16:creationId xmlns:a16="http://schemas.microsoft.com/office/drawing/2014/main" xmlns="" id="{B14B42DA-5CE6-49C7-8FC0-6BCD85F70DBE}"/>
                </a:ext>
              </a:extLst>
            </p:cNvPr>
            <p:cNvSpPr/>
            <p:nvPr/>
          </p:nvSpPr>
          <p:spPr bwMode="auto">
            <a:xfrm>
              <a:off x="2745826" y="4340314"/>
              <a:ext cx="1435099" cy="417512"/>
            </a:xfrm>
            <a:custGeom>
              <a:avLst/>
              <a:gdLst>
                <a:gd name="T0" fmla="*/ 898 w 904"/>
                <a:gd name="T1" fmla="*/ 258 h 263"/>
                <a:gd name="T2" fmla="*/ 898 w 904"/>
                <a:gd name="T3" fmla="*/ 252 h 263"/>
                <a:gd name="T4" fmla="*/ 11 w 904"/>
                <a:gd name="T5" fmla="*/ 252 h 263"/>
                <a:gd name="T6" fmla="*/ 11 w 904"/>
                <a:gd name="T7" fmla="*/ 11 h 263"/>
                <a:gd name="T8" fmla="*/ 893 w 904"/>
                <a:gd name="T9" fmla="*/ 11 h 263"/>
                <a:gd name="T10" fmla="*/ 893 w 904"/>
                <a:gd name="T11" fmla="*/ 258 h 263"/>
                <a:gd name="T12" fmla="*/ 898 w 904"/>
                <a:gd name="T13" fmla="*/ 258 h 263"/>
                <a:gd name="T14" fmla="*/ 898 w 904"/>
                <a:gd name="T15" fmla="*/ 252 h 263"/>
                <a:gd name="T16" fmla="*/ 898 w 904"/>
                <a:gd name="T17" fmla="*/ 258 h 263"/>
                <a:gd name="T18" fmla="*/ 904 w 904"/>
                <a:gd name="T19" fmla="*/ 258 h 263"/>
                <a:gd name="T20" fmla="*/ 904 w 904"/>
                <a:gd name="T21" fmla="*/ 0 h 263"/>
                <a:gd name="T22" fmla="*/ 0 w 904"/>
                <a:gd name="T23" fmla="*/ 0 h 263"/>
                <a:gd name="T24" fmla="*/ 0 w 904"/>
                <a:gd name="T25" fmla="*/ 263 h 263"/>
                <a:gd name="T26" fmla="*/ 904 w 904"/>
                <a:gd name="T27" fmla="*/ 263 h 263"/>
                <a:gd name="T28" fmla="*/ 904 w 904"/>
                <a:gd name="T29" fmla="*/ 258 h 263"/>
                <a:gd name="T30" fmla="*/ 898 w 904"/>
                <a:gd name="T31" fmla="*/ 25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04" h="263">
                  <a:moveTo>
                    <a:pt x="898" y="258"/>
                  </a:moveTo>
                  <a:lnTo>
                    <a:pt x="898" y="252"/>
                  </a:lnTo>
                  <a:lnTo>
                    <a:pt x="11" y="252"/>
                  </a:lnTo>
                  <a:lnTo>
                    <a:pt x="11" y="11"/>
                  </a:lnTo>
                  <a:lnTo>
                    <a:pt x="893" y="11"/>
                  </a:lnTo>
                  <a:lnTo>
                    <a:pt x="893" y="258"/>
                  </a:lnTo>
                  <a:lnTo>
                    <a:pt x="898" y="258"/>
                  </a:lnTo>
                  <a:lnTo>
                    <a:pt x="898" y="252"/>
                  </a:lnTo>
                  <a:lnTo>
                    <a:pt x="898" y="258"/>
                  </a:lnTo>
                  <a:lnTo>
                    <a:pt x="904" y="258"/>
                  </a:lnTo>
                  <a:lnTo>
                    <a:pt x="904" y="0"/>
                  </a:ln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8"/>
                  </a:lnTo>
                  <a:lnTo>
                    <a:pt x="898" y="258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7" name="îṥľîḑê">
              <a:extLst>
                <a:ext uri="{FF2B5EF4-FFF2-40B4-BE49-F238E27FC236}">
                  <a16:creationId xmlns:a16="http://schemas.microsoft.com/office/drawing/2014/main" xmlns="" id="{8B0F10AA-4F84-47CC-87A4-EA64D5170A70}"/>
                </a:ext>
              </a:extLst>
            </p:cNvPr>
            <p:cNvSpPr/>
            <p:nvPr/>
          </p:nvSpPr>
          <p:spPr bwMode="auto">
            <a:xfrm>
              <a:off x="2753764" y="3600540"/>
              <a:ext cx="1417636" cy="400050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8" name="išḷîḋè">
              <a:extLst>
                <a:ext uri="{FF2B5EF4-FFF2-40B4-BE49-F238E27FC236}">
                  <a16:creationId xmlns:a16="http://schemas.microsoft.com/office/drawing/2014/main" xmlns="" id="{FB38E878-738F-4AE0-989A-D6663BD8666D}"/>
                </a:ext>
              </a:extLst>
            </p:cNvPr>
            <p:cNvSpPr/>
            <p:nvPr/>
          </p:nvSpPr>
          <p:spPr bwMode="auto">
            <a:xfrm>
              <a:off x="2818851" y="3754527"/>
              <a:ext cx="982662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9" name="iṣľíďê">
              <a:extLst>
                <a:ext uri="{FF2B5EF4-FFF2-40B4-BE49-F238E27FC236}">
                  <a16:creationId xmlns:a16="http://schemas.microsoft.com/office/drawing/2014/main" xmlns="" id="{E60B8ED9-6C78-4139-BED6-F0A464CC8C17}"/>
                </a:ext>
              </a:extLst>
            </p:cNvPr>
            <p:cNvSpPr/>
            <p:nvPr/>
          </p:nvSpPr>
          <p:spPr bwMode="auto">
            <a:xfrm>
              <a:off x="3826913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0" name="işḻïḑê">
              <a:extLst>
                <a:ext uri="{FF2B5EF4-FFF2-40B4-BE49-F238E27FC236}">
                  <a16:creationId xmlns:a16="http://schemas.microsoft.com/office/drawing/2014/main" xmlns="" id="{9639E492-329A-4A0B-9287-6392AB6263C5}"/>
                </a:ext>
              </a:extLst>
            </p:cNvPr>
            <p:cNvSpPr/>
            <p:nvPr/>
          </p:nvSpPr>
          <p:spPr bwMode="auto">
            <a:xfrm>
              <a:off x="3930100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1" name="iSlïḑe">
              <a:extLst>
                <a:ext uri="{FF2B5EF4-FFF2-40B4-BE49-F238E27FC236}">
                  <a16:creationId xmlns:a16="http://schemas.microsoft.com/office/drawing/2014/main" xmlns="" id="{4FAE674E-B394-4183-A817-1CCF99F4AFE4}"/>
                </a:ext>
              </a:extLst>
            </p:cNvPr>
            <p:cNvSpPr/>
            <p:nvPr/>
          </p:nvSpPr>
          <p:spPr bwMode="auto">
            <a:xfrm>
              <a:off x="4030113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2" name="ïŝ1ïḋe">
              <a:extLst>
                <a:ext uri="{FF2B5EF4-FFF2-40B4-BE49-F238E27FC236}">
                  <a16:creationId xmlns:a16="http://schemas.microsoft.com/office/drawing/2014/main" xmlns="" id="{AF173DFB-BDB0-4CC4-AB38-4D1909E351F4}"/>
                </a:ext>
              </a:extLst>
            </p:cNvPr>
            <p:cNvSpPr/>
            <p:nvPr/>
          </p:nvSpPr>
          <p:spPr bwMode="auto">
            <a:xfrm>
              <a:off x="2893464" y="4532401"/>
              <a:ext cx="88900" cy="3651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3" name="išḻíďê">
              <a:extLst>
                <a:ext uri="{FF2B5EF4-FFF2-40B4-BE49-F238E27FC236}">
                  <a16:creationId xmlns:a16="http://schemas.microsoft.com/office/drawing/2014/main" xmlns="" id="{7BA4B547-8A6D-4711-A3DC-7C97439F62AF}"/>
                </a:ext>
              </a:extLst>
            </p:cNvPr>
            <p:cNvSpPr/>
            <p:nvPr/>
          </p:nvSpPr>
          <p:spPr bwMode="auto">
            <a:xfrm>
              <a:off x="3214138" y="4532401"/>
              <a:ext cx="85725" cy="3651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4" name="ï$ļïde">
              <a:extLst>
                <a:ext uri="{FF2B5EF4-FFF2-40B4-BE49-F238E27FC236}">
                  <a16:creationId xmlns:a16="http://schemas.microsoft.com/office/drawing/2014/main" xmlns="" id="{78CCD189-5537-4545-A1DD-06E67CF436DF}"/>
                </a:ext>
              </a:extLst>
            </p:cNvPr>
            <p:cNvSpPr/>
            <p:nvPr/>
          </p:nvSpPr>
          <p:spPr bwMode="auto">
            <a:xfrm>
              <a:off x="3026814" y="4532401"/>
              <a:ext cx="36512" cy="36512"/>
            </a:xfrm>
            <a:prstGeom prst="ellipse">
              <a:avLst/>
            </a:prstGeom>
            <a:solidFill>
              <a:srgbClr val="FF7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5" name="ïşḷide">
              <a:extLst>
                <a:ext uri="{FF2B5EF4-FFF2-40B4-BE49-F238E27FC236}">
                  <a16:creationId xmlns:a16="http://schemas.microsoft.com/office/drawing/2014/main" xmlns="" id="{B98C1260-0899-45B3-BD21-22681FE99528}"/>
                </a:ext>
              </a:extLst>
            </p:cNvPr>
            <p:cNvSpPr/>
            <p:nvPr/>
          </p:nvSpPr>
          <p:spPr bwMode="auto">
            <a:xfrm>
              <a:off x="3133176" y="4532401"/>
              <a:ext cx="36512" cy="36512"/>
            </a:xfrm>
            <a:prstGeom prst="ellipse">
              <a:avLst/>
            </a:prstGeom>
            <a:solidFill>
              <a:srgbClr val="8BC5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6" name="ïṣ1îḑè">
              <a:extLst>
                <a:ext uri="{FF2B5EF4-FFF2-40B4-BE49-F238E27FC236}">
                  <a16:creationId xmlns:a16="http://schemas.microsoft.com/office/drawing/2014/main" xmlns="" id="{162D3258-8914-47C4-B218-153D4F418C33}"/>
                </a:ext>
              </a:extLst>
            </p:cNvPr>
            <p:cNvSpPr/>
            <p:nvPr/>
          </p:nvSpPr>
          <p:spPr bwMode="auto">
            <a:xfrm>
              <a:off x="3925338" y="4497476"/>
              <a:ext cx="106362" cy="106362"/>
            </a:xfrm>
            <a:custGeom>
              <a:avLst/>
              <a:gdLst>
                <a:gd name="T0" fmla="*/ 49 w 49"/>
                <a:gd name="T1" fmla="*/ 41 h 49"/>
                <a:gd name="T2" fmla="*/ 41 w 49"/>
                <a:gd name="T3" fmla="*/ 49 h 49"/>
                <a:gd name="T4" fmla="*/ 7 w 49"/>
                <a:gd name="T5" fmla="*/ 49 h 49"/>
                <a:gd name="T6" fmla="*/ 0 w 49"/>
                <a:gd name="T7" fmla="*/ 41 h 49"/>
                <a:gd name="T8" fmla="*/ 0 w 49"/>
                <a:gd name="T9" fmla="*/ 7 h 49"/>
                <a:gd name="T10" fmla="*/ 7 w 49"/>
                <a:gd name="T11" fmla="*/ 0 h 49"/>
                <a:gd name="T12" fmla="*/ 41 w 49"/>
                <a:gd name="T13" fmla="*/ 0 h 49"/>
                <a:gd name="T14" fmla="*/ 49 w 49"/>
                <a:gd name="T15" fmla="*/ 7 h 49"/>
                <a:gd name="T16" fmla="*/ 49 w 49"/>
                <a:gd name="T17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49">
                  <a:moveTo>
                    <a:pt x="49" y="41"/>
                  </a:moveTo>
                  <a:cubicBezTo>
                    <a:pt x="49" y="45"/>
                    <a:pt x="45" y="49"/>
                    <a:pt x="41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3" y="49"/>
                    <a:pt x="0" y="45"/>
                    <a:pt x="0" y="4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9" y="3"/>
                    <a:pt x="49" y="7"/>
                  </a:cubicBezTo>
                  <a:lnTo>
                    <a:pt x="49" y="41"/>
                  </a:lnTo>
                  <a:close/>
                </a:path>
              </a:pathLst>
            </a:custGeom>
            <a:solidFill>
              <a:srgbClr val="0071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7" name="îślîḓè">
              <a:extLst>
                <a:ext uri="{FF2B5EF4-FFF2-40B4-BE49-F238E27FC236}">
                  <a16:creationId xmlns:a16="http://schemas.microsoft.com/office/drawing/2014/main" xmlns="" id="{A469399F-7A77-4B81-953B-AAA910D3C149}"/>
                </a:ext>
              </a:extLst>
            </p:cNvPr>
            <p:cNvSpPr/>
            <p:nvPr/>
          </p:nvSpPr>
          <p:spPr bwMode="auto">
            <a:xfrm>
              <a:off x="3349076" y="4497476"/>
              <a:ext cx="528637" cy="10636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8" name="íSľíḋe">
              <a:extLst>
                <a:ext uri="{FF2B5EF4-FFF2-40B4-BE49-F238E27FC236}">
                  <a16:creationId xmlns:a16="http://schemas.microsoft.com/office/drawing/2014/main" xmlns="" id="{8EDF10AA-8D5D-48EE-AAC0-CE9F7FA12CB7}"/>
                </a:ext>
              </a:extLst>
            </p:cNvPr>
            <p:cNvSpPr/>
            <p:nvPr/>
          </p:nvSpPr>
          <p:spPr bwMode="auto">
            <a:xfrm>
              <a:off x="3004589" y="5046750"/>
              <a:ext cx="915987" cy="914399"/>
            </a:xfrm>
            <a:custGeom>
              <a:avLst/>
              <a:gdLst>
                <a:gd name="T0" fmla="*/ 274 w 577"/>
                <a:gd name="T1" fmla="*/ 0 h 576"/>
                <a:gd name="T2" fmla="*/ 0 w 577"/>
                <a:gd name="T3" fmla="*/ 72 h 576"/>
                <a:gd name="T4" fmla="*/ 0 w 577"/>
                <a:gd name="T5" fmla="*/ 375 h 576"/>
                <a:gd name="T6" fmla="*/ 132 w 577"/>
                <a:gd name="T7" fmla="*/ 557 h 576"/>
                <a:gd name="T8" fmla="*/ 436 w 577"/>
                <a:gd name="T9" fmla="*/ 557 h 576"/>
                <a:gd name="T10" fmla="*/ 557 w 577"/>
                <a:gd name="T11" fmla="*/ 375 h 576"/>
                <a:gd name="T12" fmla="*/ 557 w 577"/>
                <a:gd name="T13" fmla="*/ 72 h 576"/>
                <a:gd name="T14" fmla="*/ 536 w 577"/>
                <a:gd name="T15" fmla="*/ 233 h 576"/>
                <a:gd name="T16" fmla="*/ 517 w 577"/>
                <a:gd name="T17" fmla="*/ 51 h 576"/>
                <a:gd name="T18" fmla="*/ 517 w 577"/>
                <a:gd name="T19" fmla="*/ 294 h 576"/>
                <a:gd name="T20" fmla="*/ 132 w 577"/>
                <a:gd name="T21" fmla="*/ 495 h 576"/>
                <a:gd name="T22" fmla="*/ 374 w 577"/>
                <a:gd name="T23" fmla="*/ 495 h 576"/>
                <a:gd name="T24" fmla="*/ 405 w 577"/>
                <a:gd name="T25" fmla="*/ 486 h 576"/>
                <a:gd name="T26" fmla="*/ 162 w 577"/>
                <a:gd name="T27" fmla="*/ 486 h 576"/>
                <a:gd name="T28" fmla="*/ 152 w 577"/>
                <a:gd name="T29" fmla="*/ 516 h 576"/>
                <a:gd name="T30" fmla="*/ 395 w 577"/>
                <a:gd name="T31" fmla="*/ 516 h 576"/>
                <a:gd name="T32" fmla="*/ 496 w 577"/>
                <a:gd name="T33" fmla="*/ 91 h 576"/>
                <a:gd name="T34" fmla="*/ 496 w 577"/>
                <a:gd name="T35" fmla="*/ 333 h 576"/>
                <a:gd name="T36" fmla="*/ 476 w 577"/>
                <a:gd name="T37" fmla="*/ 132 h 576"/>
                <a:gd name="T38" fmla="*/ 476 w 577"/>
                <a:gd name="T39" fmla="*/ 375 h 576"/>
                <a:gd name="T40" fmla="*/ 455 w 577"/>
                <a:gd name="T41" fmla="*/ 172 h 576"/>
                <a:gd name="T42" fmla="*/ 455 w 577"/>
                <a:gd name="T43" fmla="*/ 414 h 576"/>
                <a:gd name="T44" fmla="*/ 436 w 577"/>
                <a:gd name="T45" fmla="*/ 213 h 576"/>
                <a:gd name="T46" fmla="*/ 446 w 577"/>
                <a:gd name="T47" fmla="*/ 455 h 576"/>
                <a:gd name="T48" fmla="*/ 416 w 577"/>
                <a:gd name="T49" fmla="*/ 253 h 576"/>
                <a:gd name="T50" fmla="*/ 395 w 577"/>
                <a:gd name="T51" fmla="*/ 51 h 576"/>
                <a:gd name="T52" fmla="*/ 395 w 577"/>
                <a:gd name="T53" fmla="*/ 294 h 576"/>
                <a:gd name="T54" fmla="*/ 374 w 577"/>
                <a:gd name="T55" fmla="*/ 91 h 576"/>
                <a:gd name="T56" fmla="*/ 374 w 577"/>
                <a:gd name="T57" fmla="*/ 333 h 576"/>
                <a:gd name="T58" fmla="*/ 355 w 577"/>
                <a:gd name="T59" fmla="*/ 132 h 576"/>
                <a:gd name="T60" fmla="*/ 355 w 577"/>
                <a:gd name="T61" fmla="*/ 375 h 576"/>
                <a:gd name="T62" fmla="*/ 335 w 577"/>
                <a:gd name="T63" fmla="*/ 172 h 576"/>
                <a:gd name="T64" fmla="*/ 335 w 577"/>
                <a:gd name="T65" fmla="*/ 414 h 576"/>
                <a:gd name="T66" fmla="*/ 314 w 577"/>
                <a:gd name="T67" fmla="*/ 213 h 576"/>
                <a:gd name="T68" fmla="*/ 324 w 577"/>
                <a:gd name="T69" fmla="*/ 455 h 576"/>
                <a:gd name="T70" fmla="*/ 293 w 577"/>
                <a:gd name="T71" fmla="*/ 253 h 576"/>
                <a:gd name="T72" fmla="*/ 274 w 577"/>
                <a:gd name="T73" fmla="*/ 51 h 576"/>
                <a:gd name="T74" fmla="*/ 274 w 577"/>
                <a:gd name="T75" fmla="*/ 294 h 576"/>
                <a:gd name="T76" fmla="*/ 254 w 577"/>
                <a:gd name="T77" fmla="*/ 91 h 576"/>
                <a:gd name="T78" fmla="*/ 254 w 577"/>
                <a:gd name="T79" fmla="*/ 333 h 576"/>
                <a:gd name="T80" fmla="*/ 233 w 577"/>
                <a:gd name="T81" fmla="*/ 132 h 576"/>
                <a:gd name="T82" fmla="*/ 233 w 577"/>
                <a:gd name="T83" fmla="*/ 375 h 576"/>
                <a:gd name="T84" fmla="*/ 213 w 577"/>
                <a:gd name="T85" fmla="*/ 172 h 576"/>
                <a:gd name="T86" fmla="*/ 213 w 577"/>
                <a:gd name="T87" fmla="*/ 414 h 576"/>
                <a:gd name="T88" fmla="*/ 193 w 577"/>
                <a:gd name="T89" fmla="*/ 213 h 576"/>
                <a:gd name="T90" fmla="*/ 203 w 577"/>
                <a:gd name="T91" fmla="*/ 455 h 576"/>
                <a:gd name="T92" fmla="*/ 173 w 577"/>
                <a:gd name="T93" fmla="*/ 253 h 576"/>
                <a:gd name="T94" fmla="*/ 152 w 577"/>
                <a:gd name="T95" fmla="*/ 51 h 576"/>
                <a:gd name="T96" fmla="*/ 152 w 577"/>
                <a:gd name="T97" fmla="*/ 294 h 576"/>
                <a:gd name="T98" fmla="*/ 132 w 577"/>
                <a:gd name="T99" fmla="*/ 91 h 576"/>
                <a:gd name="T100" fmla="*/ 132 w 577"/>
                <a:gd name="T101" fmla="*/ 333 h 576"/>
                <a:gd name="T102" fmla="*/ 112 w 577"/>
                <a:gd name="T103" fmla="*/ 132 h 576"/>
                <a:gd name="T104" fmla="*/ 112 w 577"/>
                <a:gd name="T105" fmla="*/ 375 h 576"/>
                <a:gd name="T106" fmla="*/ 92 w 577"/>
                <a:gd name="T107" fmla="*/ 172 h 576"/>
                <a:gd name="T108" fmla="*/ 92 w 577"/>
                <a:gd name="T109" fmla="*/ 414 h 576"/>
                <a:gd name="T110" fmla="*/ 71 w 577"/>
                <a:gd name="T111" fmla="*/ 213 h 576"/>
                <a:gd name="T112" fmla="*/ 81 w 577"/>
                <a:gd name="T113" fmla="*/ 455 h 576"/>
                <a:gd name="T114" fmla="*/ 51 w 577"/>
                <a:gd name="T115" fmla="*/ 253 h 576"/>
                <a:gd name="T116" fmla="*/ 31 w 577"/>
                <a:gd name="T117" fmla="*/ 51 h 576"/>
                <a:gd name="T118" fmla="*/ 31 w 577"/>
                <a:gd name="T119" fmla="*/ 294 h 576"/>
                <a:gd name="T120" fmla="*/ 31 w 577"/>
                <a:gd name="T121" fmla="*/ 546 h 576"/>
                <a:gd name="T122" fmla="*/ 274 w 577"/>
                <a:gd name="T123" fmla="*/ 546 h 576"/>
                <a:gd name="T124" fmla="*/ 517 w 577"/>
                <a:gd name="T125" fmla="*/ 54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" h="576">
                  <a:moveTo>
                    <a:pt x="577" y="30"/>
                  </a:moveTo>
                  <a:lnTo>
                    <a:pt x="577" y="20"/>
                  </a:lnTo>
                  <a:lnTo>
                    <a:pt x="557" y="20"/>
                  </a:lnTo>
                  <a:lnTo>
                    <a:pt x="557" y="0"/>
                  </a:lnTo>
                  <a:lnTo>
                    <a:pt x="546" y="0"/>
                  </a:lnTo>
                  <a:lnTo>
                    <a:pt x="546" y="20"/>
                  </a:lnTo>
                  <a:lnTo>
                    <a:pt x="536" y="20"/>
                  </a:lnTo>
                  <a:lnTo>
                    <a:pt x="536" y="0"/>
                  </a:lnTo>
                  <a:lnTo>
                    <a:pt x="527" y="0"/>
                  </a:lnTo>
                  <a:lnTo>
                    <a:pt x="527" y="20"/>
                  </a:lnTo>
                  <a:lnTo>
                    <a:pt x="517" y="20"/>
                  </a:lnTo>
                  <a:lnTo>
                    <a:pt x="517" y="0"/>
                  </a:lnTo>
                  <a:lnTo>
                    <a:pt x="506" y="0"/>
                  </a:lnTo>
                  <a:lnTo>
                    <a:pt x="506" y="20"/>
                  </a:lnTo>
                  <a:lnTo>
                    <a:pt x="496" y="20"/>
                  </a:lnTo>
                  <a:lnTo>
                    <a:pt x="496" y="0"/>
                  </a:lnTo>
                  <a:lnTo>
                    <a:pt x="486" y="0"/>
                  </a:lnTo>
                  <a:lnTo>
                    <a:pt x="486" y="20"/>
                  </a:lnTo>
                  <a:lnTo>
                    <a:pt x="476" y="20"/>
                  </a:lnTo>
                  <a:lnTo>
                    <a:pt x="476" y="0"/>
                  </a:lnTo>
                  <a:lnTo>
                    <a:pt x="465" y="0"/>
                  </a:lnTo>
                  <a:lnTo>
                    <a:pt x="465" y="20"/>
                  </a:lnTo>
                  <a:lnTo>
                    <a:pt x="455" y="20"/>
                  </a:lnTo>
                  <a:lnTo>
                    <a:pt x="455" y="0"/>
                  </a:lnTo>
                  <a:lnTo>
                    <a:pt x="446" y="0"/>
                  </a:lnTo>
                  <a:lnTo>
                    <a:pt x="446" y="20"/>
                  </a:lnTo>
                  <a:lnTo>
                    <a:pt x="436" y="20"/>
                  </a:lnTo>
                  <a:lnTo>
                    <a:pt x="436" y="0"/>
                  </a:lnTo>
                  <a:lnTo>
                    <a:pt x="425" y="0"/>
                  </a:lnTo>
                  <a:lnTo>
                    <a:pt x="425" y="20"/>
                  </a:lnTo>
                  <a:lnTo>
                    <a:pt x="416" y="20"/>
                  </a:lnTo>
                  <a:lnTo>
                    <a:pt x="416" y="0"/>
                  </a:lnTo>
                  <a:lnTo>
                    <a:pt x="405" y="0"/>
                  </a:lnTo>
                  <a:lnTo>
                    <a:pt x="405" y="20"/>
                  </a:lnTo>
                  <a:lnTo>
                    <a:pt x="395" y="20"/>
                  </a:lnTo>
                  <a:lnTo>
                    <a:pt x="395" y="0"/>
                  </a:lnTo>
                  <a:lnTo>
                    <a:pt x="384" y="0"/>
                  </a:lnTo>
                  <a:lnTo>
                    <a:pt x="384" y="20"/>
                  </a:lnTo>
                  <a:lnTo>
                    <a:pt x="374" y="20"/>
                  </a:lnTo>
                  <a:lnTo>
                    <a:pt x="374" y="0"/>
                  </a:lnTo>
                  <a:lnTo>
                    <a:pt x="365" y="0"/>
                  </a:lnTo>
                  <a:lnTo>
                    <a:pt x="365" y="20"/>
                  </a:lnTo>
                  <a:lnTo>
                    <a:pt x="355" y="20"/>
                  </a:lnTo>
                  <a:lnTo>
                    <a:pt x="355" y="0"/>
                  </a:lnTo>
                  <a:lnTo>
                    <a:pt x="344" y="0"/>
                  </a:lnTo>
                  <a:lnTo>
                    <a:pt x="344" y="20"/>
                  </a:lnTo>
                  <a:lnTo>
                    <a:pt x="335" y="20"/>
                  </a:lnTo>
                  <a:lnTo>
                    <a:pt x="335" y="0"/>
                  </a:lnTo>
                  <a:lnTo>
                    <a:pt x="324" y="0"/>
                  </a:lnTo>
                  <a:lnTo>
                    <a:pt x="324" y="20"/>
                  </a:lnTo>
                  <a:lnTo>
                    <a:pt x="314" y="20"/>
                  </a:lnTo>
                  <a:lnTo>
                    <a:pt x="314" y="0"/>
                  </a:lnTo>
                  <a:lnTo>
                    <a:pt x="303" y="0"/>
                  </a:lnTo>
                  <a:lnTo>
                    <a:pt x="303" y="20"/>
                  </a:lnTo>
                  <a:lnTo>
                    <a:pt x="293" y="20"/>
                  </a:lnTo>
                  <a:lnTo>
                    <a:pt x="293" y="0"/>
                  </a:lnTo>
                  <a:lnTo>
                    <a:pt x="284" y="0"/>
                  </a:lnTo>
                  <a:lnTo>
                    <a:pt x="284" y="20"/>
                  </a:lnTo>
                  <a:lnTo>
                    <a:pt x="274" y="20"/>
                  </a:lnTo>
                  <a:lnTo>
                    <a:pt x="274" y="0"/>
                  </a:lnTo>
                  <a:lnTo>
                    <a:pt x="263" y="0"/>
                  </a:lnTo>
                  <a:lnTo>
                    <a:pt x="263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43" y="0"/>
                  </a:lnTo>
                  <a:lnTo>
                    <a:pt x="243" y="20"/>
                  </a:lnTo>
                  <a:lnTo>
                    <a:pt x="233" y="20"/>
                  </a:lnTo>
                  <a:lnTo>
                    <a:pt x="233" y="0"/>
                  </a:lnTo>
                  <a:lnTo>
                    <a:pt x="222" y="0"/>
                  </a:lnTo>
                  <a:lnTo>
                    <a:pt x="222" y="20"/>
                  </a:lnTo>
                  <a:lnTo>
                    <a:pt x="213" y="20"/>
                  </a:lnTo>
                  <a:lnTo>
                    <a:pt x="213" y="0"/>
                  </a:lnTo>
                  <a:lnTo>
                    <a:pt x="203" y="0"/>
                  </a:lnTo>
                  <a:lnTo>
                    <a:pt x="203" y="20"/>
                  </a:lnTo>
                  <a:lnTo>
                    <a:pt x="193" y="20"/>
                  </a:lnTo>
                  <a:lnTo>
                    <a:pt x="193" y="0"/>
                  </a:lnTo>
                  <a:lnTo>
                    <a:pt x="182" y="0"/>
                  </a:lnTo>
                  <a:lnTo>
                    <a:pt x="182" y="20"/>
                  </a:lnTo>
                  <a:lnTo>
                    <a:pt x="173" y="20"/>
                  </a:lnTo>
                  <a:lnTo>
                    <a:pt x="173" y="0"/>
                  </a:lnTo>
                  <a:lnTo>
                    <a:pt x="162" y="0"/>
                  </a:lnTo>
                  <a:lnTo>
                    <a:pt x="162" y="20"/>
                  </a:lnTo>
                  <a:lnTo>
                    <a:pt x="152" y="20"/>
                  </a:lnTo>
                  <a:lnTo>
                    <a:pt x="152" y="0"/>
                  </a:lnTo>
                  <a:lnTo>
                    <a:pt x="141" y="0"/>
                  </a:lnTo>
                  <a:lnTo>
                    <a:pt x="141" y="20"/>
                  </a:lnTo>
                  <a:lnTo>
                    <a:pt x="132" y="20"/>
                  </a:lnTo>
                  <a:lnTo>
                    <a:pt x="132" y="0"/>
                  </a:lnTo>
                  <a:lnTo>
                    <a:pt x="122" y="0"/>
                  </a:lnTo>
                  <a:lnTo>
                    <a:pt x="122" y="20"/>
                  </a:lnTo>
                  <a:lnTo>
                    <a:pt x="112" y="20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20"/>
                  </a:lnTo>
                  <a:lnTo>
                    <a:pt x="92" y="20"/>
                  </a:lnTo>
                  <a:lnTo>
                    <a:pt x="92" y="0"/>
                  </a:lnTo>
                  <a:lnTo>
                    <a:pt x="81" y="0"/>
                  </a:lnTo>
                  <a:lnTo>
                    <a:pt x="81" y="20"/>
                  </a:lnTo>
                  <a:lnTo>
                    <a:pt x="71" y="20"/>
                  </a:lnTo>
                  <a:lnTo>
                    <a:pt x="71" y="0"/>
                  </a:lnTo>
                  <a:lnTo>
                    <a:pt x="60" y="0"/>
                  </a:lnTo>
                  <a:lnTo>
                    <a:pt x="60" y="20"/>
                  </a:lnTo>
                  <a:lnTo>
                    <a:pt x="51" y="20"/>
                  </a:lnTo>
                  <a:lnTo>
                    <a:pt x="51" y="0"/>
                  </a:lnTo>
                  <a:lnTo>
                    <a:pt x="41" y="0"/>
                  </a:lnTo>
                  <a:lnTo>
                    <a:pt x="41" y="20"/>
                  </a:lnTo>
                  <a:lnTo>
                    <a:pt x="31" y="20"/>
                  </a:lnTo>
                  <a:lnTo>
                    <a:pt x="31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0" y="30"/>
                  </a:lnTo>
                  <a:lnTo>
                    <a:pt x="20" y="40"/>
                  </a:lnTo>
                  <a:lnTo>
                    <a:pt x="0" y="40"/>
                  </a:lnTo>
                  <a:lnTo>
                    <a:pt x="0" y="51"/>
                  </a:lnTo>
                  <a:lnTo>
                    <a:pt x="20" y="51"/>
                  </a:lnTo>
                  <a:lnTo>
                    <a:pt x="20" y="61"/>
                  </a:lnTo>
                  <a:lnTo>
                    <a:pt x="0" y="61"/>
                  </a:lnTo>
                  <a:lnTo>
                    <a:pt x="0" y="72"/>
                  </a:lnTo>
                  <a:lnTo>
                    <a:pt x="20" y="72"/>
                  </a:lnTo>
                  <a:lnTo>
                    <a:pt x="20" y="81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20" y="91"/>
                  </a:lnTo>
                  <a:lnTo>
                    <a:pt x="20" y="100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20" y="111"/>
                  </a:lnTo>
                  <a:lnTo>
                    <a:pt x="20" y="121"/>
                  </a:lnTo>
                  <a:lnTo>
                    <a:pt x="0" y="121"/>
                  </a:lnTo>
                  <a:lnTo>
                    <a:pt x="0" y="132"/>
                  </a:lnTo>
                  <a:lnTo>
                    <a:pt x="20" y="132"/>
                  </a:lnTo>
                  <a:lnTo>
                    <a:pt x="20" y="142"/>
                  </a:lnTo>
                  <a:lnTo>
                    <a:pt x="0" y="142"/>
                  </a:lnTo>
                  <a:lnTo>
                    <a:pt x="0" y="152"/>
                  </a:lnTo>
                  <a:lnTo>
                    <a:pt x="20" y="152"/>
                  </a:lnTo>
                  <a:lnTo>
                    <a:pt x="2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0" y="172"/>
                  </a:lnTo>
                  <a:lnTo>
                    <a:pt x="20" y="181"/>
                  </a:lnTo>
                  <a:lnTo>
                    <a:pt x="0" y="181"/>
                  </a:lnTo>
                  <a:lnTo>
                    <a:pt x="0" y="192"/>
                  </a:lnTo>
                  <a:lnTo>
                    <a:pt x="20" y="192"/>
                  </a:lnTo>
                  <a:lnTo>
                    <a:pt x="20" y="202"/>
                  </a:lnTo>
                  <a:lnTo>
                    <a:pt x="0" y="202"/>
                  </a:lnTo>
                  <a:lnTo>
                    <a:pt x="0" y="213"/>
                  </a:lnTo>
                  <a:lnTo>
                    <a:pt x="20" y="213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0" y="233"/>
                  </a:lnTo>
                  <a:lnTo>
                    <a:pt x="20" y="233"/>
                  </a:lnTo>
                  <a:lnTo>
                    <a:pt x="20" y="243"/>
                  </a:lnTo>
                  <a:lnTo>
                    <a:pt x="0" y="243"/>
                  </a:lnTo>
                  <a:lnTo>
                    <a:pt x="0" y="253"/>
                  </a:lnTo>
                  <a:lnTo>
                    <a:pt x="20" y="253"/>
                  </a:lnTo>
                  <a:lnTo>
                    <a:pt x="20" y="262"/>
                  </a:lnTo>
                  <a:lnTo>
                    <a:pt x="0" y="262"/>
                  </a:lnTo>
                  <a:lnTo>
                    <a:pt x="0" y="273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0" y="283"/>
                  </a:lnTo>
                  <a:lnTo>
                    <a:pt x="0" y="294"/>
                  </a:lnTo>
                  <a:lnTo>
                    <a:pt x="20" y="294"/>
                  </a:lnTo>
                  <a:lnTo>
                    <a:pt x="20" y="303"/>
                  </a:lnTo>
                  <a:lnTo>
                    <a:pt x="0" y="303"/>
                  </a:lnTo>
                  <a:lnTo>
                    <a:pt x="0" y="314"/>
                  </a:lnTo>
                  <a:lnTo>
                    <a:pt x="20" y="314"/>
                  </a:lnTo>
                  <a:lnTo>
                    <a:pt x="20" y="324"/>
                  </a:lnTo>
                  <a:lnTo>
                    <a:pt x="0" y="324"/>
                  </a:lnTo>
                  <a:lnTo>
                    <a:pt x="0" y="333"/>
                  </a:lnTo>
                  <a:lnTo>
                    <a:pt x="20" y="333"/>
                  </a:lnTo>
                  <a:lnTo>
                    <a:pt x="20" y="343"/>
                  </a:lnTo>
                  <a:lnTo>
                    <a:pt x="0" y="343"/>
                  </a:lnTo>
                  <a:lnTo>
                    <a:pt x="0" y="354"/>
                  </a:lnTo>
                  <a:lnTo>
                    <a:pt x="20" y="354"/>
                  </a:lnTo>
                  <a:lnTo>
                    <a:pt x="20" y="364"/>
                  </a:lnTo>
                  <a:lnTo>
                    <a:pt x="0" y="364"/>
                  </a:lnTo>
                  <a:lnTo>
                    <a:pt x="0" y="375"/>
                  </a:lnTo>
                  <a:lnTo>
                    <a:pt x="20" y="375"/>
                  </a:lnTo>
                  <a:lnTo>
                    <a:pt x="20" y="384"/>
                  </a:lnTo>
                  <a:lnTo>
                    <a:pt x="0" y="384"/>
                  </a:lnTo>
                  <a:lnTo>
                    <a:pt x="0" y="395"/>
                  </a:lnTo>
                  <a:lnTo>
                    <a:pt x="20" y="395"/>
                  </a:lnTo>
                  <a:lnTo>
                    <a:pt x="20" y="40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20" y="414"/>
                  </a:lnTo>
                  <a:lnTo>
                    <a:pt x="20" y="424"/>
                  </a:lnTo>
                  <a:lnTo>
                    <a:pt x="0" y="424"/>
                  </a:lnTo>
                  <a:lnTo>
                    <a:pt x="0" y="435"/>
                  </a:lnTo>
                  <a:lnTo>
                    <a:pt x="20" y="435"/>
                  </a:lnTo>
                  <a:lnTo>
                    <a:pt x="20" y="444"/>
                  </a:lnTo>
                  <a:lnTo>
                    <a:pt x="0" y="444"/>
                  </a:lnTo>
                  <a:lnTo>
                    <a:pt x="0" y="455"/>
                  </a:lnTo>
                  <a:lnTo>
                    <a:pt x="20" y="455"/>
                  </a:lnTo>
                  <a:lnTo>
                    <a:pt x="20" y="465"/>
                  </a:lnTo>
                  <a:lnTo>
                    <a:pt x="0" y="465"/>
                  </a:lnTo>
                  <a:lnTo>
                    <a:pt x="0" y="476"/>
                  </a:lnTo>
                  <a:lnTo>
                    <a:pt x="20" y="476"/>
                  </a:lnTo>
                  <a:lnTo>
                    <a:pt x="20" y="486"/>
                  </a:lnTo>
                  <a:lnTo>
                    <a:pt x="0" y="486"/>
                  </a:lnTo>
                  <a:lnTo>
                    <a:pt x="0" y="495"/>
                  </a:lnTo>
                  <a:lnTo>
                    <a:pt x="20" y="495"/>
                  </a:lnTo>
                  <a:lnTo>
                    <a:pt x="20" y="505"/>
                  </a:lnTo>
                  <a:lnTo>
                    <a:pt x="0" y="505"/>
                  </a:lnTo>
                  <a:lnTo>
                    <a:pt x="0" y="516"/>
                  </a:lnTo>
                  <a:lnTo>
                    <a:pt x="20" y="516"/>
                  </a:lnTo>
                  <a:lnTo>
                    <a:pt x="20" y="525"/>
                  </a:lnTo>
                  <a:lnTo>
                    <a:pt x="0" y="525"/>
                  </a:lnTo>
                  <a:lnTo>
                    <a:pt x="0" y="536"/>
                  </a:lnTo>
                  <a:lnTo>
                    <a:pt x="20" y="536"/>
                  </a:lnTo>
                  <a:lnTo>
                    <a:pt x="20" y="546"/>
                  </a:lnTo>
                  <a:lnTo>
                    <a:pt x="0" y="546"/>
                  </a:lnTo>
                  <a:lnTo>
                    <a:pt x="0" y="557"/>
                  </a:lnTo>
                  <a:lnTo>
                    <a:pt x="20" y="557"/>
                  </a:lnTo>
                  <a:lnTo>
                    <a:pt x="20" y="576"/>
                  </a:lnTo>
                  <a:lnTo>
                    <a:pt x="31" y="576"/>
                  </a:lnTo>
                  <a:lnTo>
                    <a:pt x="31" y="557"/>
                  </a:lnTo>
                  <a:lnTo>
                    <a:pt x="41" y="557"/>
                  </a:lnTo>
                  <a:lnTo>
                    <a:pt x="41" y="576"/>
                  </a:lnTo>
                  <a:lnTo>
                    <a:pt x="51" y="576"/>
                  </a:lnTo>
                  <a:lnTo>
                    <a:pt x="51" y="557"/>
                  </a:lnTo>
                  <a:lnTo>
                    <a:pt x="60" y="557"/>
                  </a:lnTo>
                  <a:lnTo>
                    <a:pt x="60" y="576"/>
                  </a:lnTo>
                  <a:lnTo>
                    <a:pt x="71" y="576"/>
                  </a:lnTo>
                  <a:lnTo>
                    <a:pt x="71" y="557"/>
                  </a:lnTo>
                  <a:lnTo>
                    <a:pt x="81" y="557"/>
                  </a:lnTo>
                  <a:lnTo>
                    <a:pt x="81" y="576"/>
                  </a:lnTo>
                  <a:lnTo>
                    <a:pt x="92" y="576"/>
                  </a:lnTo>
                  <a:lnTo>
                    <a:pt x="92" y="557"/>
                  </a:lnTo>
                  <a:lnTo>
                    <a:pt x="101" y="557"/>
                  </a:lnTo>
                  <a:lnTo>
                    <a:pt x="101" y="576"/>
                  </a:lnTo>
                  <a:lnTo>
                    <a:pt x="112" y="576"/>
                  </a:lnTo>
                  <a:lnTo>
                    <a:pt x="112" y="557"/>
                  </a:lnTo>
                  <a:lnTo>
                    <a:pt x="122" y="557"/>
                  </a:lnTo>
                  <a:lnTo>
                    <a:pt x="122" y="576"/>
                  </a:lnTo>
                  <a:lnTo>
                    <a:pt x="132" y="576"/>
                  </a:lnTo>
                  <a:lnTo>
                    <a:pt x="132" y="557"/>
                  </a:lnTo>
                  <a:lnTo>
                    <a:pt x="141" y="557"/>
                  </a:lnTo>
                  <a:lnTo>
                    <a:pt x="141" y="576"/>
                  </a:lnTo>
                  <a:lnTo>
                    <a:pt x="152" y="576"/>
                  </a:lnTo>
                  <a:lnTo>
                    <a:pt x="152" y="557"/>
                  </a:lnTo>
                  <a:lnTo>
                    <a:pt x="162" y="557"/>
                  </a:lnTo>
                  <a:lnTo>
                    <a:pt x="162" y="576"/>
                  </a:lnTo>
                  <a:lnTo>
                    <a:pt x="173" y="576"/>
                  </a:lnTo>
                  <a:lnTo>
                    <a:pt x="173" y="557"/>
                  </a:lnTo>
                  <a:lnTo>
                    <a:pt x="182" y="557"/>
                  </a:lnTo>
                  <a:lnTo>
                    <a:pt x="182" y="576"/>
                  </a:lnTo>
                  <a:lnTo>
                    <a:pt x="193" y="576"/>
                  </a:lnTo>
                  <a:lnTo>
                    <a:pt x="193" y="557"/>
                  </a:lnTo>
                  <a:lnTo>
                    <a:pt x="203" y="557"/>
                  </a:lnTo>
                  <a:lnTo>
                    <a:pt x="203" y="576"/>
                  </a:lnTo>
                  <a:lnTo>
                    <a:pt x="213" y="576"/>
                  </a:lnTo>
                  <a:lnTo>
                    <a:pt x="213" y="557"/>
                  </a:lnTo>
                  <a:lnTo>
                    <a:pt x="222" y="557"/>
                  </a:lnTo>
                  <a:lnTo>
                    <a:pt x="222" y="576"/>
                  </a:lnTo>
                  <a:lnTo>
                    <a:pt x="233" y="576"/>
                  </a:lnTo>
                  <a:lnTo>
                    <a:pt x="233" y="557"/>
                  </a:lnTo>
                  <a:lnTo>
                    <a:pt x="243" y="557"/>
                  </a:lnTo>
                  <a:lnTo>
                    <a:pt x="243" y="576"/>
                  </a:lnTo>
                  <a:lnTo>
                    <a:pt x="254" y="576"/>
                  </a:lnTo>
                  <a:lnTo>
                    <a:pt x="254" y="557"/>
                  </a:lnTo>
                  <a:lnTo>
                    <a:pt x="263" y="557"/>
                  </a:lnTo>
                  <a:lnTo>
                    <a:pt x="263" y="576"/>
                  </a:lnTo>
                  <a:lnTo>
                    <a:pt x="274" y="576"/>
                  </a:lnTo>
                  <a:lnTo>
                    <a:pt x="274" y="557"/>
                  </a:lnTo>
                  <a:lnTo>
                    <a:pt x="284" y="557"/>
                  </a:lnTo>
                  <a:lnTo>
                    <a:pt x="284" y="576"/>
                  </a:lnTo>
                  <a:lnTo>
                    <a:pt x="293" y="576"/>
                  </a:lnTo>
                  <a:lnTo>
                    <a:pt x="293" y="557"/>
                  </a:lnTo>
                  <a:lnTo>
                    <a:pt x="303" y="557"/>
                  </a:lnTo>
                  <a:lnTo>
                    <a:pt x="303" y="576"/>
                  </a:lnTo>
                  <a:lnTo>
                    <a:pt x="314" y="576"/>
                  </a:lnTo>
                  <a:lnTo>
                    <a:pt x="314" y="557"/>
                  </a:lnTo>
                  <a:lnTo>
                    <a:pt x="324" y="557"/>
                  </a:lnTo>
                  <a:lnTo>
                    <a:pt x="324" y="576"/>
                  </a:lnTo>
                  <a:lnTo>
                    <a:pt x="335" y="576"/>
                  </a:lnTo>
                  <a:lnTo>
                    <a:pt x="335" y="557"/>
                  </a:lnTo>
                  <a:lnTo>
                    <a:pt x="344" y="557"/>
                  </a:lnTo>
                  <a:lnTo>
                    <a:pt x="344" y="576"/>
                  </a:lnTo>
                  <a:lnTo>
                    <a:pt x="355" y="576"/>
                  </a:lnTo>
                  <a:lnTo>
                    <a:pt x="355" y="557"/>
                  </a:lnTo>
                  <a:lnTo>
                    <a:pt x="365" y="557"/>
                  </a:lnTo>
                  <a:lnTo>
                    <a:pt x="365" y="576"/>
                  </a:lnTo>
                  <a:lnTo>
                    <a:pt x="374" y="576"/>
                  </a:lnTo>
                  <a:lnTo>
                    <a:pt x="374" y="557"/>
                  </a:lnTo>
                  <a:lnTo>
                    <a:pt x="384" y="557"/>
                  </a:lnTo>
                  <a:lnTo>
                    <a:pt x="384" y="576"/>
                  </a:lnTo>
                  <a:lnTo>
                    <a:pt x="395" y="576"/>
                  </a:lnTo>
                  <a:lnTo>
                    <a:pt x="395" y="557"/>
                  </a:lnTo>
                  <a:lnTo>
                    <a:pt x="405" y="557"/>
                  </a:lnTo>
                  <a:lnTo>
                    <a:pt x="405" y="576"/>
                  </a:lnTo>
                  <a:lnTo>
                    <a:pt x="416" y="576"/>
                  </a:lnTo>
                  <a:lnTo>
                    <a:pt x="416" y="557"/>
                  </a:lnTo>
                  <a:lnTo>
                    <a:pt x="425" y="557"/>
                  </a:lnTo>
                  <a:lnTo>
                    <a:pt x="425" y="576"/>
                  </a:lnTo>
                  <a:lnTo>
                    <a:pt x="436" y="576"/>
                  </a:lnTo>
                  <a:lnTo>
                    <a:pt x="436" y="557"/>
                  </a:lnTo>
                  <a:lnTo>
                    <a:pt x="446" y="557"/>
                  </a:lnTo>
                  <a:lnTo>
                    <a:pt x="446" y="576"/>
                  </a:lnTo>
                  <a:lnTo>
                    <a:pt x="455" y="576"/>
                  </a:lnTo>
                  <a:lnTo>
                    <a:pt x="455" y="557"/>
                  </a:lnTo>
                  <a:lnTo>
                    <a:pt x="465" y="557"/>
                  </a:lnTo>
                  <a:lnTo>
                    <a:pt x="465" y="576"/>
                  </a:lnTo>
                  <a:lnTo>
                    <a:pt x="476" y="576"/>
                  </a:lnTo>
                  <a:lnTo>
                    <a:pt x="476" y="557"/>
                  </a:lnTo>
                  <a:lnTo>
                    <a:pt x="486" y="557"/>
                  </a:lnTo>
                  <a:lnTo>
                    <a:pt x="486" y="576"/>
                  </a:lnTo>
                  <a:lnTo>
                    <a:pt x="496" y="576"/>
                  </a:lnTo>
                  <a:lnTo>
                    <a:pt x="496" y="557"/>
                  </a:lnTo>
                  <a:lnTo>
                    <a:pt x="506" y="557"/>
                  </a:lnTo>
                  <a:lnTo>
                    <a:pt x="506" y="576"/>
                  </a:lnTo>
                  <a:lnTo>
                    <a:pt x="517" y="576"/>
                  </a:lnTo>
                  <a:lnTo>
                    <a:pt x="517" y="557"/>
                  </a:lnTo>
                  <a:lnTo>
                    <a:pt x="527" y="557"/>
                  </a:lnTo>
                  <a:lnTo>
                    <a:pt x="527" y="576"/>
                  </a:lnTo>
                  <a:lnTo>
                    <a:pt x="536" y="576"/>
                  </a:lnTo>
                  <a:lnTo>
                    <a:pt x="536" y="557"/>
                  </a:lnTo>
                  <a:lnTo>
                    <a:pt x="546" y="557"/>
                  </a:lnTo>
                  <a:lnTo>
                    <a:pt x="546" y="576"/>
                  </a:lnTo>
                  <a:lnTo>
                    <a:pt x="557" y="576"/>
                  </a:lnTo>
                  <a:lnTo>
                    <a:pt x="557" y="557"/>
                  </a:lnTo>
                  <a:lnTo>
                    <a:pt x="577" y="557"/>
                  </a:lnTo>
                  <a:lnTo>
                    <a:pt x="577" y="546"/>
                  </a:lnTo>
                  <a:lnTo>
                    <a:pt x="557" y="546"/>
                  </a:lnTo>
                  <a:lnTo>
                    <a:pt x="557" y="536"/>
                  </a:lnTo>
                  <a:lnTo>
                    <a:pt x="577" y="536"/>
                  </a:lnTo>
                  <a:lnTo>
                    <a:pt x="577" y="525"/>
                  </a:lnTo>
                  <a:lnTo>
                    <a:pt x="557" y="525"/>
                  </a:lnTo>
                  <a:lnTo>
                    <a:pt x="557" y="516"/>
                  </a:lnTo>
                  <a:lnTo>
                    <a:pt x="577" y="516"/>
                  </a:lnTo>
                  <a:lnTo>
                    <a:pt x="577" y="505"/>
                  </a:lnTo>
                  <a:lnTo>
                    <a:pt x="557" y="505"/>
                  </a:lnTo>
                  <a:lnTo>
                    <a:pt x="557" y="495"/>
                  </a:lnTo>
                  <a:lnTo>
                    <a:pt x="577" y="495"/>
                  </a:lnTo>
                  <a:lnTo>
                    <a:pt x="577" y="486"/>
                  </a:lnTo>
                  <a:lnTo>
                    <a:pt x="557" y="486"/>
                  </a:lnTo>
                  <a:lnTo>
                    <a:pt x="557" y="476"/>
                  </a:lnTo>
                  <a:lnTo>
                    <a:pt x="577" y="476"/>
                  </a:lnTo>
                  <a:lnTo>
                    <a:pt x="577" y="465"/>
                  </a:lnTo>
                  <a:lnTo>
                    <a:pt x="557" y="465"/>
                  </a:lnTo>
                  <a:lnTo>
                    <a:pt x="557" y="455"/>
                  </a:lnTo>
                  <a:lnTo>
                    <a:pt x="577" y="455"/>
                  </a:lnTo>
                  <a:lnTo>
                    <a:pt x="577" y="444"/>
                  </a:lnTo>
                  <a:lnTo>
                    <a:pt x="557" y="444"/>
                  </a:lnTo>
                  <a:lnTo>
                    <a:pt x="557" y="435"/>
                  </a:lnTo>
                  <a:lnTo>
                    <a:pt x="577" y="435"/>
                  </a:lnTo>
                  <a:lnTo>
                    <a:pt x="577" y="424"/>
                  </a:lnTo>
                  <a:lnTo>
                    <a:pt x="557" y="424"/>
                  </a:lnTo>
                  <a:lnTo>
                    <a:pt x="557" y="414"/>
                  </a:lnTo>
                  <a:lnTo>
                    <a:pt x="577" y="414"/>
                  </a:lnTo>
                  <a:lnTo>
                    <a:pt x="577" y="405"/>
                  </a:lnTo>
                  <a:lnTo>
                    <a:pt x="557" y="405"/>
                  </a:lnTo>
                  <a:lnTo>
                    <a:pt x="557" y="395"/>
                  </a:lnTo>
                  <a:lnTo>
                    <a:pt x="577" y="395"/>
                  </a:lnTo>
                  <a:lnTo>
                    <a:pt x="577" y="384"/>
                  </a:lnTo>
                  <a:lnTo>
                    <a:pt x="557" y="384"/>
                  </a:lnTo>
                  <a:lnTo>
                    <a:pt x="557" y="375"/>
                  </a:lnTo>
                  <a:lnTo>
                    <a:pt x="577" y="375"/>
                  </a:lnTo>
                  <a:lnTo>
                    <a:pt x="577" y="364"/>
                  </a:lnTo>
                  <a:lnTo>
                    <a:pt x="557" y="364"/>
                  </a:lnTo>
                  <a:lnTo>
                    <a:pt x="557" y="354"/>
                  </a:lnTo>
                  <a:lnTo>
                    <a:pt x="577" y="354"/>
                  </a:lnTo>
                  <a:lnTo>
                    <a:pt x="577" y="343"/>
                  </a:lnTo>
                  <a:lnTo>
                    <a:pt x="557" y="343"/>
                  </a:lnTo>
                  <a:lnTo>
                    <a:pt x="557" y="333"/>
                  </a:lnTo>
                  <a:lnTo>
                    <a:pt x="577" y="333"/>
                  </a:lnTo>
                  <a:lnTo>
                    <a:pt x="577" y="324"/>
                  </a:lnTo>
                  <a:lnTo>
                    <a:pt x="557" y="324"/>
                  </a:lnTo>
                  <a:lnTo>
                    <a:pt x="557" y="314"/>
                  </a:lnTo>
                  <a:lnTo>
                    <a:pt x="577" y="314"/>
                  </a:lnTo>
                  <a:lnTo>
                    <a:pt x="577" y="303"/>
                  </a:lnTo>
                  <a:lnTo>
                    <a:pt x="557" y="303"/>
                  </a:lnTo>
                  <a:lnTo>
                    <a:pt x="557" y="294"/>
                  </a:lnTo>
                  <a:lnTo>
                    <a:pt x="577" y="294"/>
                  </a:lnTo>
                  <a:lnTo>
                    <a:pt x="577" y="283"/>
                  </a:lnTo>
                  <a:lnTo>
                    <a:pt x="557" y="283"/>
                  </a:lnTo>
                  <a:lnTo>
                    <a:pt x="557" y="273"/>
                  </a:lnTo>
                  <a:lnTo>
                    <a:pt x="577" y="273"/>
                  </a:lnTo>
                  <a:lnTo>
                    <a:pt x="577" y="262"/>
                  </a:lnTo>
                  <a:lnTo>
                    <a:pt x="557" y="262"/>
                  </a:lnTo>
                  <a:lnTo>
                    <a:pt x="557" y="253"/>
                  </a:lnTo>
                  <a:lnTo>
                    <a:pt x="577" y="253"/>
                  </a:lnTo>
                  <a:lnTo>
                    <a:pt x="577" y="243"/>
                  </a:lnTo>
                  <a:lnTo>
                    <a:pt x="557" y="243"/>
                  </a:lnTo>
                  <a:lnTo>
                    <a:pt x="557" y="233"/>
                  </a:lnTo>
                  <a:lnTo>
                    <a:pt x="577" y="233"/>
                  </a:lnTo>
                  <a:lnTo>
                    <a:pt x="577" y="222"/>
                  </a:lnTo>
                  <a:lnTo>
                    <a:pt x="557" y="222"/>
                  </a:lnTo>
                  <a:lnTo>
                    <a:pt x="557" y="213"/>
                  </a:lnTo>
                  <a:lnTo>
                    <a:pt x="577" y="213"/>
                  </a:lnTo>
                  <a:lnTo>
                    <a:pt x="577" y="202"/>
                  </a:lnTo>
                  <a:lnTo>
                    <a:pt x="557" y="202"/>
                  </a:lnTo>
                  <a:lnTo>
                    <a:pt x="557" y="192"/>
                  </a:lnTo>
                  <a:lnTo>
                    <a:pt x="577" y="192"/>
                  </a:lnTo>
                  <a:lnTo>
                    <a:pt x="577" y="181"/>
                  </a:lnTo>
                  <a:lnTo>
                    <a:pt x="557" y="181"/>
                  </a:lnTo>
                  <a:lnTo>
                    <a:pt x="557" y="172"/>
                  </a:lnTo>
                  <a:lnTo>
                    <a:pt x="577" y="172"/>
                  </a:lnTo>
                  <a:lnTo>
                    <a:pt x="577" y="162"/>
                  </a:lnTo>
                  <a:lnTo>
                    <a:pt x="557" y="162"/>
                  </a:lnTo>
                  <a:lnTo>
                    <a:pt x="557" y="152"/>
                  </a:lnTo>
                  <a:lnTo>
                    <a:pt x="577" y="152"/>
                  </a:lnTo>
                  <a:lnTo>
                    <a:pt x="577" y="142"/>
                  </a:lnTo>
                  <a:lnTo>
                    <a:pt x="557" y="142"/>
                  </a:lnTo>
                  <a:lnTo>
                    <a:pt x="557" y="132"/>
                  </a:lnTo>
                  <a:lnTo>
                    <a:pt x="577" y="132"/>
                  </a:lnTo>
                  <a:lnTo>
                    <a:pt x="577" y="121"/>
                  </a:lnTo>
                  <a:lnTo>
                    <a:pt x="557" y="121"/>
                  </a:lnTo>
                  <a:lnTo>
                    <a:pt x="557" y="111"/>
                  </a:lnTo>
                  <a:lnTo>
                    <a:pt x="577" y="111"/>
                  </a:lnTo>
                  <a:lnTo>
                    <a:pt x="577" y="100"/>
                  </a:lnTo>
                  <a:lnTo>
                    <a:pt x="557" y="100"/>
                  </a:lnTo>
                  <a:lnTo>
                    <a:pt x="557" y="91"/>
                  </a:lnTo>
                  <a:lnTo>
                    <a:pt x="577" y="91"/>
                  </a:lnTo>
                  <a:lnTo>
                    <a:pt x="577" y="81"/>
                  </a:lnTo>
                  <a:lnTo>
                    <a:pt x="557" y="81"/>
                  </a:lnTo>
                  <a:lnTo>
                    <a:pt x="557" y="72"/>
                  </a:lnTo>
                  <a:lnTo>
                    <a:pt x="577" y="72"/>
                  </a:lnTo>
                  <a:lnTo>
                    <a:pt x="577" y="61"/>
                  </a:lnTo>
                  <a:lnTo>
                    <a:pt x="557" y="61"/>
                  </a:lnTo>
                  <a:lnTo>
                    <a:pt x="557" y="51"/>
                  </a:lnTo>
                  <a:lnTo>
                    <a:pt x="577" y="51"/>
                  </a:lnTo>
                  <a:lnTo>
                    <a:pt x="577" y="40"/>
                  </a:lnTo>
                  <a:lnTo>
                    <a:pt x="557" y="40"/>
                  </a:lnTo>
                  <a:lnTo>
                    <a:pt x="557" y="30"/>
                  </a:lnTo>
                  <a:lnTo>
                    <a:pt x="577" y="30"/>
                  </a:lnTo>
                  <a:close/>
                  <a:moveTo>
                    <a:pt x="536" y="30"/>
                  </a:moveTo>
                  <a:lnTo>
                    <a:pt x="546" y="30"/>
                  </a:lnTo>
                  <a:lnTo>
                    <a:pt x="546" y="40"/>
                  </a:lnTo>
                  <a:lnTo>
                    <a:pt x="536" y="40"/>
                  </a:lnTo>
                  <a:lnTo>
                    <a:pt x="536" y="30"/>
                  </a:lnTo>
                  <a:close/>
                  <a:moveTo>
                    <a:pt x="536" y="51"/>
                  </a:moveTo>
                  <a:lnTo>
                    <a:pt x="546" y="51"/>
                  </a:lnTo>
                  <a:lnTo>
                    <a:pt x="546" y="61"/>
                  </a:lnTo>
                  <a:lnTo>
                    <a:pt x="536" y="61"/>
                  </a:lnTo>
                  <a:lnTo>
                    <a:pt x="536" y="51"/>
                  </a:lnTo>
                  <a:close/>
                  <a:moveTo>
                    <a:pt x="536" y="72"/>
                  </a:moveTo>
                  <a:lnTo>
                    <a:pt x="546" y="72"/>
                  </a:lnTo>
                  <a:lnTo>
                    <a:pt x="546" y="81"/>
                  </a:lnTo>
                  <a:lnTo>
                    <a:pt x="536" y="81"/>
                  </a:lnTo>
                  <a:lnTo>
                    <a:pt x="536" y="72"/>
                  </a:lnTo>
                  <a:close/>
                  <a:moveTo>
                    <a:pt x="536" y="91"/>
                  </a:moveTo>
                  <a:lnTo>
                    <a:pt x="546" y="91"/>
                  </a:lnTo>
                  <a:lnTo>
                    <a:pt x="546" y="100"/>
                  </a:lnTo>
                  <a:lnTo>
                    <a:pt x="536" y="100"/>
                  </a:lnTo>
                  <a:lnTo>
                    <a:pt x="536" y="91"/>
                  </a:lnTo>
                  <a:close/>
                  <a:moveTo>
                    <a:pt x="536" y="111"/>
                  </a:moveTo>
                  <a:lnTo>
                    <a:pt x="546" y="111"/>
                  </a:lnTo>
                  <a:lnTo>
                    <a:pt x="546" y="121"/>
                  </a:lnTo>
                  <a:lnTo>
                    <a:pt x="536" y="121"/>
                  </a:lnTo>
                  <a:lnTo>
                    <a:pt x="536" y="111"/>
                  </a:lnTo>
                  <a:close/>
                  <a:moveTo>
                    <a:pt x="536" y="132"/>
                  </a:moveTo>
                  <a:lnTo>
                    <a:pt x="546" y="132"/>
                  </a:lnTo>
                  <a:lnTo>
                    <a:pt x="546" y="142"/>
                  </a:lnTo>
                  <a:lnTo>
                    <a:pt x="536" y="142"/>
                  </a:lnTo>
                  <a:lnTo>
                    <a:pt x="536" y="132"/>
                  </a:lnTo>
                  <a:close/>
                  <a:moveTo>
                    <a:pt x="536" y="152"/>
                  </a:moveTo>
                  <a:lnTo>
                    <a:pt x="546" y="152"/>
                  </a:lnTo>
                  <a:lnTo>
                    <a:pt x="546" y="162"/>
                  </a:lnTo>
                  <a:lnTo>
                    <a:pt x="536" y="162"/>
                  </a:lnTo>
                  <a:lnTo>
                    <a:pt x="536" y="152"/>
                  </a:lnTo>
                  <a:close/>
                  <a:moveTo>
                    <a:pt x="536" y="172"/>
                  </a:moveTo>
                  <a:lnTo>
                    <a:pt x="546" y="172"/>
                  </a:lnTo>
                  <a:lnTo>
                    <a:pt x="546" y="181"/>
                  </a:lnTo>
                  <a:lnTo>
                    <a:pt x="536" y="181"/>
                  </a:lnTo>
                  <a:lnTo>
                    <a:pt x="536" y="172"/>
                  </a:lnTo>
                  <a:close/>
                  <a:moveTo>
                    <a:pt x="536" y="192"/>
                  </a:moveTo>
                  <a:lnTo>
                    <a:pt x="546" y="192"/>
                  </a:lnTo>
                  <a:lnTo>
                    <a:pt x="546" y="202"/>
                  </a:lnTo>
                  <a:lnTo>
                    <a:pt x="536" y="202"/>
                  </a:lnTo>
                  <a:lnTo>
                    <a:pt x="536" y="192"/>
                  </a:lnTo>
                  <a:close/>
                  <a:moveTo>
                    <a:pt x="536" y="213"/>
                  </a:moveTo>
                  <a:lnTo>
                    <a:pt x="546" y="213"/>
                  </a:lnTo>
                  <a:lnTo>
                    <a:pt x="546" y="222"/>
                  </a:lnTo>
                  <a:lnTo>
                    <a:pt x="536" y="222"/>
                  </a:lnTo>
                  <a:lnTo>
                    <a:pt x="536" y="213"/>
                  </a:lnTo>
                  <a:close/>
                  <a:moveTo>
                    <a:pt x="536" y="233"/>
                  </a:moveTo>
                  <a:lnTo>
                    <a:pt x="546" y="233"/>
                  </a:lnTo>
                  <a:lnTo>
                    <a:pt x="546" y="243"/>
                  </a:lnTo>
                  <a:lnTo>
                    <a:pt x="536" y="243"/>
                  </a:lnTo>
                  <a:lnTo>
                    <a:pt x="536" y="233"/>
                  </a:lnTo>
                  <a:close/>
                  <a:moveTo>
                    <a:pt x="536" y="253"/>
                  </a:moveTo>
                  <a:lnTo>
                    <a:pt x="546" y="253"/>
                  </a:lnTo>
                  <a:lnTo>
                    <a:pt x="546" y="262"/>
                  </a:lnTo>
                  <a:lnTo>
                    <a:pt x="536" y="262"/>
                  </a:lnTo>
                  <a:lnTo>
                    <a:pt x="536" y="253"/>
                  </a:lnTo>
                  <a:close/>
                  <a:moveTo>
                    <a:pt x="536" y="273"/>
                  </a:moveTo>
                  <a:lnTo>
                    <a:pt x="546" y="273"/>
                  </a:lnTo>
                  <a:lnTo>
                    <a:pt x="546" y="283"/>
                  </a:lnTo>
                  <a:lnTo>
                    <a:pt x="536" y="283"/>
                  </a:lnTo>
                  <a:lnTo>
                    <a:pt x="536" y="273"/>
                  </a:lnTo>
                  <a:close/>
                  <a:moveTo>
                    <a:pt x="536" y="294"/>
                  </a:moveTo>
                  <a:lnTo>
                    <a:pt x="546" y="294"/>
                  </a:lnTo>
                  <a:lnTo>
                    <a:pt x="546" y="303"/>
                  </a:lnTo>
                  <a:lnTo>
                    <a:pt x="536" y="303"/>
                  </a:lnTo>
                  <a:lnTo>
                    <a:pt x="536" y="294"/>
                  </a:lnTo>
                  <a:close/>
                  <a:moveTo>
                    <a:pt x="536" y="314"/>
                  </a:moveTo>
                  <a:lnTo>
                    <a:pt x="546" y="314"/>
                  </a:lnTo>
                  <a:lnTo>
                    <a:pt x="546" y="324"/>
                  </a:lnTo>
                  <a:lnTo>
                    <a:pt x="536" y="324"/>
                  </a:lnTo>
                  <a:lnTo>
                    <a:pt x="536" y="314"/>
                  </a:lnTo>
                  <a:close/>
                  <a:moveTo>
                    <a:pt x="536" y="333"/>
                  </a:moveTo>
                  <a:lnTo>
                    <a:pt x="546" y="333"/>
                  </a:lnTo>
                  <a:lnTo>
                    <a:pt x="546" y="343"/>
                  </a:lnTo>
                  <a:lnTo>
                    <a:pt x="536" y="343"/>
                  </a:lnTo>
                  <a:lnTo>
                    <a:pt x="536" y="333"/>
                  </a:lnTo>
                  <a:close/>
                  <a:moveTo>
                    <a:pt x="536" y="354"/>
                  </a:moveTo>
                  <a:lnTo>
                    <a:pt x="546" y="354"/>
                  </a:lnTo>
                  <a:lnTo>
                    <a:pt x="546" y="364"/>
                  </a:lnTo>
                  <a:lnTo>
                    <a:pt x="536" y="364"/>
                  </a:lnTo>
                  <a:lnTo>
                    <a:pt x="536" y="354"/>
                  </a:lnTo>
                  <a:close/>
                  <a:moveTo>
                    <a:pt x="536" y="375"/>
                  </a:moveTo>
                  <a:lnTo>
                    <a:pt x="546" y="375"/>
                  </a:lnTo>
                  <a:lnTo>
                    <a:pt x="546" y="384"/>
                  </a:lnTo>
                  <a:lnTo>
                    <a:pt x="536" y="384"/>
                  </a:lnTo>
                  <a:lnTo>
                    <a:pt x="536" y="375"/>
                  </a:lnTo>
                  <a:close/>
                  <a:moveTo>
                    <a:pt x="536" y="395"/>
                  </a:moveTo>
                  <a:lnTo>
                    <a:pt x="546" y="395"/>
                  </a:lnTo>
                  <a:lnTo>
                    <a:pt x="546" y="405"/>
                  </a:lnTo>
                  <a:lnTo>
                    <a:pt x="536" y="405"/>
                  </a:lnTo>
                  <a:lnTo>
                    <a:pt x="536" y="395"/>
                  </a:lnTo>
                  <a:close/>
                  <a:moveTo>
                    <a:pt x="536" y="414"/>
                  </a:moveTo>
                  <a:lnTo>
                    <a:pt x="546" y="414"/>
                  </a:lnTo>
                  <a:lnTo>
                    <a:pt x="546" y="424"/>
                  </a:lnTo>
                  <a:lnTo>
                    <a:pt x="536" y="424"/>
                  </a:lnTo>
                  <a:lnTo>
                    <a:pt x="536" y="414"/>
                  </a:lnTo>
                  <a:close/>
                  <a:moveTo>
                    <a:pt x="536" y="435"/>
                  </a:moveTo>
                  <a:lnTo>
                    <a:pt x="546" y="435"/>
                  </a:lnTo>
                  <a:lnTo>
                    <a:pt x="546" y="444"/>
                  </a:lnTo>
                  <a:lnTo>
                    <a:pt x="536" y="444"/>
                  </a:lnTo>
                  <a:lnTo>
                    <a:pt x="536" y="435"/>
                  </a:lnTo>
                  <a:close/>
                  <a:moveTo>
                    <a:pt x="517" y="30"/>
                  </a:moveTo>
                  <a:lnTo>
                    <a:pt x="527" y="30"/>
                  </a:lnTo>
                  <a:lnTo>
                    <a:pt x="527" y="40"/>
                  </a:lnTo>
                  <a:lnTo>
                    <a:pt x="517" y="40"/>
                  </a:lnTo>
                  <a:lnTo>
                    <a:pt x="517" y="30"/>
                  </a:lnTo>
                  <a:close/>
                  <a:moveTo>
                    <a:pt x="517" y="51"/>
                  </a:moveTo>
                  <a:lnTo>
                    <a:pt x="527" y="51"/>
                  </a:lnTo>
                  <a:lnTo>
                    <a:pt x="527" y="61"/>
                  </a:lnTo>
                  <a:lnTo>
                    <a:pt x="517" y="61"/>
                  </a:lnTo>
                  <a:lnTo>
                    <a:pt x="517" y="51"/>
                  </a:lnTo>
                  <a:close/>
                  <a:moveTo>
                    <a:pt x="517" y="72"/>
                  </a:moveTo>
                  <a:lnTo>
                    <a:pt x="527" y="72"/>
                  </a:lnTo>
                  <a:lnTo>
                    <a:pt x="527" y="81"/>
                  </a:lnTo>
                  <a:lnTo>
                    <a:pt x="517" y="81"/>
                  </a:lnTo>
                  <a:lnTo>
                    <a:pt x="517" y="72"/>
                  </a:lnTo>
                  <a:close/>
                  <a:moveTo>
                    <a:pt x="517" y="91"/>
                  </a:moveTo>
                  <a:lnTo>
                    <a:pt x="527" y="91"/>
                  </a:lnTo>
                  <a:lnTo>
                    <a:pt x="527" y="100"/>
                  </a:lnTo>
                  <a:lnTo>
                    <a:pt x="517" y="100"/>
                  </a:lnTo>
                  <a:lnTo>
                    <a:pt x="517" y="91"/>
                  </a:lnTo>
                  <a:close/>
                  <a:moveTo>
                    <a:pt x="517" y="111"/>
                  </a:moveTo>
                  <a:lnTo>
                    <a:pt x="527" y="111"/>
                  </a:lnTo>
                  <a:lnTo>
                    <a:pt x="527" y="121"/>
                  </a:lnTo>
                  <a:lnTo>
                    <a:pt x="517" y="121"/>
                  </a:lnTo>
                  <a:lnTo>
                    <a:pt x="517" y="111"/>
                  </a:lnTo>
                  <a:close/>
                  <a:moveTo>
                    <a:pt x="517" y="132"/>
                  </a:moveTo>
                  <a:lnTo>
                    <a:pt x="527" y="132"/>
                  </a:lnTo>
                  <a:lnTo>
                    <a:pt x="527" y="142"/>
                  </a:lnTo>
                  <a:lnTo>
                    <a:pt x="517" y="142"/>
                  </a:lnTo>
                  <a:lnTo>
                    <a:pt x="517" y="132"/>
                  </a:lnTo>
                  <a:close/>
                  <a:moveTo>
                    <a:pt x="517" y="152"/>
                  </a:moveTo>
                  <a:lnTo>
                    <a:pt x="527" y="152"/>
                  </a:lnTo>
                  <a:lnTo>
                    <a:pt x="527" y="162"/>
                  </a:lnTo>
                  <a:lnTo>
                    <a:pt x="517" y="162"/>
                  </a:lnTo>
                  <a:lnTo>
                    <a:pt x="517" y="152"/>
                  </a:lnTo>
                  <a:close/>
                  <a:moveTo>
                    <a:pt x="517" y="172"/>
                  </a:moveTo>
                  <a:lnTo>
                    <a:pt x="527" y="172"/>
                  </a:lnTo>
                  <a:lnTo>
                    <a:pt x="527" y="181"/>
                  </a:lnTo>
                  <a:lnTo>
                    <a:pt x="517" y="181"/>
                  </a:lnTo>
                  <a:lnTo>
                    <a:pt x="517" y="172"/>
                  </a:lnTo>
                  <a:close/>
                  <a:moveTo>
                    <a:pt x="517" y="192"/>
                  </a:moveTo>
                  <a:lnTo>
                    <a:pt x="527" y="192"/>
                  </a:lnTo>
                  <a:lnTo>
                    <a:pt x="527" y="202"/>
                  </a:lnTo>
                  <a:lnTo>
                    <a:pt x="517" y="202"/>
                  </a:lnTo>
                  <a:lnTo>
                    <a:pt x="517" y="192"/>
                  </a:lnTo>
                  <a:close/>
                  <a:moveTo>
                    <a:pt x="517" y="213"/>
                  </a:moveTo>
                  <a:lnTo>
                    <a:pt x="527" y="213"/>
                  </a:lnTo>
                  <a:lnTo>
                    <a:pt x="527" y="222"/>
                  </a:lnTo>
                  <a:lnTo>
                    <a:pt x="517" y="222"/>
                  </a:lnTo>
                  <a:lnTo>
                    <a:pt x="517" y="213"/>
                  </a:lnTo>
                  <a:close/>
                  <a:moveTo>
                    <a:pt x="517" y="233"/>
                  </a:moveTo>
                  <a:lnTo>
                    <a:pt x="527" y="233"/>
                  </a:lnTo>
                  <a:lnTo>
                    <a:pt x="527" y="243"/>
                  </a:lnTo>
                  <a:lnTo>
                    <a:pt x="517" y="243"/>
                  </a:lnTo>
                  <a:lnTo>
                    <a:pt x="517" y="233"/>
                  </a:lnTo>
                  <a:close/>
                  <a:moveTo>
                    <a:pt x="517" y="253"/>
                  </a:moveTo>
                  <a:lnTo>
                    <a:pt x="527" y="253"/>
                  </a:lnTo>
                  <a:lnTo>
                    <a:pt x="527" y="262"/>
                  </a:lnTo>
                  <a:lnTo>
                    <a:pt x="517" y="262"/>
                  </a:lnTo>
                  <a:lnTo>
                    <a:pt x="517" y="253"/>
                  </a:lnTo>
                  <a:close/>
                  <a:moveTo>
                    <a:pt x="517" y="273"/>
                  </a:moveTo>
                  <a:lnTo>
                    <a:pt x="527" y="273"/>
                  </a:lnTo>
                  <a:lnTo>
                    <a:pt x="527" y="283"/>
                  </a:lnTo>
                  <a:lnTo>
                    <a:pt x="517" y="283"/>
                  </a:lnTo>
                  <a:lnTo>
                    <a:pt x="517" y="273"/>
                  </a:lnTo>
                  <a:close/>
                  <a:moveTo>
                    <a:pt x="517" y="294"/>
                  </a:moveTo>
                  <a:lnTo>
                    <a:pt x="527" y="294"/>
                  </a:lnTo>
                  <a:lnTo>
                    <a:pt x="527" y="303"/>
                  </a:lnTo>
                  <a:lnTo>
                    <a:pt x="517" y="303"/>
                  </a:lnTo>
                  <a:lnTo>
                    <a:pt x="517" y="294"/>
                  </a:lnTo>
                  <a:close/>
                  <a:moveTo>
                    <a:pt x="517" y="314"/>
                  </a:moveTo>
                  <a:lnTo>
                    <a:pt x="527" y="314"/>
                  </a:lnTo>
                  <a:lnTo>
                    <a:pt x="527" y="324"/>
                  </a:lnTo>
                  <a:lnTo>
                    <a:pt x="517" y="324"/>
                  </a:lnTo>
                  <a:lnTo>
                    <a:pt x="517" y="314"/>
                  </a:lnTo>
                  <a:close/>
                  <a:moveTo>
                    <a:pt x="517" y="333"/>
                  </a:moveTo>
                  <a:lnTo>
                    <a:pt x="527" y="333"/>
                  </a:lnTo>
                  <a:lnTo>
                    <a:pt x="527" y="343"/>
                  </a:lnTo>
                  <a:lnTo>
                    <a:pt x="517" y="343"/>
                  </a:lnTo>
                  <a:lnTo>
                    <a:pt x="517" y="333"/>
                  </a:lnTo>
                  <a:close/>
                  <a:moveTo>
                    <a:pt x="517" y="354"/>
                  </a:moveTo>
                  <a:lnTo>
                    <a:pt x="527" y="354"/>
                  </a:lnTo>
                  <a:lnTo>
                    <a:pt x="527" y="364"/>
                  </a:lnTo>
                  <a:lnTo>
                    <a:pt x="517" y="364"/>
                  </a:lnTo>
                  <a:lnTo>
                    <a:pt x="517" y="354"/>
                  </a:lnTo>
                  <a:close/>
                  <a:moveTo>
                    <a:pt x="517" y="375"/>
                  </a:moveTo>
                  <a:lnTo>
                    <a:pt x="527" y="375"/>
                  </a:lnTo>
                  <a:lnTo>
                    <a:pt x="527" y="384"/>
                  </a:lnTo>
                  <a:lnTo>
                    <a:pt x="517" y="384"/>
                  </a:lnTo>
                  <a:lnTo>
                    <a:pt x="517" y="375"/>
                  </a:lnTo>
                  <a:close/>
                  <a:moveTo>
                    <a:pt x="517" y="395"/>
                  </a:moveTo>
                  <a:lnTo>
                    <a:pt x="527" y="395"/>
                  </a:lnTo>
                  <a:lnTo>
                    <a:pt x="527" y="405"/>
                  </a:lnTo>
                  <a:lnTo>
                    <a:pt x="517" y="405"/>
                  </a:lnTo>
                  <a:lnTo>
                    <a:pt x="517" y="395"/>
                  </a:lnTo>
                  <a:close/>
                  <a:moveTo>
                    <a:pt x="517" y="414"/>
                  </a:moveTo>
                  <a:lnTo>
                    <a:pt x="527" y="414"/>
                  </a:lnTo>
                  <a:lnTo>
                    <a:pt x="527" y="424"/>
                  </a:lnTo>
                  <a:lnTo>
                    <a:pt x="517" y="424"/>
                  </a:lnTo>
                  <a:lnTo>
                    <a:pt x="517" y="414"/>
                  </a:lnTo>
                  <a:close/>
                  <a:moveTo>
                    <a:pt x="517" y="435"/>
                  </a:moveTo>
                  <a:lnTo>
                    <a:pt x="527" y="435"/>
                  </a:lnTo>
                  <a:lnTo>
                    <a:pt x="527" y="444"/>
                  </a:lnTo>
                  <a:lnTo>
                    <a:pt x="517" y="444"/>
                  </a:lnTo>
                  <a:lnTo>
                    <a:pt x="517" y="435"/>
                  </a:lnTo>
                  <a:close/>
                  <a:moveTo>
                    <a:pt x="527" y="455"/>
                  </a:moveTo>
                  <a:lnTo>
                    <a:pt x="527" y="465"/>
                  </a:lnTo>
                  <a:lnTo>
                    <a:pt x="517" y="465"/>
                  </a:lnTo>
                  <a:lnTo>
                    <a:pt x="517" y="455"/>
                  </a:lnTo>
                  <a:lnTo>
                    <a:pt x="527" y="455"/>
                  </a:lnTo>
                  <a:close/>
                  <a:moveTo>
                    <a:pt x="92" y="495"/>
                  </a:moveTo>
                  <a:lnTo>
                    <a:pt x="101" y="495"/>
                  </a:lnTo>
                  <a:lnTo>
                    <a:pt x="101" y="505"/>
                  </a:lnTo>
                  <a:lnTo>
                    <a:pt x="92" y="505"/>
                  </a:lnTo>
                  <a:lnTo>
                    <a:pt x="92" y="495"/>
                  </a:lnTo>
                  <a:close/>
                  <a:moveTo>
                    <a:pt x="81" y="505"/>
                  </a:moveTo>
                  <a:lnTo>
                    <a:pt x="71" y="505"/>
                  </a:lnTo>
                  <a:lnTo>
                    <a:pt x="71" y="495"/>
                  </a:lnTo>
                  <a:lnTo>
                    <a:pt x="81" y="495"/>
                  </a:lnTo>
                  <a:lnTo>
                    <a:pt x="81" y="505"/>
                  </a:lnTo>
                  <a:close/>
                  <a:moveTo>
                    <a:pt x="112" y="495"/>
                  </a:moveTo>
                  <a:lnTo>
                    <a:pt x="122" y="495"/>
                  </a:lnTo>
                  <a:lnTo>
                    <a:pt x="122" y="505"/>
                  </a:lnTo>
                  <a:lnTo>
                    <a:pt x="112" y="505"/>
                  </a:lnTo>
                  <a:lnTo>
                    <a:pt x="112" y="495"/>
                  </a:lnTo>
                  <a:close/>
                  <a:moveTo>
                    <a:pt x="132" y="495"/>
                  </a:moveTo>
                  <a:lnTo>
                    <a:pt x="141" y="495"/>
                  </a:lnTo>
                  <a:lnTo>
                    <a:pt x="141" y="505"/>
                  </a:lnTo>
                  <a:lnTo>
                    <a:pt x="132" y="505"/>
                  </a:lnTo>
                  <a:lnTo>
                    <a:pt x="132" y="495"/>
                  </a:lnTo>
                  <a:close/>
                  <a:moveTo>
                    <a:pt x="152" y="495"/>
                  </a:moveTo>
                  <a:lnTo>
                    <a:pt x="162" y="495"/>
                  </a:lnTo>
                  <a:lnTo>
                    <a:pt x="162" y="505"/>
                  </a:lnTo>
                  <a:lnTo>
                    <a:pt x="152" y="505"/>
                  </a:lnTo>
                  <a:lnTo>
                    <a:pt x="152" y="495"/>
                  </a:lnTo>
                  <a:close/>
                  <a:moveTo>
                    <a:pt x="173" y="495"/>
                  </a:moveTo>
                  <a:lnTo>
                    <a:pt x="182" y="495"/>
                  </a:lnTo>
                  <a:lnTo>
                    <a:pt x="182" y="505"/>
                  </a:lnTo>
                  <a:lnTo>
                    <a:pt x="173" y="505"/>
                  </a:lnTo>
                  <a:lnTo>
                    <a:pt x="173" y="495"/>
                  </a:lnTo>
                  <a:close/>
                  <a:moveTo>
                    <a:pt x="193" y="495"/>
                  </a:moveTo>
                  <a:lnTo>
                    <a:pt x="203" y="495"/>
                  </a:lnTo>
                  <a:lnTo>
                    <a:pt x="203" y="505"/>
                  </a:lnTo>
                  <a:lnTo>
                    <a:pt x="193" y="505"/>
                  </a:lnTo>
                  <a:lnTo>
                    <a:pt x="193" y="495"/>
                  </a:lnTo>
                  <a:close/>
                  <a:moveTo>
                    <a:pt x="213" y="495"/>
                  </a:moveTo>
                  <a:lnTo>
                    <a:pt x="222" y="495"/>
                  </a:lnTo>
                  <a:lnTo>
                    <a:pt x="222" y="505"/>
                  </a:lnTo>
                  <a:lnTo>
                    <a:pt x="213" y="505"/>
                  </a:lnTo>
                  <a:lnTo>
                    <a:pt x="213" y="495"/>
                  </a:lnTo>
                  <a:close/>
                  <a:moveTo>
                    <a:pt x="233" y="495"/>
                  </a:moveTo>
                  <a:lnTo>
                    <a:pt x="243" y="495"/>
                  </a:lnTo>
                  <a:lnTo>
                    <a:pt x="243" y="505"/>
                  </a:lnTo>
                  <a:lnTo>
                    <a:pt x="233" y="505"/>
                  </a:lnTo>
                  <a:lnTo>
                    <a:pt x="233" y="495"/>
                  </a:lnTo>
                  <a:close/>
                  <a:moveTo>
                    <a:pt x="254" y="495"/>
                  </a:moveTo>
                  <a:lnTo>
                    <a:pt x="263" y="495"/>
                  </a:lnTo>
                  <a:lnTo>
                    <a:pt x="263" y="505"/>
                  </a:lnTo>
                  <a:lnTo>
                    <a:pt x="254" y="505"/>
                  </a:lnTo>
                  <a:lnTo>
                    <a:pt x="254" y="495"/>
                  </a:lnTo>
                  <a:close/>
                  <a:moveTo>
                    <a:pt x="274" y="495"/>
                  </a:moveTo>
                  <a:lnTo>
                    <a:pt x="284" y="495"/>
                  </a:lnTo>
                  <a:lnTo>
                    <a:pt x="284" y="505"/>
                  </a:lnTo>
                  <a:lnTo>
                    <a:pt x="274" y="505"/>
                  </a:lnTo>
                  <a:lnTo>
                    <a:pt x="274" y="495"/>
                  </a:lnTo>
                  <a:close/>
                  <a:moveTo>
                    <a:pt x="293" y="495"/>
                  </a:moveTo>
                  <a:lnTo>
                    <a:pt x="303" y="495"/>
                  </a:lnTo>
                  <a:lnTo>
                    <a:pt x="303" y="505"/>
                  </a:lnTo>
                  <a:lnTo>
                    <a:pt x="293" y="505"/>
                  </a:lnTo>
                  <a:lnTo>
                    <a:pt x="293" y="495"/>
                  </a:lnTo>
                  <a:close/>
                  <a:moveTo>
                    <a:pt x="314" y="495"/>
                  </a:moveTo>
                  <a:lnTo>
                    <a:pt x="324" y="495"/>
                  </a:lnTo>
                  <a:lnTo>
                    <a:pt x="324" y="505"/>
                  </a:lnTo>
                  <a:lnTo>
                    <a:pt x="314" y="505"/>
                  </a:lnTo>
                  <a:lnTo>
                    <a:pt x="314" y="495"/>
                  </a:lnTo>
                  <a:close/>
                  <a:moveTo>
                    <a:pt x="335" y="495"/>
                  </a:moveTo>
                  <a:lnTo>
                    <a:pt x="344" y="495"/>
                  </a:lnTo>
                  <a:lnTo>
                    <a:pt x="344" y="505"/>
                  </a:lnTo>
                  <a:lnTo>
                    <a:pt x="335" y="505"/>
                  </a:lnTo>
                  <a:lnTo>
                    <a:pt x="335" y="495"/>
                  </a:lnTo>
                  <a:close/>
                  <a:moveTo>
                    <a:pt x="355" y="495"/>
                  </a:moveTo>
                  <a:lnTo>
                    <a:pt x="365" y="495"/>
                  </a:lnTo>
                  <a:lnTo>
                    <a:pt x="365" y="505"/>
                  </a:lnTo>
                  <a:lnTo>
                    <a:pt x="355" y="505"/>
                  </a:lnTo>
                  <a:lnTo>
                    <a:pt x="355" y="495"/>
                  </a:lnTo>
                  <a:close/>
                  <a:moveTo>
                    <a:pt x="374" y="495"/>
                  </a:moveTo>
                  <a:lnTo>
                    <a:pt x="384" y="495"/>
                  </a:lnTo>
                  <a:lnTo>
                    <a:pt x="384" y="505"/>
                  </a:lnTo>
                  <a:lnTo>
                    <a:pt x="374" y="505"/>
                  </a:lnTo>
                  <a:lnTo>
                    <a:pt x="374" y="495"/>
                  </a:lnTo>
                  <a:close/>
                  <a:moveTo>
                    <a:pt x="395" y="495"/>
                  </a:moveTo>
                  <a:lnTo>
                    <a:pt x="405" y="495"/>
                  </a:lnTo>
                  <a:lnTo>
                    <a:pt x="405" y="505"/>
                  </a:lnTo>
                  <a:lnTo>
                    <a:pt x="395" y="505"/>
                  </a:lnTo>
                  <a:lnTo>
                    <a:pt x="395" y="495"/>
                  </a:lnTo>
                  <a:close/>
                  <a:moveTo>
                    <a:pt x="416" y="495"/>
                  </a:moveTo>
                  <a:lnTo>
                    <a:pt x="425" y="495"/>
                  </a:lnTo>
                  <a:lnTo>
                    <a:pt x="425" y="505"/>
                  </a:lnTo>
                  <a:lnTo>
                    <a:pt x="416" y="505"/>
                  </a:lnTo>
                  <a:lnTo>
                    <a:pt x="416" y="495"/>
                  </a:lnTo>
                  <a:close/>
                  <a:moveTo>
                    <a:pt x="436" y="495"/>
                  </a:moveTo>
                  <a:lnTo>
                    <a:pt x="446" y="495"/>
                  </a:lnTo>
                  <a:lnTo>
                    <a:pt x="446" y="505"/>
                  </a:lnTo>
                  <a:lnTo>
                    <a:pt x="436" y="505"/>
                  </a:lnTo>
                  <a:lnTo>
                    <a:pt x="436" y="495"/>
                  </a:lnTo>
                  <a:close/>
                  <a:moveTo>
                    <a:pt x="455" y="495"/>
                  </a:moveTo>
                  <a:lnTo>
                    <a:pt x="465" y="495"/>
                  </a:lnTo>
                  <a:lnTo>
                    <a:pt x="465" y="505"/>
                  </a:lnTo>
                  <a:lnTo>
                    <a:pt x="455" y="505"/>
                  </a:lnTo>
                  <a:lnTo>
                    <a:pt x="455" y="495"/>
                  </a:lnTo>
                  <a:close/>
                  <a:moveTo>
                    <a:pt x="476" y="495"/>
                  </a:moveTo>
                  <a:lnTo>
                    <a:pt x="486" y="495"/>
                  </a:lnTo>
                  <a:lnTo>
                    <a:pt x="486" y="505"/>
                  </a:lnTo>
                  <a:lnTo>
                    <a:pt x="476" y="505"/>
                  </a:lnTo>
                  <a:lnTo>
                    <a:pt x="476" y="495"/>
                  </a:lnTo>
                  <a:close/>
                  <a:moveTo>
                    <a:pt x="496" y="495"/>
                  </a:moveTo>
                  <a:lnTo>
                    <a:pt x="506" y="495"/>
                  </a:lnTo>
                  <a:lnTo>
                    <a:pt x="506" y="505"/>
                  </a:lnTo>
                  <a:lnTo>
                    <a:pt x="496" y="505"/>
                  </a:lnTo>
                  <a:lnTo>
                    <a:pt x="496" y="495"/>
                  </a:lnTo>
                  <a:close/>
                  <a:moveTo>
                    <a:pt x="496" y="486"/>
                  </a:moveTo>
                  <a:lnTo>
                    <a:pt x="496" y="476"/>
                  </a:lnTo>
                  <a:lnTo>
                    <a:pt x="506" y="476"/>
                  </a:lnTo>
                  <a:lnTo>
                    <a:pt x="506" y="486"/>
                  </a:lnTo>
                  <a:lnTo>
                    <a:pt x="496" y="486"/>
                  </a:lnTo>
                  <a:close/>
                  <a:moveTo>
                    <a:pt x="486" y="486"/>
                  </a:moveTo>
                  <a:lnTo>
                    <a:pt x="476" y="486"/>
                  </a:lnTo>
                  <a:lnTo>
                    <a:pt x="476" y="476"/>
                  </a:lnTo>
                  <a:lnTo>
                    <a:pt x="486" y="476"/>
                  </a:lnTo>
                  <a:lnTo>
                    <a:pt x="486" y="486"/>
                  </a:lnTo>
                  <a:close/>
                  <a:moveTo>
                    <a:pt x="465" y="486"/>
                  </a:moveTo>
                  <a:lnTo>
                    <a:pt x="455" y="486"/>
                  </a:lnTo>
                  <a:lnTo>
                    <a:pt x="455" y="476"/>
                  </a:lnTo>
                  <a:lnTo>
                    <a:pt x="465" y="476"/>
                  </a:lnTo>
                  <a:lnTo>
                    <a:pt x="465" y="486"/>
                  </a:lnTo>
                  <a:close/>
                  <a:moveTo>
                    <a:pt x="446" y="486"/>
                  </a:moveTo>
                  <a:lnTo>
                    <a:pt x="436" y="486"/>
                  </a:lnTo>
                  <a:lnTo>
                    <a:pt x="436" y="476"/>
                  </a:lnTo>
                  <a:lnTo>
                    <a:pt x="446" y="476"/>
                  </a:lnTo>
                  <a:lnTo>
                    <a:pt x="446" y="486"/>
                  </a:lnTo>
                  <a:close/>
                  <a:moveTo>
                    <a:pt x="425" y="486"/>
                  </a:moveTo>
                  <a:lnTo>
                    <a:pt x="416" y="486"/>
                  </a:lnTo>
                  <a:lnTo>
                    <a:pt x="416" y="476"/>
                  </a:lnTo>
                  <a:lnTo>
                    <a:pt x="425" y="476"/>
                  </a:lnTo>
                  <a:lnTo>
                    <a:pt x="425" y="486"/>
                  </a:lnTo>
                  <a:close/>
                  <a:moveTo>
                    <a:pt x="405" y="486"/>
                  </a:moveTo>
                  <a:lnTo>
                    <a:pt x="395" y="486"/>
                  </a:lnTo>
                  <a:lnTo>
                    <a:pt x="395" y="476"/>
                  </a:lnTo>
                  <a:lnTo>
                    <a:pt x="405" y="476"/>
                  </a:lnTo>
                  <a:lnTo>
                    <a:pt x="405" y="486"/>
                  </a:lnTo>
                  <a:close/>
                  <a:moveTo>
                    <a:pt x="384" y="486"/>
                  </a:moveTo>
                  <a:lnTo>
                    <a:pt x="374" y="486"/>
                  </a:lnTo>
                  <a:lnTo>
                    <a:pt x="374" y="476"/>
                  </a:lnTo>
                  <a:lnTo>
                    <a:pt x="384" y="476"/>
                  </a:lnTo>
                  <a:lnTo>
                    <a:pt x="384" y="486"/>
                  </a:lnTo>
                  <a:close/>
                  <a:moveTo>
                    <a:pt x="365" y="486"/>
                  </a:moveTo>
                  <a:lnTo>
                    <a:pt x="355" y="486"/>
                  </a:lnTo>
                  <a:lnTo>
                    <a:pt x="355" y="476"/>
                  </a:lnTo>
                  <a:lnTo>
                    <a:pt x="365" y="476"/>
                  </a:lnTo>
                  <a:lnTo>
                    <a:pt x="365" y="486"/>
                  </a:lnTo>
                  <a:close/>
                  <a:moveTo>
                    <a:pt x="344" y="486"/>
                  </a:moveTo>
                  <a:lnTo>
                    <a:pt x="335" y="486"/>
                  </a:lnTo>
                  <a:lnTo>
                    <a:pt x="335" y="476"/>
                  </a:lnTo>
                  <a:lnTo>
                    <a:pt x="344" y="476"/>
                  </a:lnTo>
                  <a:lnTo>
                    <a:pt x="344" y="486"/>
                  </a:lnTo>
                  <a:close/>
                  <a:moveTo>
                    <a:pt x="324" y="486"/>
                  </a:moveTo>
                  <a:lnTo>
                    <a:pt x="314" y="486"/>
                  </a:lnTo>
                  <a:lnTo>
                    <a:pt x="314" y="476"/>
                  </a:lnTo>
                  <a:lnTo>
                    <a:pt x="324" y="476"/>
                  </a:lnTo>
                  <a:lnTo>
                    <a:pt x="324" y="486"/>
                  </a:lnTo>
                  <a:close/>
                  <a:moveTo>
                    <a:pt x="303" y="486"/>
                  </a:moveTo>
                  <a:lnTo>
                    <a:pt x="293" y="486"/>
                  </a:lnTo>
                  <a:lnTo>
                    <a:pt x="293" y="476"/>
                  </a:lnTo>
                  <a:lnTo>
                    <a:pt x="303" y="476"/>
                  </a:lnTo>
                  <a:lnTo>
                    <a:pt x="303" y="486"/>
                  </a:lnTo>
                  <a:close/>
                  <a:moveTo>
                    <a:pt x="284" y="486"/>
                  </a:moveTo>
                  <a:lnTo>
                    <a:pt x="274" y="486"/>
                  </a:lnTo>
                  <a:lnTo>
                    <a:pt x="274" y="476"/>
                  </a:lnTo>
                  <a:lnTo>
                    <a:pt x="284" y="476"/>
                  </a:lnTo>
                  <a:lnTo>
                    <a:pt x="284" y="486"/>
                  </a:lnTo>
                  <a:close/>
                  <a:moveTo>
                    <a:pt x="263" y="486"/>
                  </a:moveTo>
                  <a:lnTo>
                    <a:pt x="254" y="486"/>
                  </a:lnTo>
                  <a:lnTo>
                    <a:pt x="254" y="476"/>
                  </a:lnTo>
                  <a:lnTo>
                    <a:pt x="263" y="476"/>
                  </a:lnTo>
                  <a:lnTo>
                    <a:pt x="263" y="486"/>
                  </a:lnTo>
                  <a:close/>
                  <a:moveTo>
                    <a:pt x="243" y="486"/>
                  </a:moveTo>
                  <a:lnTo>
                    <a:pt x="233" y="486"/>
                  </a:lnTo>
                  <a:lnTo>
                    <a:pt x="233" y="476"/>
                  </a:lnTo>
                  <a:lnTo>
                    <a:pt x="243" y="476"/>
                  </a:lnTo>
                  <a:lnTo>
                    <a:pt x="243" y="486"/>
                  </a:lnTo>
                  <a:close/>
                  <a:moveTo>
                    <a:pt x="222" y="486"/>
                  </a:moveTo>
                  <a:lnTo>
                    <a:pt x="213" y="486"/>
                  </a:lnTo>
                  <a:lnTo>
                    <a:pt x="213" y="476"/>
                  </a:lnTo>
                  <a:lnTo>
                    <a:pt x="222" y="476"/>
                  </a:lnTo>
                  <a:lnTo>
                    <a:pt x="222" y="486"/>
                  </a:lnTo>
                  <a:close/>
                  <a:moveTo>
                    <a:pt x="203" y="486"/>
                  </a:moveTo>
                  <a:lnTo>
                    <a:pt x="193" y="486"/>
                  </a:lnTo>
                  <a:lnTo>
                    <a:pt x="193" y="476"/>
                  </a:lnTo>
                  <a:lnTo>
                    <a:pt x="203" y="476"/>
                  </a:lnTo>
                  <a:lnTo>
                    <a:pt x="203" y="486"/>
                  </a:lnTo>
                  <a:close/>
                  <a:moveTo>
                    <a:pt x="182" y="486"/>
                  </a:moveTo>
                  <a:lnTo>
                    <a:pt x="173" y="486"/>
                  </a:lnTo>
                  <a:lnTo>
                    <a:pt x="173" y="476"/>
                  </a:lnTo>
                  <a:lnTo>
                    <a:pt x="182" y="476"/>
                  </a:lnTo>
                  <a:lnTo>
                    <a:pt x="182" y="486"/>
                  </a:lnTo>
                  <a:close/>
                  <a:moveTo>
                    <a:pt x="162" y="486"/>
                  </a:moveTo>
                  <a:lnTo>
                    <a:pt x="152" y="486"/>
                  </a:lnTo>
                  <a:lnTo>
                    <a:pt x="152" y="476"/>
                  </a:lnTo>
                  <a:lnTo>
                    <a:pt x="162" y="476"/>
                  </a:lnTo>
                  <a:lnTo>
                    <a:pt x="162" y="486"/>
                  </a:lnTo>
                  <a:close/>
                  <a:moveTo>
                    <a:pt x="141" y="486"/>
                  </a:moveTo>
                  <a:lnTo>
                    <a:pt x="132" y="486"/>
                  </a:lnTo>
                  <a:lnTo>
                    <a:pt x="132" y="476"/>
                  </a:lnTo>
                  <a:lnTo>
                    <a:pt x="141" y="476"/>
                  </a:lnTo>
                  <a:lnTo>
                    <a:pt x="141" y="486"/>
                  </a:lnTo>
                  <a:close/>
                  <a:moveTo>
                    <a:pt x="122" y="486"/>
                  </a:moveTo>
                  <a:lnTo>
                    <a:pt x="112" y="486"/>
                  </a:lnTo>
                  <a:lnTo>
                    <a:pt x="112" y="476"/>
                  </a:lnTo>
                  <a:lnTo>
                    <a:pt x="122" y="476"/>
                  </a:lnTo>
                  <a:lnTo>
                    <a:pt x="122" y="486"/>
                  </a:lnTo>
                  <a:close/>
                  <a:moveTo>
                    <a:pt x="101" y="486"/>
                  </a:moveTo>
                  <a:lnTo>
                    <a:pt x="92" y="486"/>
                  </a:lnTo>
                  <a:lnTo>
                    <a:pt x="92" y="476"/>
                  </a:lnTo>
                  <a:lnTo>
                    <a:pt x="101" y="476"/>
                  </a:lnTo>
                  <a:lnTo>
                    <a:pt x="101" y="486"/>
                  </a:lnTo>
                  <a:close/>
                  <a:moveTo>
                    <a:pt x="81" y="486"/>
                  </a:moveTo>
                  <a:lnTo>
                    <a:pt x="71" y="486"/>
                  </a:lnTo>
                  <a:lnTo>
                    <a:pt x="71" y="476"/>
                  </a:lnTo>
                  <a:lnTo>
                    <a:pt x="81" y="476"/>
                  </a:lnTo>
                  <a:lnTo>
                    <a:pt x="81" y="486"/>
                  </a:lnTo>
                  <a:close/>
                  <a:moveTo>
                    <a:pt x="60" y="486"/>
                  </a:moveTo>
                  <a:lnTo>
                    <a:pt x="51" y="486"/>
                  </a:lnTo>
                  <a:lnTo>
                    <a:pt x="51" y="476"/>
                  </a:lnTo>
                  <a:lnTo>
                    <a:pt x="60" y="476"/>
                  </a:lnTo>
                  <a:lnTo>
                    <a:pt x="60" y="486"/>
                  </a:lnTo>
                  <a:close/>
                  <a:moveTo>
                    <a:pt x="60" y="495"/>
                  </a:moveTo>
                  <a:lnTo>
                    <a:pt x="60" y="505"/>
                  </a:lnTo>
                  <a:lnTo>
                    <a:pt x="51" y="505"/>
                  </a:lnTo>
                  <a:lnTo>
                    <a:pt x="51" y="495"/>
                  </a:lnTo>
                  <a:lnTo>
                    <a:pt x="60" y="495"/>
                  </a:lnTo>
                  <a:close/>
                  <a:moveTo>
                    <a:pt x="60" y="516"/>
                  </a:moveTo>
                  <a:lnTo>
                    <a:pt x="60" y="525"/>
                  </a:lnTo>
                  <a:lnTo>
                    <a:pt x="51" y="525"/>
                  </a:lnTo>
                  <a:lnTo>
                    <a:pt x="51" y="516"/>
                  </a:lnTo>
                  <a:lnTo>
                    <a:pt x="60" y="516"/>
                  </a:lnTo>
                  <a:close/>
                  <a:moveTo>
                    <a:pt x="71" y="516"/>
                  </a:moveTo>
                  <a:lnTo>
                    <a:pt x="81" y="516"/>
                  </a:lnTo>
                  <a:lnTo>
                    <a:pt x="81" y="525"/>
                  </a:lnTo>
                  <a:lnTo>
                    <a:pt x="71" y="525"/>
                  </a:lnTo>
                  <a:lnTo>
                    <a:pt x="71" y="516"/>
                  </a:lnTo>
                  <a:close/>
                  <a:moveTo>
                    <a:pt x="92" y="516"/>
                  </a:moveTo>
                  <a:lnTo>
                    <a:pt x="101" y="516"/>
                  </a:lnTo>
                  <a:lnTo>
                    <a:pt x="101" y="525"/>
                  </a:lnTo>
                  <a:lnTo>
                    <a:pt x="92" y="525"/>
                  </a:lnTo>
                  <a:lnTo>
                    <a:pt x="92" y="516"/>
                  </a:lnTo>
                  <a:close/>
                  <a:moveTo>
                    <a:pt x="112" y="516"/>
                  </a:moveTo>
                  <a:lnTo>
                    <a:pt x="122" y="516"/>
                  </a:lnTo>
                  <a:lnTo>
                    <a:pt x="122" y="525"/>
                  </a:lnTo>
                  <a:lnTo>
                    <a:pt x="112" y="525"/>
                  </a:lnTo>
                  <a:lnTo>
                    <a:pt x="112" y="516"/>
                  </a:lnTo>
                  <a:close/>
                  <a:moveTo>
                    <a:pt x="132" y="516"/>
                  </a:moveTo>
                  <a:lnTo>
                    <a:pt x="141" y="516"/>
                  </a:lnTo>
                  <a:lnTo>
                    <a:pt x="141" y="525"/>
                  </a:lnTo>
                  <a:lnTo>
                    <a:pt x="132" y="525"/>
                  </a:lnTo>
                  <a:lnTo>
                    <a:pt x="132" y="516"/>
                  </a:lnTo>
                  <a:close/>
                  <a:moveTo>
                    <a:pt x="152" y="516"/>
                  </a:moveTo>
                  <a:lnTo>
                    <a:pt x="162" y="516"/>
                  </a:lnTo>
                  <a:lnTo>
                    <a:pt x="162" y="525"/>
                  </a:lnTo>
                  <a:lnTo>
                    <a:pt x="152" y="525"/>
                  </a:lnTo>
                  <a:lnTo>
                    <a:pt x="152" y="516"/>
                  </a:lnTo>
                  <a:close/>
                  <a:moveTo>
                    <a:pt x="173" y="516"/>
                  </a:moveTo>
                  <a:lnTo>
                    <a:pt x="182" y="516"/>
                  </a:lnTo>
                  <a:lnTo>
                    <a:pt x="182" y="525"/>
                  </a:lnTo>
                  <a:lnTo>
                    <a:pt x="173" y="525"/>
                  </a:lnTo>
                  <a:lnTo>
                    <a:pt x="173" y="516"/>
                  </a:lnTo>
                  <a:close/>
                  <a:moveTo>
                    <a:pt x="193" y="516"/>
                  </a:moveTo>
                  <a:lnTo>
                    <a:pt x="203" y="516"/>
                  </a:lnTo>
                  <a:lnTo>
                    <a:pt x="203" y="525"/>
                  </a:lnTo>
                  <a:lnTo>
                    <a:pt x="193" y="525"/>
                  </a:lnTo>
                  <a:lnTo>
                    <a:pt x="193" y="516"/>
                  </a:lnTo>
                  <a:close/>
                  <a:moveTo>
                    <a:pt x="213" y="516"/>
                  </a:moveTo>
                  <a:lnTo>
                    <a:pt x="222" y="516"/>
                  </a:lnTo>
                  <a:lnTo>
                    <a:pt x="222" y="525"/>
                  </a:lnTo>
                  <a:lnTo>
                    <a:pt x="213" y="525"/>
                  </a:lnTo>
                  <a:lnTo>
                    <a:pt x="213" y="516"/>
                  </a:lnTo>
                  <a:close/>
                  <a:moveTo>
                    <a:pt x="233" y="516"/>
                  </a:moveTo>
                  <a:lnTo>
                    <a:pt x="243" y="516"/>
                  </a:lnTo>
                  <a:lnTo>
                    <a:pt x="243" y="525"/>
                  </a:lnTo>
                  <a:lnTo>
                    <a:pt x="233" y="525"/>
                  </a:lnTo>
                  <a:lnTo>
                    <a:pt x="233" y="516"/>
                  </a:lnTo>
                  <a:close/>
                  <a:moveTo>
                    <a:pt x="254" y="516"/>
                  </a:moveTo>
                  <a:lnTo>
                    <a:pt x="263" y="516"/>
                  </a:lnTo>
                  <a:lnTo>
                    <a:pt x="263" y="525"/>
                  </a:lnTo>
                  <a:lnTo>
                    <a:pt x="254" y="525"/>
                  </a:lnTo>
                  <a:lnTo>
                    <a:pt x="254" y="516"/>
                  </a:lnTo>
                  <a:close/>
                  <a:moveTo>
                    <a:pt x="274" y="516"/>
                  </a:moveTo>
                  <a:lnTo>
                    <a:pt x="284" y="516"/>
                  </a:lnTo>
                  <a:lnTo>
                    <a:pt x="284" y="525"/>
                  </a:lnTo>
                  <a:lnTo>
                    <a:pt x="274" y="525"/>
                  </a:lnTo>
                  <a:lnTo>
                    <a:pt x="274" y="516"/>
                  </a:lnTo>
                  <a:close/>
                  <a:moveTo>
                    <a:pt x="293" y="516"/>
                  </a:moveTo>
                  <a:lnTo>
                    <a:pt x="303" y="516"/>
                  </a:lnTo>
                  <a:lnTo>
                    <a:pt x="303" y="525"/>
                  </a:lnTo>
                  <a:lnTo>
                    <a:pt x="293" y="525"/>
                  </a:lnTo>
                  <a:lnTo>
                    <a:pt x="293" y="516"/>
                  </a:lnTo>
                  <a:close/>
                  <a:moveTo>
                    <a:pt x="314" y="516"/>
                  </a:moveTo>
                  <a:lnTo>
                    <a:pt x="324" y="516"/>
                  </a:lnTo>
                  <a:lnTo>
                    <a:pt x="324" y="525"/>
                  </a:lnTo>
                  <a:lnTo>
                    <a:pt x="314" y="525"/>
                  </a:lnTo>
                  <a:lnTo>
                    <a:pt x="314" y="516"/>
                  </a:lnTo>
                  <a:close/>
                  <a:moveTo>
                    <a:pt x="335" y="516"/>
                  </a:moveTo>
                  <a:lnTo>
                    <a:pt x="344" y="516"/>
                  </a:lnTo>
                  <a:lnTo>
                    <a:pt x="344" y="525"/>
                  </a:lnTo>
                  <a:lnTo>
                    <a:pt x="335" y="525"/>
                  </a:lnTo>
                  <a:lnTo>
                    <a:pt x="335" y="516"/>
                  </a:lnTo>
                  <a:close/>
                  <a:moveTo>
                    <a:pt x="355" y="516"/>
                  </a:moveTo>
                  <a:lnTo>
                    <a:pt x="365" y="516"/>
                  </a:lnTo>
                  <a:lnTo>
                    <a:pt x="365" y="525"/>
                  </a:lnTo>
                  <a:lnTo>
                    <a:pt x="355" y="525"/>
                  </a:lnTo>
                  <a:lnTo>
                    <a:pt x="355" y="516"/>
                  </a:lnTo>
                  <a:close/>
                  <a:moveTo>
                    <a:pt x="374" y="516"/>
                  </a:moveTo>
                  <a:lnTo>
                    <a:pt x="384" y="516"/>
                  </a:lnTo>
                  <a:lnTo>
                    <a:pt x="384" y="525"/>
                  </a:lnTo>
                  <a:lnTo>
                    <a:pt x="374" y="525"/>
                  </a:lnTo>
                  <a:lnTo>
                    <a:pt x="374" y="516"/>
                  </a:lnTo>
                  <a:close/>
                  <a:moveTo>
                    <a:pt x="395" y="516"/>
                  </a:moveTo>
                  <a:lnTo>
                    <a:pt x="405" y="516"/>
                  </a:lnTo>
                  <a:lnTo>
                    <a:pt x="405" y="525"/>
                  </a:lnTo>
                  <a:lnTo>
                    <a:pt x="395" y="525"/>
                  </a:lnTo>
                  <a:lnTo>
                    <a:pt x="395" y="516"/>
                  </a:lnTo>
                  <a:close/>
                  <a:moveTo>
                    <a:pt x="416" y="516"/>
                  </a:moveTo>
                  <a:lnTo>
                    <a:pt x="425" y="516"/>
                  </a:lnTo>
                  <a:lnTo>
                    <a:pt x="425" y="525"/>
                  </a:lnTo>
                  <a:lnTo>
                    <a:pt x="416" y="525"/>
                  </a:lnTo>
                  <a:lnTo>
                    <a:pt x="416" y="516"/>
                  </a:lnTo>
                  <a:close/>
                  <a:moveTo>
                    <a:pt x="436" y="516"/>
                  </a:moveTo>
                  <a:lnTo>
                    <a:pt x="446" y="516"/>
                  </a:lnTo>
                  <a:lnTo>
                    <a:pt x="446" y="525"/>
                  </a:lnTo>
                  <a:lnTo>
                    <a:pt x="436" y="525"/>
                  </a:lnTo>
                  <a:lnTo>
                    <a:pt x="436" y="516"/>
                  </a:lnTo>
                  <a:close/>
                  <a:moveTo>
                    <a:pt x="455" y="516"/>
                  </a:moveTo>
                  <a:lnTo>
                    <a:pt x="465" y="516"/>
                  </a:lnTo>
                  <a:lnTo>
                    <a:pt x="465" y="525"/>
                  </a:lnTo>
                  <a:lnTo>
                    <a:pt x="455" y="525"/>
                  </a:lnTo>
                  <a:lnTo>
                    <a:pt x="455" y="516"/>
                  </a:lnTo>
                  <a:close/>
                  <a:moveTo>
                    <a:pt x="476" y="516"/>
                  </a:moveTo>
                  <a:lnTo>
                    <a:pt x="486" y="516"/>
                  </a:lnTo>
                  <a:lnTo>
                    <a:pt x="486" y="525"/>
                  </a:lnTo>
                  <a:lnTo>
                    <a:pt x="476" y="525"/>
                  </a:lnTo>
                  <a:lnTo>
                    <a:pt x="476" y="516"/>
                  </a:lnTo>
                  <a:close/>
                  <a:moveTo>
                    <a:pt x="496" y="516"/>
                  </a:moveTo>
                  <a:lnTo>
                    <a:pt x="506" y="516"/>
                  </a:lnTo>
                  <a:lnTo>
                    <a:pt x="506" y="525"/>
                  </a:lnTo>
                  <a:lnTo>
                    <a:pt x="496" y="525"/>
                  </a:lnTo>
                  <a:lnTo>
                    <a:pt x="496" y="516"/>
                  </a:lnTo>
                  <a:close/>
                  <a:moveTo>
                    <a:pt x="517" y="516"/>
                  </a:moveTo>
                  <a:lnTo>
                    <a:pt x="527" y="516"/>
                  </a:lnTo>
                  <a:lnTo>
                    <a:pt x="527" y="525"/>
                  </a:lnTo>
                  <a:lnTo>
                    <a:pt x="517" y="525"/>
                  </a:lnTo>
                  <a:lnTo>
                    <a:pt x="517" y="516"/>
                  </a:lnTo>
                  <a:close/>
                  <a:moveTo>
                    <a:pt x="517" y="505"/>
                  </a:moveTo>
                  <a:lnTo>
                    <a:pt x="517" y="495"/>
                  </a:lnTo>
                  <a:lnTo>
                    <a:pt x="527" y="495"/>
                  </a:lnTo>
                  <a:lnTo>
                    <a:pt x="527" y="505"/>
                  </a:lnTo>
                  <a:lnTo>
                    <a:pt x="517" y="505"/>
                  </a:lnTo>
                  <a:close/>
                  <a:moveTo>
                    <a:pt x="517" y="486"/>
                  </a:moveTo>
                  <a:lnTo>
                    <a:pt x="517" y="476"/>
                  </a:lnTo>
                  <a:lnTo>
                    <a:pt x="527" y="476"/>
                  </a:lnTo>
                  <a:lnTo>
                    <a:pt x="527" y="486"/>
                  </a:lnTo>
                  <a:lnTo>
                    <a:pt x="517" y="486"/>
                  </a:lnTo>
                  <a:close/>
                  <a:moveTo>
                    <a:pt x="496" y="30"/>
                  </a:moveTo>
                  <a:lnTo>
                    <a:pt x="506" y="30"/>
                  </a:lnTo>
                  <a:lnTo>
                    <a:pt x="506" y="40"/>
                  </a:lnTo>
                  <a:lnTo>
                    <a:pt x="496" y="40"/>
                  </a:lnTo>
                  <a:lnTo>
                    <a:pt x="496" y="30"/>
                  </a:lnTo>
                  <a:close/>
                  <a:moveTo>
                    <a:pt x="496" y="51"/>
                  </a:moveTo>
                  <a:lnTo>
                    <a:pt x="506" y="51"/>
                  </a:lnTo>
                  <a:lnTo>
                    <a:pt x="506" y="61"/>
                  </a:lnTo>
                  <a:lnTo>
                    <a:pt x="496" y="61"/>
                  </a:lnTo>
                  <a:lnTo>
                    <a:pt x="496" y="51"/>
                  </a:lnTo>
                  <a:close/>
                  <a:moveTo>
                    <a:pt x="496" y="72"/>
                  </a:moveTo>
                  <a:lnTo>
                    <a:pt x="506" y="72"/>
                  </a:lnTo>
                  <a:lnTo>
                    <a:pt x="506" y="81"/>
                  </a:lnTo>
                  <a:lnTo>
                    <a:pt x="496" y="81"/>
                  </a:lnTo>
                  <a:lnTo>
                    <a:pt x="496" y="72"/>
                  </a:lnTo>
                  <a:close/>
                  <a:moveTo>
                    <a:pt x="496" y="91"/>
                  </a:moveTo>
                  <a:lnTo>
                    <a:pt x="506" y="91"/>
                  </a:lnTo>
                  <a:lnTo>
                    <a:pt x="506" y="100"/>
                  </a:lnTo>
                  <a:lnTo>
                    <a:pt x="496" y="100"/>
                  </a:lnTo>
                  <a:lnTo>
                    <a:pt x="496" y="91"/>
                  </a:lnTo>
                  <a:close/>
                  <a:moveTo>
                    <a:pt x="496" y="111"/>
                  </a:moveTo>
                  <a:lnTo>
                    <a:pt x="506" y="111"/>
                  </a:lnTo>
                  <a:lnTo>
                    <a:pt x="506" y="121"/>
                  </a:lnTo>
                  <a:lnTo>
                    <a:pt x="496" y="121"/>
                  </a:lnTo>
                  <a:lnTo>
                    <a:pt x="496" y="111"/>
                  </a:lnTo>
                  <a:close/>
                  <a:moveTo>
                    <a:pt x="496" y="132"/>
                  </a:moveTo>
                  <a:lnTo>
                    <a:pt x="506" y="132"/>
                  </a:lnTo>
                  <a:lnTo>
                    <a:pt x="506" y="142"/>
                  </a:lnTo>
                  <a:lnTo>
                    <a:pt x="496" y="142"/>
                  </a:lnTo>
                  <a:lnTo>
                    <a:pt x="496" y="132"/>
                  </a:lnTo>
                  <a:close/>
                  <a:moveTo>
                    <a:pt x="496" y="152"/>
                  </a:moveTo>
                  <a:lnTo>
                    <a:pt x="506" y="152"/>
                  </a:lnTo>
                  <a:lnTo>
                    <a:pt x="506" y="162"/>
                  </a:lnTo>
                  <a:lnTo>
                    <a:pt x="496" y="162"/>
                  </a:lnTo>
                  <a:lnTo>
                    <a:pt x="496" y="152"/>
                  </a:lnTo>
                  <a:close/>
                  <a:moveTo>
                    <a:pt x="496" y="172"/>
                  </a:moveTo>
                  <a:lnTo>
                    <a:pt x="506" y="172"/>
                  </a:lnTo>
                  <a:lnTo>
                    <a:pt x="506" y="181"/>
                  </a:lnTo>
                  <a:lnTo>
                    <a:pt x="496" y="181"/>
                  </a:lnTo>
                  <a:lnTo>
                    <a:pt x="496" y="172"/>
                  </a:lnTo>
                  <a:close/>
                  <a:moveTo>
                    <a:pt x="496" y="192"/>
                  </a:moveTo>
                  <a:lnTo>
                    <a:pt x="506" y="192"/>
                  </a:lnTo>
                  <a:lnTo>
                    <a:pt x="506" y="202"/>
                  </a:lnTo>
                  <a:lnTo>
                    <a:pt x="496" y="202"/>
                  </a:lnTo>
                  <a:lnTo>
                    <a:pt x="496" y="192"/>
                  </a:lnTo>
                  <a:close/>
                  <a:moveTo>
                    <a:pt x="496" y="213"/>
                  </a:moveTo>
                  <a:lnTo>
                    <a:pt x="506" y="213"/>
                  </a:lnTo>
                  <a:lnTo>
                    <a:pt x="506" y="222"/>
                  </a:lnTo>
                  <a:lnTo>
                    <a:pt x="496" y="222"/>
                  </a:lnTo>
                  <a:lnTo>
                    <a:pt x="496" y="213"/>
                  </a:lnTo>
                  <a:close/>
                  <a:moveTo>
                    <a:pt x="496" y="233"/>
                  </a:moveTo>
                  <a:lnTo>
                    <a:pt x="506" y="233"/>
                  </a:lnTo>
                  <a:lnTo>
                    <a:pt x="506" y="243"/>
                  </a:lnTo>
                  <a:lnTo>
                    <a:pt x="496" y="243"/>
                  </a:lnTo>
                  <a:lnTo>
                    <a:pt x="496" y="233"/>
                  </a:lnTo>
                  <a:close/>
                  <a:moveTo>
                    <a:pt x="496" y="253"/>
                  </a:moveTo>
                  <a:lnTo>
                    <a:pt x="506" y="253"/>
                  </a:lnTo>
                  <a:lnTo>
                    <a:pt x="506" y="262"/>
                  </a:lnTo>
                  <a:lnTo>
                    <a:pt x="496" y="262"/>
                  </a:lnTo>
                  <a:lnTo>
                    <a:pt x="496" y="253"/>
                  </a:lnTo>
                  <a:close/>
                  <a:moveTo>
                    <a:pt x="496" y="273"/>
                  </a:moveTo>
                  <a:lnTo>
                    <a:pt x="506" y="273"/>
                  </a:lnTo>
                  <a:lnTo>
                    <a:pt x="506" y="283"/>
                  </a:lnTo>
                  <a:lnTo>
                    <a:pt x="496" y="283"/>
                  </a:lnTo>
                  <a:lnTo>
                    <a:pt x="496" y="273"/>
                  </a:lnTo>
                  <a:close/>
                  <a:moveTo>
                    <a:pt x="496" y="294"/>
                  </a:moveTo>
                  <a:lnTo>
                    <a:pt x="506" y="294"/>
                  </a:lnTo>
                  <a:lnTo>
                    <a:pt x="506" y="303"/>
                  </a:lnTo>
                  <a:lnTo>
                    <a:pt x="496" y="303"/>
                  </a:lnTo>
                  <a:lnTo>
                    <a:pt x="496" y="294"/>
                  </a:lnTo>
                  <a:close/>
                  <a:moveTo>
                    <a:pt x="496" y="314"/>
                  </a:moveTo>
                  <a:lnTo>
                    <a:pt x="506" y="314"/>
                  </a:lnTo>
                  <a:lnTo>
                    <a:pt x="506" y="324"/>
                  </a:lnTo>
                  <a:lnTo>
                    <a:pt x="496" y="324"/>
                  </a:lnTo>
                  <a:lnTo>
                    <a:pt x="496" y="314"/>
                  </a:lnTo>
                  <a:close/>
                  <a:moveTo>
                    <a:pt x="496" y="333"/>
                  </a:moveTo>
                  <a:lnTo>
                    <a:pt x="506" y="333"/>
                  </a:lnTo>
                  <a:lnTo>
                    <a:pt x="506" y="343"/>
                  </a:lnTo>
                  <a:lnTo>
                    <a:pt x="496" y="343"/>
                  </a:lnTo>
                  <a:lnTo>
                    <a:pt x="496" y="333"/>
                  </a:lnTo>
                  <a:close/>
                  <a:moveTo>
                    <a:pt x="496" y="354"/>
                  </a:moveTo>
                  <a:lnTo>
                    <a:pt x="506" y="354"/>
                  </a:lnTo>
                  <a:lnTo>
                    <a:pt x="506" y="364"/>
                  </a:lnTo>
                  <a:lnTo>
                    <a:pt x="496" y="364"/>
                  </a:lnTo>
                  <a:lnTo>
                    <a:pt x="496" y="354"/>
                  </a:lnTo>
                  <a:close/>
                  <a:moveTo>
                    <a:pt x="496" y="375"/>
                  </a:moveTo>
                  <a:lnTo>
                    <a:pt x="506" y="375"/>
                  </a:lnTo>
                  <a:lnTo>
                    <a:pt x="506" y="384"/>
                  </a:lnTo>
                  <a:lnTo>
                    <a:pt x="496" y="384"/>
                  </a:lnTo>
                  <a:lnTo>
                    <a:pt x="496" y="375"/>
                  </a:lnTo>
                  <a:close/>
                  <a:moveTo>
                    <a:pt x="496" y="395"/>
                  </a:moveTo>
                  <a:lnTo>
                    <a:pt x="506" y="395"/>
                  </a:lnTo>
                  <a:lnTo>
                    <a:pt x="506" y="405"/>
                  </a:lnTo>
                  <a:lnTo>
                    <a:pt x="496" y="405"/>
                  </a:lnTo>
                  <a:lnTo>
                    <a:pt x="496" y="395"/>
                  </a:lnTo>
                  <a:close/>
                  <a:moveTo>
                    <a:pt x="496" y="414"/>
                  </a:moveTo>
                  <a:lnTo>
                    <a:pt x="506" y="414"/>
                  </a:lnTo>
                  <a:lnTo>
                    <a:pt x="506" y="424"/>
                  </a:lnTo>
                  <a:lnTo>
                    <a:pt x="496" y="424"/>
                  </a:lnTo>
                  <a:lnTo>
                    <a:pt x="496" y="414"/>
                  </a:lnTo>
                  <a:close/>
                  <a:moveTo>
                    <a:pt x="496" y="435"/>
                  </a:moveTo>
                  <a:lnTo>
                    <a:pt x="506" y="435"/>
                  </a:lnTo>
                  <a:lnTo>
                    <a:pt x="506" y="444"/>
                  </a:lnTo>
                  <a:lnTo>
                    <a:pt x="496" y="444"/>
                  </a:lnTo>
                  <a:lnTo>
                    <a:pt x="496" y="435"/>
                  </a:lnTo>
                  <a:close/>
                  <a:moveTo>
                    <a:pt x="506" y="455"/>
                  </a:moveTo>
                  <a:lnTo>
                    <a:pt x="506" y="465"/>
                  </a:lnTo>
                  <a:lnTo>
                    <a:pt x="496" y="465"/>
                  </a:lnTo>
                  <a:lnTo>
                    <a:pt x="496" y="455"/>
                  </a:lnTo>
                  <a:lnTo>
                    <a:pt x="506" y="455"/>
                  </a:lnTo>
                  <a:close/>
                  <a:moveTo>
                    <a:pt x="476" y="30"/>
                  </a:moveTo>
                  <a:lnTo>
                    <a:pt x="486" y="30"/>
                  </a:lnTo>
                  <a:lnTo>
                    <a:pt x="486" y="40"/>
                  </a:lnTo>
                  <a:lnTo>
                    <a:pt x="476" y="40"/>
                  </a:lnTo>
                  <a:lnTo>
                    <a:pt x="476" y="30"/>
                  </a:lnTo>
                  <a:close/>
                  <a:moveTo>
                    <a:pt x="476" y="51"/>
                  </a:moveTo>
                  <a:lnTo>
                    <a:pt x="486" y="51"/>
                  </a:lnTo>
                  <a:lnTo>
                    <a:pt x="486" y="61"/>
                  </a:lnTo>
                  <a:lnTo>
                    <a:pt x="476" y="61"/>
                  </a:lnTo>
                  <a:lnTo>
                    <a:pt x="476" y="51"/>
                  </a:lnTo>
                  <a:close/>
                  <a:moveTo>
                    <a:pt x="476" y="72"/>
                  </a:moveTo>
                  <a:lnTo>
                    <a:pt x="486" y="72"/>
                  </a:lnTo>
                  <a:lnTo>
                    <a:pt x="486" y="81"/>
                  </a:lnTo>
                  <a:lnTo>
                    <a:pt x="476" y="81"/>
                  </a:lnTo>
                  <a:lnTo>
                    <a:pt x="476" y="72"/>
                  </a:lnTo>
                  <a:close/>
                  <a:moveTo>
                    <a:pt x="476" y="91"/>
                  </a:moveTo>
                  <a:lnTo>
                    <a:pt x="486" y="91"/>
                  </a:lnTo>
                  <a:lnTo>
                    <a:pt x="486" y="100"/>
                  </a:lnTo>
                  <a:lnTo>
                    <a:pt x="476" y="100"/>
                  </a:lnTo>
                  <a:lnTo>
                    <a:pt x="476" y="91"/>
                  </a:lnTo>
                  <a:close/>
                  <a:moveTo>
                    <a:pt x="476" y="111"/>
                  </a:moveTo>
                  <a:lnTo>
                    <a:pt x="486" y="111"/>
                  </a:lnTo>
                  <a:lnTo>
                    <a:pt x="486" y="121"/>
                  </a:lnTo>
                  <a:lnTo>
                    <a:pt x="476" y="121"/>
                  </a:lnTo>
                  <a:lnTo>
                    <a:pt x="476" y="111"/>
                  </a:lnTo>
                  <a:close/>
                  <a:moveTo>
                    <a:pt x="476" y="132"/>
                  </a:moveTo>
                  <a:lnTo>
                    <a:pt x="486" y="132"/>
                  </a:lnTo>
                  <a:lnTo>
                    <a:pt x="486" y="142"/>
                  </a:lnTo>
                  <a:lnTo>
                    <a:pt x="476" y="142"/>
                  </a:lnTo>
                  <a:lnTo>
                    <a:pt x="476" y="132"/>
                  </a:lnTo>
                  <a:close/>
                  <a:moveTo>
                    <a:pt x="476" y="152"/>
                  </a:moveTo>
                  <a:lnTo>
                    <a:pt x="486" y="152"/>
                  </a:lnTo>
                  <a:lnTo>
                    <a:pt x="486" y="162"/>
                  </a:lnTo>
                  <a:lnTo>
                    <a:pt x="476" y="162"/>
                  </a:lnTo>
                  <a:lnTo>
                    <a:pt x="476" y="152"/>
                  </a:lnTo>
                  <a:close/>
                  <a:moveTo>
                    <a:pt x="476" y="172"/>
                  </a:moveTo>
                  <a:lnTo>
                    <a:pt x="486" y="172"/>
                  </a:lnTo>
                  <a:lnTo>
                    <a:pt x="486" y="181"/>
                  </a:lnTo>
                  <a:lnTo>
                    <a:pt x="476" y="181"/>
                  </a:lnTo>
                  <a:lnTo>
                    <a:pt x="476" y="172"/>
                  </a:lnTo>
                  <a:close/>
                  <a:moveTo>
                    <a:pt x="476" y="192"/>
                  </a:moveTo>
                  <a:lnTo>
                    <a:pt x="486" y="192"/>
                  </a:lnTo>
                  <a:lnTo>
                    <a:pt x="486" y="202"/>
                  </a:lnTo>
                  <a:lnTo>
                    <a:pt x="476" y="202"/>
                  </a:lnTo>
                  <a:lnTo>
                    <a:pt x="476" y="192"/>
                  </a:lnTo>
                  <a:close/>
                  <a:moveTo>
                    <a:pt x="476" y="213"/>
                  </a:moveTo>
                  <a:lnTo>
                    <a:pt x="486" y="213"/>
                  </a:lnTo>
                  <a:lnTo>
                    <a:pt x="486" y="222"/>
                  </a:lnTo>
                  <a:lnTo>
                    <a:pt x="476" y="222"/>
                  </a:lnTo>
                  <a:lnTo>
                    <a:pt x="476" y="213"/>
                  </a:lnTo>
                  <a:close/>
                  <a:moveTo>
                    <a:pt x="476" y="233"/>
                  </a:moveTo>
                  <a:lnTo>
                    <a:pt x="486" y="233"/>
                  </a:lnTo>
                  <a:lnTo>
                    <a:pt x="486" y="243"/>
                  </a:lnTo>
                  <a:lnTo>
                    <a:pt x="476" y="243"/>
                  </a:lnTo>
                  <a:lnTo>
                    <a:pt x="476" y="233"/>
                  </a:lnTo>
                  <a:close/>
                  <a:moveTo>
                    <a:pt x="476" y="253"/>
                  </a:moveTo>
                  <a:lnTo>
                    <a:pt x="486" y="253"/>
                  </a:lnTo>
                  <a:lnTo>
                    <a:pt x="486" y="262"/>
                  </a:lnTo>
                  <a:lnTo>
                    <a:pt x="476" y="262"/>
                  </a:lnTo>
                  <a:lnTo>
                    <a:pt x="476" y="253"/>
                  </a:lnTo>
                  <a:close/>
                  <a:moveTo>
                    <a:pt x="476" y="273"/>
                  </a:moveTo>
                  <a:lnTo>
                    <a:pt x="486" y="273"/>
                  </a:lnTo>
                  <a:lnTo>
                    <a:pt x="486" y="283"/>
                  </a:lnTo>
                  <a:lnTo>
                    <a:pt x="476" y="283"/>
                  </a:lnTo>
                  <a:lnTo>
                    <a:pt x="476" y="273"/>
                  </a:lnTo>
                  <a:close/>
                  <a:moveTo>
                    <a:pt x="476" y="294"/>
                  </a:moveTo>
                  <a:lnTo>
                    <a:pt x="486" y="294"/>
                  </a:lnTo>
                  <a:lnTo>
                    <a:pt x="486" y="303"/>
                  </a:lnTo>
                  <a:lnTo>
                    <a:pt x="476" y="303"/>
                  </a:lnTo>
                  <a:lnTo>
                    <a:pt x="476" y="294"/>
                  </a:lnTo>
                  <a:close/>
                  <a:moveTo>
                    <a:pt x="476" y="314"/>
                  </a:moveTo>
                  <a:lnTo>
                    <a:pt x="486" y="314"/>
                  </a:lnTo>
                  <a:lnTo>
                    <a:pt x="486" y="324"/>
                  </a:lnTo>
                  <a:lnTo>
                    <a:pt x="476" y="324"/>
                  </a:lnTo>
                  <a:lnTo>
                    <a:pt x="476" y="314"/>
                  </a:lnTo>
                  <a:close/>
                  <a:moveTo>
                    <a:pt x="476" y="333"/>
                  </a:moveTo>
                  <a:lnTo>
                    <a:pt x="486" y="333"/>
                  </a:lnTo>
                  <a:lnTo>
                    <a:pt x="486" y="343"/>
                  </a:lnTo>
                  <a:lnTo>
                    <a:pt x="476" y="343"/>
                  </a:lnTo>
                  <a:lnTo>
                    <a:pt x="476" y="333"/>
                  </a:lnTo>
                  <a:close/>
                  <a:moveTo>
                    <a:pt x="476" y="354"/>
                  </a:moveTo>
                  <a:lnTo>
                    <a:pt x="486" y="354"/>
                  </a:lnTo>
                  <a:lnTo>
                    <a:pt x="486" y="364"/>
                  </a:lnTo>
                  <a:lnTo>
                    <a:pt x="476" y="364"/>
                  </a:lnTo>
                  <a:lnTo>
                    <a:pt x="476" y="354"/>
                  </a:lnTo>
                  <a:close/>
                  <a:moveTo>
                    <a:pt x="476" y="375"/>
                  </a:moveTo>
                  <a:lnTo>
                    <a:pt x="486" y="375"/>
                  </a:lnTo>
                  <a:lnTo>
                    <a:pt x="486" y="384"/>
                  </a:lnTo>
                  <a:lnTo>
                    <a:pt x="476" y="384"/>
                  </a:lnTo>
                  <a:lnTo>
                    <a:pt x="476" y="375"/>
                  </a:lnTo>
                  <a:close/>
                  <a:moveTo>
                    <a:pt x="476" y="395"/>
                  </a:moveTo>
                  <a:lnTo>
                    <a:pt x="486" y="395"/>
                  </a:lnTo>
                  <a:lnTo>
                    <a:pt x="486" y="405"/>
                  </a:lnTo>
                  <a:lnTo>
                    <a:pt x="476" y="405"/>
                  </a:lnTo>
                  <a:lnTo>
                    <a:pt x="476" y="395"/>
                  </a:lnTo>
                  <a:close/>
                  <a:moveTo>
                    <a:pt x="476" y="414"/>
                  </a:moveTo>
                  <a:lnTo>
                    <a:pt x="486" y="414"/>
                  </a:lnTo>
                  <a:lnTo>
                    <a:pt x="486" y="424"/>
                  </a:lnTo>
                  <a:lnTo>
                    <a:pt x="476" y="424"/>
                  </a:lnTo>
                  <a:lnTo>
                    <a:pt x="476" y="414"/>
                  </a:lnTo>
                  <a:close/>
                  <a:moveTo>
                    <a:pt x="476" y="435"/>
                  </a:moveTo>
                  <a:lnTo>
                    <a:pt x="486" y="435"/>
                  </a:lnTo>
                  <a:lnTo>
                    <a:pt x="486" y="444"/>
                  </a:lnTo>
                  <a:lnTo>
                    <a:pt x="476" y="444"/>
                  </a:lnTo>
                  <a:lnTo>
                    <a:pt x="476" y="435"/>
                  </a:lnTo>
                  <a:close/>
                  <a:moveTo>
                    <a:pt x="486" y="455"/>
                  </a:moveTo>
                  <a:lnTo>
                    <a:pt x="486" y="465"/>
                  </a:lnTo>
                  <a:lnTo>
                    <a:pt x="476" y="465"/>
                  </a:lnTo>
                  <a:lnTo>
                    <a:pt x="476" y="455"/>
                  </a:lnTo>
                  <a:lnTo>
                    <a:pt x="486" y="455"/>
                  </a:lnTo>
                  <a:close/>
                  <a:moveTo>
                    <a:pt x="455" y="30"/>
                  </a:moveTo>
                  <a:lnTo>
                    <a:pt x="465" y="30"/>
                  </a:lnTo>
                  <a:lnTo>
                    <a:pt x="465" y="40"/>
                  </a:lnTo>
                  <a:lnTo>
                    <a:pt x="455" y="40"/>
                  </a:lnTo>
                  <a:lnTo>
                    <a:pt x="455" y="30"/>
                  </a:lnTo>
                  <a:close/>
                  <a:moveTo>
                    <a:pt x="455" y="51"/>
                  </a:moveTo>
                  <a:lnTo>
                    <a:pt x="465" y="51"/>
                  </a:lnTo>
                  <a:lnTo>
                    <a:pt x="465" y="61"/>
                  </a:lnTo>
                  <a:lnTo>
                    <a:pt x="455" y="61"/>
                  </a:lnTo>
                  <a:lnTo>
                    <a:pt x="455" y="51"/>
                  </a:lnTo>
                  <a:close/>
                  <a:moveTo>
                    <a:pt x="455" y="72"/>
                  </a:moveTo>
                  <a:lnTo>
                    <a:pt x="465" y="72"/>
                  </a:lnTo>
                  <a:lnTo>
                    <a:pt x="465" y="81"/>
                  </a:lnTo>
                  <a:lnTo>
                    <a:pt x="455" y="81"/>
                  </a:lnTo>
                  <a:lnTo>
                    <a:pt x="455" y="72"/>
                  </a:lnTo>
                  <a:close/>
                  <a:moveTo>
                    <a:pt x="455" y="91"/>
                  </a:moveTo>
                  <a:lnTo>
                    <a:pt x="465" y="91"/>
                  </a:lnTo>
                  <a:lnTo>
                    <a:pt x="465" y="100"/>
                  </a:lnTo>
                  <a:lnTo>
                    <a:pt x="455" y="100"/>
                  </a:lnTo>
                  <a:lnTo>
                    <a:pt x="455" y="91"/>
                  </a:lnTo>
                  <a:close/>
                  <a:moveTo>
                    <a:pt x="455" y="111"/>
                  </a:moveTo>
                  <a:lnTo>
                    <a:pt x="465" y="111"/>
                  </a:lnTo>
                  <a:lnTo>
                    <a:pt x="465" y="121"/>
                  </a:lnTo>
                  <a:lnTo>
                    <a:pt x="455" y="121"/>
                  </a:lnTo>
                  <a:lnTo>
                    <a:pt x="455" y="111"/>
                  </a:lnTo>
                  <a:close/>
                  <a:moveTo>
                    <a:pt x="455" y="132"/>
                  </a:moveTo>
                  <a:lnTo>
                    <a:pt x="465" y="132"/>
                  </a:lnTo>
                  <a:lnTo>
                    <a:pt x="465" y="142"/>
                  </a:lnTo>
                  <a:lnTo>
                    <a:pt x="455" y="142"/>
                  </a:lnTo>
                  <a:lnTo>
                    <a:pt x="455" y="132"/>
                  </a:lnTo>
                  <a:close/>
                  <a:moveTo>
                    <a:pt x="455" y="152"/>
                  </a:moveTo>
                  <a:lnTo>
                    <a:pt x="465" y="152"/>
                  </a:lnTo>
                  <a:lnTo>
                    <a:pt x="465" y="162"/>
                  </a:lnTo>
                  <a:lnTo>
                    <a:pt x="455" y="162"/>
                  </a:lnTo>
                  <a:lnTo>
                    <a:pt x="455" y="152"/>
                  </a:lnTo>
                  <a:close/>
                  <a:moveTo>
                    <a:pt x="455" y="172"/>
                  </a:moveTo>
                  <a:lnTo>
                    <a:pt x="465" y="172"/>
                  </a:lnTo>
                  <a:lnTo>
                    <a:pt x="465" y="181"/>
                  </a:lnTo>
                  <a:lnTo>
                    <a:pt x="455" y="181"/>
                  </a:lnTo>
                  <a:lnTo>
                    <a:pt x="455" y="172"/>
                  </a:lnTo>
                  <a:close/>
                  <a:moveTo>
                    <a:pt x="455" y="192"/>
                  </a:moveTo>
                  <a:lnTo>
                    <a:pt x="465" y="192"/>
                  </a:lnTo>
                  <a:lnTo>
                    <a:pt x="465" y="202"/>
                  </a:lnTo>
                  <a:lnTo>
                    <a:pt x="455" y="202"/>
                  </a:lnTo>
                  <a:lnTo>
                    <a:pt x="455" y="192"/>
                  </a:lnTo>
                  <a:close/>
                  <a:moveTo>
                    <a:pt x="455" y="213"/>
                  </a:moveTo>
                  <a:lnTo>
                    <a:pt x="465" y="213"/>
                  </a:lnTo>
                  <a:lnTo>
                    <a:pt x="465" y="222"/>
                  </a:lnTo>
                  <a:lnTo>
                    <a:pt x="455" y="222"/>
                  </a:lnTo>
                  <a:lnTo>
                    <a:pt x="455" y="213"/>
                  </a:lnTo>
                  <a:close/>
                  <a:moveTo>
                    <a:pt x="455" y="233"/>
                  </a:moveTo>
                  <a:lnTo>
                    <a:pt x="465" y="233"/>
                  </a:lnTo>
                  <a:lnTo>
                    <a:pt x="465" y="243"/>
                  </a:lnTo>
                  <a:lnTo>
                    <a:pt x="455" y="243"/>
                  </a:lnTo>
                  <a:lnTo>
                    <a:pt x="455" y="233"/>
                  </a:lnTo>
                  <a:close/>
                  <a:moveTo>
                    <a:pt x="455" y="253"/>
                  </a:moveTo>
                  <a:lnTo>
                    <a:pt x="465" y="253"/>
                  </a:lnTo>
                  <a:lnTo>
                    <a:pt x="465" y="262"/>
                  </a:lnTo>
                  <a:lnTo>
                    <a:pt x="455" y="262"/>
                  </a:lnTo>
                  <a:lnTo>
                    <a:pt x="455" y="253"/>
                  </a:lnTo>
                  <a:close/>
                  <a:moveTo>
                    <a:pt x="455" y="273"/>
                  </a:moveTo>
                  <a:lnTo>
                    <a:pt x="465" y="273"/>
                  </a:lnTo>
                  <a:lnTo>
                    <a:pt x="465" y="283"/>
                  </a:lnTo>
                  <a:lnTo>
                    <a:pt x="455" y="283"/>
                  </a:lnTo>
                  <a:lnTo>
                    <a:pt x="455" y="273"/>
                  </a:lnTo>
                  <a:close/>
                  <a:moveTo>
                    <a:pt x="455" y="294"/>
                  </a:moveTo>
                  <a:lnTo>
                    <a:pt x="465" y="294"/>
                  </a:lnTo>
                  <a:lnTo>
                    <a:pt x="465" y="303"/>
                  </a:lnTo>
                  <a:lnTo>
                    <a:pt x="455" y="303"/>
                  </a:lnTo>
                  <a:lnTo>
                    <a:pt x="455" y="294"/>
                  </a:lnTo>
                  <a:close/>
                  <a:moveTo>
                    <a:pt x="455" y="314"/>
                  </a:moveTo>
                  <a:lnTo>
                    <a:pt x="465" y="314"/>
                  </a:lnTo>
                  <a:lnTo>
                    <a:pt x="465" y="324"/>
                  </a:lnTo>
                  <a:lnTo>
                    <a:pt x="455" y="324"/>
                  </a:lnTo>
                  <a:lnTo>
                    <a:pt x="455" y="314"/>
                  </a:lnTo>
                  <a:close/>
                  <a:moveTo>
                    <a:pt x="455" y="333"/>
                  </a:moveTo>
                  <a:lnTo>
                    <a:pt x="465" y="333"/>
                  </a:lnTo>
                  <a:lnTo>
                    <a:pt x="465" y="343"/>
                  </a:lnTo>
                  <a:lnTo>
                    <a:pt x="455" y="343"/>
                  </a:lnTo>
                  <a:lnTo>
                    <a:pt x="455" y="333"/>
                  </a:lnTo>
                  <a:close/>
                  <a:moveTo>
                    <a:pt x="455" y="354"/>
                  </a:moveTo>
                  <a:lnTo>
                    <a:pt x="465" y="354"/>
                  </a:lnTo>
                  <a:lnTo>
                    <a:pt x="465" y="364"/>
                  </a:lnTo>
                  <a:lnTo>
                    <a:pt x="455" y="364"/>
                  </a:lnTo>
                  <a:lnTo>
                    <a:pt x="455" y="354"/>
                  </a:lnTo>
                  <a:close/>
                  <a:moveTo>
                    <a:pt x="455" y="375"/>
                  </a:moveTo>
                  <a:lnTo>
                    <a:pt x="465" y="375"/>
                  </a:lnTo>
                  <a:lnTo>
                    <a:pt x="465" y="384"/>
                  </a:lnTo>
                  <a:lnTo>
                    <a:pt x="455" y="384"/>
                  </a:lnTo>
                  <a:lnTo>
                    <a:pt x="455" y="375"/>
                  </a:lnTo>
                  <a:close/>
                  <a:moveTo>
                    <a:pt x="455" y="395"/>
                  </a:moveTo>
                  <a:lnTo>
                    <a:pt x="465" y="395"/>
                  </a:lnTo>
                  <a:lnTo>
                    <a:pt x="465" y="405"/>
                  </a:lnTo>
                  <a:lnTo>
                    <a:pt x="455" y="405"/>
                  </a:lnTo>
                  <a:lnTo>
                    <a:pt x="455" y="395"/>
                  </a:lnTo>
                  <a:close/>
                  <a:moveTo>
                    <a:pt x="455" y="414"/>
                  </a:moveTo>
                  <a:lnTo>
                    <a:pt x="465" y="414"/>
                  </a:lnTo>
                  <a:lnTo>
                    <a:pt x="465" y="424"/>
                  </a:lnTo>
                  <a:lnTo>
                    <a:pt x="455" y="424"/>
                  </a:lnTo>
                  <a:lnTo>
                    <a:pt x="455" y="414"/>
                  </a:lnTo>
                  <a:close/>
                  <a:moveTo>
                    <a:pt x="455" y="435"/>
                  </a:moveTo>
                  <a:lnTo>
                    <a:pt x="465" y="435"/>
                  </a:lnTo>
                  <a:lnTo>
                    <a:pt x="465" y="444"/>
                  </a:lnTo>
                  <a:lnTo>
                    <a:pt x="455" y="444"/>
                  </a:lnTo>
                  <a:lnTo>
                    <a:pt x="455" y="435"/>
                  </a:lnTo>
                  <a:close/>
                  <a:moveTo>
                    <a:pt x="465" y="455"/>
                  </a:moveTo>
                  <a:lnTo>
                    <a:pt x="465" y="465"/>
                  </a:lnTo>
                  <a:lnTo>
                    <a:pt x="455" y="465"/>
                  </a:lnTo>
                  <a:lnTo>
                    <a:pt x="455" y="455"/>
                  </a:lnTo>
                  <a:lnTo>
                    <a:pt x="465" y="455"/>
                  </a:lnTo>
                  <a:close/>
                  <a:moveTo>
                    <a:pt x="436" y="30"/>
                  </a:moveTo>
                  <a:lnTo>
                    <a:pt x="446" y="30"/>
                  </a:lnTo>
                  <a:lnTo>
                    <a:pt x="446" y="40"/>
                  </a:lnTo>
                  <a:lnTo>
                    <a:pt x="436" y="40"/>
                  </a:lnTo>
                  <a:lnTo>
                    <a:pt x="436" y="30"/>
                  </a:lnTo>
                  <a:close/>
                  <a:moveTo>
                    <a:pt x="436" y="51"/>
                  </a:moveTo>
                  <a:lnTo>
                    <a:pt x="446" y="51"/>
                  </a:lnTo>
                  <a:lnTo>
                    <a:pt x="446" y="61"/>
                  </a:lnTo>
                  <a:lnTo>
                    <a:pt x="436" y="61"/>
                  </a:lnTo>
                  <a:lnTo>
                    <a:pt x="436" y="51"/>
                  </a:lnTo>
                  <a:close/>
                  <a:moveTo>
                    <a:pt x="436" y="72"/>
                  </a:moveTo>
                  <a:lnTo>
                    <a:pt x="446" y="72"/>
                  </a:lnTo>
                  <a:lnTo>
                    <a:pt x="446" y="81"/>
                  </a:lnTo>
                  <a:lnTo>
                    <a:pt x="436" y="81"/>
                  </a:lnTo>
                  <a:lnTo>
                    <a:pt x="436" y="72"/>
                  </a:lnTo>
                  <a:close/>
                  <a:moveTo>
                    <a:pt x="436" y="91"/>
                  </a:moveTo>
                  <a:lnTo>
                    <a:pt x="446" y="91"/>
                  </a:lnTo>
                  <a:lnTo>
                    <a:pt x="446" y="100"/>
                  </a:lnTo>
                  <a:lnTo>
                    <a:pt x="436" y="100"/>
                  </a:lnTo>
                  <a:lnTo>
                    <a:pt x="436" y="91"/>
                  </a:lnTo>
                  <a:close/>
                  <a:moveTo>
                    <a:pt x="436" y="111"/>
                  </a:moveTo>
                  <a:lnTo>
                    <a:pt x="446" y="111"/>
                  </a:lnTo>
                  <a:lnTo>
                    <a:pt x="446" y="121"/>
                  </a:lnTo>
                  <a:lnTo>
                    <a:pt x="436" y="121"/>
                  </a:lnTo>
                  <a:lnTo>
                    <a:pt x="436" y="111"/>
                  </a:lnTo>
                  <a:close/>
                  <a:moveTo>
                    <a:pt x="436" y="132"/>
                  </a:moveTo>
                  <a:lnTo>
                    <a:pt x="446" y="132"/>
                  </a:lnTo>
                  <a:lnTo>
                    <a:pt x="446" y="142"/>
                  </a:lnTo>
                  <a:lnTo>
                    <a:pt x="436" y="142"/>
                  </a:lnTo>
                  <a:lnTo>
                    <a:pt x="436" y="132"/>
                  </a:lnTo>
                  <a:close/>
                  <a:moveTo>
                    <a:pt x="436" y="152"/>
                  </a:moveTo>
                  <a:lnTo>
                    <a:pt x="446" y="152"/>
                  </a:lnTo>
                  <a:lnTo>
                    <a:pt x="446" y="162"/>
                  </a:lnTo>
                  <a:lnTo>
                    <a:pt x="436" y="162"/>
                  </a:lnTo>
                  <a:lnTo>
                    <a:pt x="436" y="152"/>
                  </a:lnTo>
                  <a:close/>
                  <a:moveTo>
                    <a:pt x="436" y="172"/>
                  </a:moveTo>
                  <a:lnTo>
                    <a:pt x="446" y="172"/>
                  </a:lnTo>
                  <a:lnTo>
                    <a:pt x="446" y="181"/>
                  </a:lnTo>
                  <a:lnTo>
                    <a:pt x="436" y="181"/>
                  </a:lnTo>
                  <a:lnTo>
                    <a:pt x="436" y="172"/>
                  </a:lnTo>
                  <a:close/>
                  <a:moveTo>
                    <a:pt x="436" y="192"/>
                  </a:moveTo>
                  <a:lnTo>
                    <a:pt x="446" y="192"/>
                  </a:lnTo>
                  <a:lnTo>
                    <a:pt x="446" y="202"/>
                  </a:lnTo>
                  <a:lnTo>
                    <a:pt x="436" y="202"/>
                  </a:lnTo>
                  <a:lnTo>
                    <a:pt x="436" y="192"/>
                  </a:lnTo>
                  <a:close/>
                  <a:moveTo>
                    <a:pt x="436" y="213"/>
                  </a:moveTo>
                  <a:lnTo>
                    <a:pt x="446" y="213"/>
                  </a:lnTo>
                  <a:lnTo>
                    <a:pt x="446" y="222"/>
                  </a:lnTo>
                  <a:lnTo>
                    <a:pt x="436" y="222"/>
                  </a:lnTo>
                  <a:lnTo>
                    <a:pt x="436" y="213"/>
                  </a:lnTo>
                  <a:close/>
                  <a:moveTo>
                    <a:pt x="436" y="233"/>
                  </a:moveTo>
                  <a:lnTo>
                    <a:pt x="446" y="233"/>
                  </a:lnTo>
                  <a:lnTo>
                    <a:pt x="446" y="243"/>
                  </a:lnTo>
                  <a:lnTo>
                    <a:pt x="436" y="243"/>
                  </a:lnTo>
                  <a:lnTo>
                    <a:pt x="436" y="233"/>
                  </a:lnTo>
                  <a:close/>
                  <a:moveTo>
                    <a:pt x="436" y="253"/>
                  </a:moveTo>
                  <a:lnTo>
                    <a:pt x="446" y="253"/>
                  </a:lnTo>
                  <a:lnTo>
                    <a:pt x="446" y="262"/>
                  </a:lnTo>
                  <a:lnTo>
                    <a:pt x="436" y="262"/>
                  </a:lnTo>
                  <a:lnTo>
                    <a:pt x="436" y="253"/>
                  </a:lnTo>
                  <a:close/>
                  <a:moveTo>
                    <a:pt x="436" y="273"/>
                  </a:moveTo>
                  <a:lnTo>
                    <a:pt x="446" y="273"/>
                  </a:lnTo>
                  <a:lnTo>
                    <a:pt x="446" y="283"/>
                  </a:lnTo>
                  <a:lnTo>
                    <a:pt x="436" y="283"/>
                  </a:lnTo>
                  <a:lnTo>
                    <a:pt x="436" y="273"/>
                  </a:lnTo>
                  <a:close/>
                  <a:moveTo>
                    <a:pt x="436" y="294"/>
                  </a:moveTo>
                  <a:lnTo>
                    <a:pt x="446" y="294"/>
                  </a:lnTo>
                  <a:lnTo>
                    <a:pt x="446" y="303"/>
                  </a:lnTo>
                  <a:lnTo>
                    <a:pt x="436" y="303"/>
                  </a:lnTo>
                  <a:lnTo>
                    <a:pt x="436" y="294"/>
                  </a:lnTo>
                  <a:close/>
                  <a:moveTo>
                    <a:pt x="436" y="314"/>
                  </a:moveTo>
                  <a:lnTo>
                    <a:pt x="446" y="314"/>
                  </a:lnTo>
                  <a:lnTo>
                    <a:pt x="446" y="324"/>
                  </a:lnTo>
                  <a:lnTo>
                    <a:pt x="436" y="324"/>
                  </a:lnTo>
                  <a:lnTo>
                    <a:pt x="436" y="314"/>
                  </a:lnTo>
                  <a:close/>
                  <a:moveTo>
                    <a:pt x="436" y="333"/>
                  </a:moveTo>
                  <a:lnTo>
                    <a:pt x="446" y="333"/>
                  </a:lnTo>
                  <a:lnTo>
                    <a:pt x="446" y="343"/>
                  </a:lnTo>
                  <a:lnTo>
                    <a:pt x="436" y="343"/>
                  </a:lnTo>
                  <a:lnTo>
                    <a:pt x="436" y="333"/>
                  </a:lnTo>
                  <a:close/>
                  <a:moveTo>
                    <a:pt x="436" y="354"/>
                  </a:moveTo>
                  <a:lnTo>
                    <a:pt x="446" y="354"/>
                  </a:lnTo>
                  <a:lnTo>
                    <a:pt x="446" y="364"/>
                  </a:lnTo>
                  <a:lnTo>
                    <a:pt x="436" y="364"/>
                  </a:lnTo>
                  <a:lnTo>
                    <a:pt x="436" y="354"/>
                  </a:lnTo>
                  <a:close/>
                  <a:moveTo>
                    <a:pt x="436" y="375"/>
                  </a:moveTo>
                  <a:lnTo>
                    <a:pt x="446" y="375"/>
                  </a:lnTo>
                  <a:lnTo>
                    <a:pt x="446" y="384"/>
                  </a:lnTo>
                  <a:lnTo>
                    <a:pt x="436" y="384"/>
                  </a:lnTo>
                  <a:lnTo>
                    <a:pt x="436" y="375"/>
                  </a:lnTo>
                  <a:close/>
                  <a:moveTo>
                    <a:pt x="436" y="395"/>
                  </a:moveTo>
                  <a:lnTo>
                    <a:pt x="446" y="395"/>
                  </a:lnTo>
                  <a:lnTo>
                    <a:pt x="446" y="405"/>
                  </a:lnTo>
                  <a:lnTo>
                    <a:pt x="436" y="405"/>
                  </a:lnTo>
                  <a:lnTo>
                    <a:pt x="436" y="395"/>
                  </a:lnTo>
                  <a:close/>
                  <a:moveTo>
                    <a:pt x="436" y="414"/>
                  </a:moveTo>
                  <a:lnTo>
                    <a:pt x="446" y="414"/>
                  </a:lnTo>
                  <a:lnTo>
                    <a:pt x="446" y="424"/>
                  </a:lnTo>
                  <a:lnTo>
                    <a:pt x="436" y="424"/>
                  </a:lnTo>
                  <a:lnTo>
                    <a:pt x="436" y="414"/>
                  </a:lnTo>
                  <a:close/>
                  <a:moveTo>
                    <a:pt x="436" y="435"/>
                  </a:moveTo>
                  <a:lnTo>
                    <a:pt x="446" y="435"/>
                  </a:lnTo>
                  <a:lnTo>
                    <a:pt x="446" y="444"/>
                  </a:lnTo>
                  <a:lnTo>
                    <a:pt x="436" y="444"/>
                  </a:lnTo>
                  <a:lnTo>
                    <a:pt x="436" y="435"/>
                  </a:lnTo>
                  <a:close/>
                  <a:moveTo>
                    <a:pt x="446" y="455"/>
                  </a:moveTo>
                  <a:lnTo>
                    <a:pt x="446" y="465"/>
                  </a:lnTo>
                  <a:lnTo>
                    <a:pt x="436" y="465"/>
                  </a:lnTo>
                  <a:lnTo>
                    <a:pt x="436" y="455"/>
                  </a:lnTo>
                  <a:lnTo>
                    <a:pt x="446" y="455"/>
                  </a:lnTo>
                  <a:close/>
                  <a:moveTo>
                    <a:pt x="416" y="30"/>
                  </a:moveTo>
                  <a:lnTo>
                    <a:pt x="425" y="30"/>
                  </a:lnTo>
                  <a:lnTo>
                    <a:pt x="425" y="40"/>
                  </a:lnTo>
                  <a:lnTo>
                    <a:pt x="416" y="40"/>
                  </a:lnTo>
                  <a:lnTo>
                    <a:pt x="416" y="30"/>
                  </a:lnTo>
                  <a:close/>
                  <a:moveTo>
                    <a:pt x="416" y="51"/>
                  </a:moveTo>
                  <a:lnTo>
                    <a:pt x="425" y="51"/>
                  </a:lnTo>
                  <a:lnTo>
                    <a:pt x="425" y="61"/>
                  </a:lnTo>
                  <a:lnTo>
                    <a:pt x="416" y="61"/>
                  </a:lnTo>
                  <a:lnTo>
                    <a:pt x="416" y="51"/>
                  </a:lnTo>
                  <a:close/>
                  <a:moveTo>
                    <a:pt x="416" y="72"/>
                  </a:moveTo>
                  <a:lnTo>
                    <a:pt x="425" y="72"/>
                  </a:lnTo>
                  <a:lnTo>
                    <a:pt x="425" y="81"/>
                  </a:lnTo>
                  <a:lnTo>
                    <a:pt x="416" y="81"/>
                  </a:lnTo>
                  <a:lnTo>
                    <a:pt x="416" y="72"/>
                  </a:lnTo>
                  <a:close/>
                  <a:moveTo>
                    <a:pt x="416" y="91"/>
                  </a:moveTo>
                  <a:lnTo>
                    <a:pt x="425" y="91"/>
                  </a:lnTo>
                  <a:lnTo>
                    <a:pt x="425" y="100"/>
                  </a:lnTo>
                  <a:lnTo>
                    <a:pt x="416" y="100"/>
                  </a:lnTo>
                  <a:lnTo>
                    <a:pt x="416" y="91"/>
                  </a:lnTo>
                  <a:close/>
                  <a:moveTo>
                    <a:pt x="416" y="111"/>
                  </a:moveTo>
                  <a:lnTo>
                    <a:pt x="425" y="111"/>
                  </a:lnTo>
                  <a:lnTo>
                    <a:pt x="425" y="121"/>
                  </a:lnTo>
                  <a:lnTo>
                    <a:pt x="416" y="121"/>
                  </a:lnTo>
                  <a:lnTo>
                    <a:pt x="416" y="111"/>
                  </a:lnTo>
                  <a:close/>
                  <a:moveTo>
                    <a:pt x="416" y="132"/>
                  </a:moveTo>
                  <a:lnTo>
                    <a:pt x="425" y="132"/>
                  </a:lnTo>
                  <a:lnTo>
                    <a:pt x="425" y="142"/>
                  </a:lnTo>
                  <a:lnTo>
                    <a:pt x="416" y="142"/>
                  </a:lnTo>
                  <a:lnTo>
                    <a:pt x="416" y="132"/>
                  </a:lnTo>
                  <a:close/>
                  <a:moveTo>
                    <a:pt x="416" y="152"/>
                  </a:moveTo>
                  <a:lnTo>
                    <a:pt x="425" y="152"/>
                  </a:lnTo>
                  <a:lnTo>
                    <a:pt x="425" y="162"/>
                  </a:lnTo>
                  <a:lnTo>
                    <a:pt x="416" y="162"/>
                  </a:lnTo>
                  <a:lnTo>
                    <a:pt x="416" y="152"/>
                  </a:lnTo>
                  <a:close/>
                  <a:moveTo>
                    <a:pt x="416" y="172"/>
                  </a:moveTo>
                  <a:lnTo>
                    <a:pt x="425" y="172"/>
                  </a:lnTo>
                  <a:lnTo>
                    <a:pt x="425" y="181"/>
                  </a:lnTo>
                  <a:lnTo>
                    <a:pt x="416" y="181"/>
                  </a:lnTo>
                  <a:lnTo>
                    <a:pt x="416" y="172"/>
                  </a:lnTo>
                  <a:close/>
                  <a:moveTo>
                    <a:pt x="416" y="192"/>
                  </a:moveTo>
                  <a:lnTo>
                    <a:pt x="425" y="192"/>
                  </a:lnTo>
                  <a:lnTo>
                    <a:pt x="425" y="202"/>
                  </a:lnTo>
                  <a:lnTo>
                    <a:pt x="416" y="202"/>
                  </a:lnTo>
                  <a:lnTo>
                    <a:pt x="416" y="192"/>
                  </a:lnTo>
                  <a:close/>
                  <a:moveTo>
                    <a:pt x="416" y="213"/>
                  </a:moveTo>
                  <a:lnTo>
                    <a:pt x="425" y="213"/>
                  </a:lnTo>
                  <a:lnTo>
                    <a:pt x="425" y="222"/>
                  </a:lnTo>
                  <a:lnTo>
                    <a:pt x="416" y="222"/>
                  </a:lnTo>
                  <a:lnTo>
                    <a:pt x="416" y="213"/>
                  </a:lnTo>
                  <a:close/>
                  <a:moveTo>
                    <a:pt x="416" y="233"/>
                  </a:moveTo>
                  <a:lnTo>
                    <a:pt x="425" y="233"/>
                  </a:lnTo>
                  <a:lnTo>
                    <a:pt x="425" y="243"/>
                  </a:lnTo>
                  <a:lnTo>
                    <a:pt x="416" y="243"/>
                  </a:lnTo>
                  <a:lnTo>
                    <a:pt x="416" y="233"/>
                  </a:lnTo>
                  <a:close/>
                  <a:moveTo>
                    <a:pt x="416" y="253"/>
                  </a:moveTo>
                  <a:lnTo>
                    <a:pt x="425" y="253"/>
                  </a:lnTo>
                  <a:lnTo>
                    <a:pt x="425" y="262"/>
                  </a:lnTo>
                  <a:lnTo>
                    <a:pt x="416" y="262"/>
                  </a:lnTo>
                  <a:lnTo>
                    <a:pt x="416" y="253"/>
                  </a:lnTo>
                  <a:close/>
                  <a:moveTo>
                    <a:pt x="416" y="273"/>
                  </a:moveTo>
                  <a:lnTo>
                    <a:pt x="425" y="273"/>
                  </a:lnTo>
                  <a:lnTo>
                    <a:pt x="425" y="283"/>
                  </a:lnTo>
                  <a:lnTo>
                    <a:pt x="416" y="283"/>
                  </a:lnTo>
                  <a:lnTo>
                    <a:pt x="416" y="273"/>
                  </a:lnTo>
                  <a:close/>
                  <a:moveTo>
                    <a:pt x="416" y="294"/>
                  </a:moveTo>
                  <a:lnTo>
                    <a:pt x="425" y="294"/>
                  </a:lnTo>
                  <a:lnTo>
                    <a:pt x="425" y="303"/>
                  </a:lnTo>
                  <a:lnTo>
                    <a:pt x="416" y="303"/>
                  </a:lnTo>
                  <a:lnTo>
                    <a:pt x="416" y="294"/>
                  </a:lnTo>
                  <a:close/>
                  <a:moveTo>
                    <a:pt x="416" y="314"/>
                  </a:moveTo>
                  <a:lnTo>
                    <a:pt x="425" y="314"/>
                  </a:lnTo>
                  <a:lnTo>
                    <a:pt x="425" y="324"/>
                  </a:lnTo>
                  <a:lnTo>
                    <a:pt x="416" y="324"/>
                  </a:lnTo>
                  <a:lnTo>
                    <a:pt x="416" y="314"/>
                  </a:lnTo>
                  <a:close/>
                  <a:moveTo>
                    <a:pt x="416" y="333"/>
                  </a:moveTo>
                  <a:lnTo>
                    <a:pt x="425" y="333"/>
                  </a:lnTo>
                  <a:lnTo>
                    <a:pt x="425" y="343"/>
                  </a:lnTo>
                  <a:lnTo>
                    <a:pt x="416" y="343"/>
                  </a:lnTo>
                  <a:lnTo>
                    <a:pt x="416" y="333"/>
                  </a:lnTo>
                  <a:close/>
                  <a:moveTo>
                    <a:pt x="416" y="354"/>
                  </a:moveTo>
                  <a:lnTo>
                    <a:pt x="425" y="354"/>
                  </a:lnTo>
                  <a:lnTo>
                    <a:pt x="425" y="364"/>
                  </a:lnTo>
                  <a:lnTo>
                    <a:pt x="416" y="364"/>
                  </a:lnTo>
                  <a:lnTo>
                    <a:pt x="416" y="354"/>
                  </a:lnTo>
                  <a:close/>
                  <a:moveTo>
                    <a:pt x="416" y="375"/>
                  </a:moveTo>
                  <a:lnTo>
                    <a:pt x="425" y="375"/>
                  </a:lnTo>
                  <a:lnTo>
                    <a:pt x="425" y="384"/>
                  </a:lnTo>
                  <a:lnTo>
                    <a:pt x="416" y="384"/>
                  </a:lnTo>
                  <a:lnTo>
                    <a:pt x="416" y="375"/>
                  </a:lnTo>
                  <a:close/>
                  <a:moveTo>
                    <a:pt x="416" y="395"/>
                  </a:moveTo>
                  <a:lnTo>
                    <a:pt x="425" y="395"/>
                  </a:lnTo>
                  <a:lnTo>
                    <a:pt x="425" y="405"/>
                  </a:lnTo>
                  <a:lnTo>
                    <a:pt x="416" y="405"/>
                  </a:lnTo>
                  <a:lnTo>
                    <a:pt x="416" y="395"/>
                  </a:lnTo>
                  <a:close/>
                  <a:moveTo>
                    <a:pt x="416" y="414"/>
                  </a:moveTo>
                  <a:lnTo>
                    <a:pt x="425" y="414"/>
                  </a:lnTo>
                  <a:lnTo>
                    <a:pt x="425" y="424"/>
                  </a:lnTo>
                  <a:lnTo>
                    <a:pt x="416" y="424"/>
                  </a:lnTo>
                  <a:lnTo>
                    <a:pt x="416" y="414"/>
                  </a:lnTo>
                  <a:close/>
                  <a:moveTo>
                    <a:pt x="416" y="435"/>
                  </a:moveTo>
                  <a:lnTo>
                    <a:pt x="425" y="435"/>
                  </a:lnTo>
                  <a:lnTo>
                    <a:pt x="425" y="444"/>
                  </a:lnTo>
                  <a:lnTo>
                    <a:pt x="416" y="444"/>
                  </a:lnTo>
                  <a:lnTo>
                    <a:pt x="416" y="435"/>
                  </a:lnTo>
                  <a:close/>
                  <a:moveTo>
                    <a:pt x="425" y="455"/>
                  </a:moveTo>
                  <a:lnTo>
                    <a:pt x="425" y="465"/>
                  </a:lnTo>
                  <a:lnTo>
                    <a:pt x="416" y="465"/>
                  </a:lnTo>
                  <a:lnTo>
                    <a:pt x="416" y="455"/>
                  </a:lnTo>
                  <a:lnTo>
                    <a:pt x="425" y="455"/>
                  </a:lnTo>
                  <a:close/>
                  <a:moveTo>
                    <a:pt x="395" y="30"/>
                  </a:moveTo>
                  <a:lnTo>
                    <a:pt x="405" y="30"/>
                  </a:lnTo>
                  <a:lnTo>
                    <a:pt x="405" y="40"/>
                  </a:lnTo>
                  <a:lnTo>
                    <a:pt x="395" y="40"/>
                  </a:lnTo>
                  <a:lnTo>
                    <a:pt x="395" y="30"/>
                  </a:lnTo>
                  <a:close/>
                  <a:moveTo>
                    <a:pt x="395" y="51"/>
                  </a:moveTo>
                  <a:lnTo>
                    <a:pt x="405" y="51"/>
                  </a:lnTo>
                  <a:lnTo>
                    <a:pt x="405" y="61"/>
                  </a:lnTo>
                  <a:lnTo>
                    <a:pt x="395" y="61"/>
                  </a:lnTo>
                  <a:lnTo>
                    <a:pt x="395" y="51"/>
                  </a:lnTo>
                  <a:close/>
                  <a:moveTo>
                    <a:pt x="395" y="72"/>
                  </a:moveTo>
                  <a:lnTo>
                    <a:pt x="405" y="72"/>
                  </a:lnTo>
                  <a:lnTo>
                    <a:pt x="405" y="81"/>
                  </a:lnTo>
                  <a:lnTo>
                    <a:pt x="395" y="81"/>
                  </a:lnTo>
                  <a:lnTo>
                    <a:pt x="395" y="72"/>
                  </a:lnTo>
                  <a:close/>
                  <a:moveTo>
                    <a:pt x="395" y="91"/>
                  </a:moveTo>
                  <a:lnTo>
                    <a:pt x="405" y="91"/>
                  </a:lnTo>
                  <a:lnTo>
                    <a:pt x="405" y="100"/>
                  </a:lnTo>
                  <a:lnTo>
                    <a:pt x="395" y="100"/>
                  </a:lnTo>
                  <a:lnTo>
                    <a:pt x="395" y="91"/>
                  </a:lnTo>
                  <a:close/>
                  <a:moveTo>
                    <a:pt x="395" y="111"/>
                  </a:moveTo>
                  <a:lnTo>
                    <a:pt x="405" y="111"/>
                  </a:lnTo>
                  <a:lnTo>
                    <a:pt x="405" y="121"/>
                  </a:lnTo>
                  <a:lnTo>
                    <a:pt x="395" y="121"/>
                  </a:lnTo>
                  <a:lnTo>
                    <a:pt x="395" y="111"/>
                  </a:lnTo>
                  <a:close/>
                  <a:moveTo>
                    <a:pt x="395" y="132"/>
                  </a:moveTo>
                  <a:lnTo>
                    <a:pt x="405" y="132"/>
                  </a:lnTo>
                  <a:lnTo>
                    <a:pt x="405" y="142"/>
                  </a:lnTo>
                  <a:lnTo>
                    <a:pt x="395" y="142"/>
                  </a:lnTo>
                  <a:lnTo>
                    <a:pt x="395" y="132"/>
                  </a:lnTo>
                  <a:close/>
                  <a:moveTo>
                    <a:pt x="395" y="152"/>
                  </a:moveTo>
                  <a:lnTo>
                    <a:pt x="405" y="152"/>
                  </a:lnTo>
                  <a:lnTo>
                    <a:pt x="405" y="162"/>
                  </a:lnTo>
                  <a:lnTo>
                    <a:pt x="395" y="162"/>
                  </a:lnTo>
                  <a:lnTo>
                    <a:pt x="395" y="152"/>
                  </a:lnTo>
                  <a:close/>
                  <a:moveTo>
                    <a:pt x="395" y="172"/>
                  </a:moveTo>
                  <a:lnTo>
                    <a:pt x="405" y="172"/>
                  </a:lnTo>
                  <a:lnTo>
                    <a:pt x="405" y="181"/>
                  </a:lnTo>
                  <a:lnTo>
                    <a:pt x="395" y="181"/>
                  </a:lnTo>
                  <a:lnTo>
                    <a:pt x="395" y="172"/>
                  </a:lnTo>
                  <a:close/>
                  <a:moveTo>
                    <a:pt x="395" y="192"/>
                  </a:moveTo>
                  <a:lnTo>
                    <a:pt x="405" y="192"/>
                  </a:lnTo>
                  <a:lnTo>
                    <a:pt x="405" y="202"/>
                  </a:lnTo>
                  <a:lnTo>
                    <a:pt x="395" y="202"/>
                  </a:lnTo>
                  <a:lnTo>
                    <a:pt x="395" y="192"/>
                  </a:lnTo>
                  <a:close/>
                  <a:moveTo>
                    <a:pt x="395" y="213"/>
                  </a:moveTo>
                  <a:lnTo>
                    <a:pt x="405" y="213"/>
                  </a:lnTo>
                  <a:lnTo>
                    <a:pt x="405" y="222"/>
                  </a:lnTo>
                  <a:lnTo>
                    <a:pt x="395" y="222"/>
                  </a:lnTo>
                  <a:lnTo>
                    <a:pt x="395" y="213"/>
                  </a:lnTo>
                  <a:close/>
                  <a:moveTo>
                    <a:pt x="395" y="233"/>
                  </a:moveTo>
                  <a:lnTo>
                    <a:pt x="405" y="233"/>
                  </a:lnTo>
                  <a:lnTo>
                    <a:pt x="405" y="243"/>
                  </a:lnTo>
                  <a:lnTo>
                    <a:pt x="395" y="243"/>
                  </a:lnTo>
                  <a:lnTo>
                    <a:pt x="395" y="233"/>
                  </a:lnTo>
                  <a:close/>
                  <a:moveTo>
                    <a:pt x="395" y="253"/>
                  </a:moveTo>
                  <a:lnTo>
                    <a:pt x="405" y="253"/>
                  </a:lnTo>
                  <a:lnTo>
                    <a:pt x="405" y="262"/>
                  </a:lnTo>
                  <a:lnTo>
                    <a:pt x="395" y="262"/>
                  </a:lnTo>
                  <a:lnTo>
                    <a:pt x="395" y="253"/>
                  </a:lnTo>
                  <a:close/>
                  <a:moveTo>
                    <a:pt x="395" y="273"/>
                  </a:moveTo>
                  <a:lnTo>
                    <a:pt x="405" y="273"/>
                  </a:lnTo>
                  <a:lnTo>
                    <a:pt x="405" y="283"/>
                  </a:lnTo>
                  <a:lnTo>
                    <a:pt x="395" y="283"/>
                  </a:lnTo>
                  <a:lnTo>
                    <a:pt x="395" y="273"/>
                  </a:lnTo>
                  <a:close/>
                  <a:moveTo>
                    <a:pt x="395" y="294"/>
                  </a:moveTo>
                  <a:lnTo>
                    <a:pt x="405" y="294"/>
                  </a:lnTo>
                  <a:lnTo>
                    <a:pt x="405" y="303"/>
                  </a:lnTo>
                  <a:lnTo>
                    <a:pt x="395" y="303"/>
                  </a:lnTo>
                  <a:lnTo>
                    <a:pt x="395" y="294"/>
                  </a:lnTo>
                  <a:close/>
                  <a:moveTo>
                    <a:pt x="395" y="314"/>
                  </a:moveTo>
                  <a:lnTo>
                    <a:pt x="405" y="314"/>
                  </a:lnTo>
                  <a:lnTo>
                    <a:pt x="405" y="324"/>
                  </a:lnTo>
                  <a:lnTo>
                    <a:pt x="395" y="324"/>
                  </a:lnTo>
                  <a:lnTo>
                    <a:pt x="395" y="314"/>
                  </a:lnTo>
                  <a:close/>
                  <a:moveTo>
                    <a:pt x="395" y="333"/>
                  </a:moveTo>
                  <a:lnTo>
                    <a:pt x="405" y="333"/>
                  </a:lnTo>
                  <a:lnTo>
                    <a:pt x="405" y="343"/>
                  </a:lnTo>
                  <a:lnTo>
                    <a:pt x="395" y="343"/>
                  </a:lnTo>
                  <a:lnTo>
                    <a:pt x="395" y="333"/>
                  </a:lnTo>
                  <a:close/>
                  <a:moveTo>
                    <a:pt x="395" y="354"/>
                  </a:moveTo>
                  <a:lnTo>
                    <a:pt x="405" y="354"/>
                  </a:lnTo>
                  <a:lnTo>
                    <a:pt x="405" y="364"/>
                  </a:lnTo>
                  <a:lnTo>
                    <a:pt x="395" y="364"/>
                  </a:lnTo>
                  <a:lnTo>
                    <a:pt x="395" y="354"/>
                  </a:lnTo>
                  <a:close/>
                  <a:moveTo>
                    <a:pt x="395" y="375"/>
                  </a:moveTo>
                  <a:lnTo>
                    <a:pt x="405" y="375"/>
                  </a:lnTo>
                  <a:lnTo>
                    <a:pt x="405" y="384"/>
                  </a:lnTo>
                  <a:lnTo>
                    <a:pt x="395" y="384"/>
                  </a:lnTo>
                  <a:lnTo>
                    <a:pt x="395" y="375"/>
                  </a:lnTo>
                  <a:close/>
                  <a:moveTo>
                    <a:pt x="395" y="395"/>
                  </a:moveTo>
                  <a:lnTo>
                    <a:pt x="405" y="395"/>
                  </a:lnTo>
                  <a:lnTo>
                    <a:pt x="405" y="405"/>
                  </a:lnTo>
                  <a:lnTo>
                    <a:pt x="395" y="405"/>
                  </a:lnTo>
                  <a:lnTo>
                    <a:pt x="395" y="395"/>
                  </a:lnTo>
                  <a:close/>
                  <a:moveTo>
                    <a:pt x="395" y="414"/>
                  </a:moveTo>
                  <a:lnTo>
                    <a:pt x="405" y="414"/>
                  </a:lnTo>
                  <a:lnTo>
                    <a:pt x="405" y="424"/>
                  </a:lnTo>
                  <a:lnTo>
                    <a:pt x="395" y="424"/>
                  </a:lnTo>
                  <a:lnTo>
                    <a:pt x="395" y="414"/>
                  </a:lnTo>
                  <a:close/>
                  <a:moveTo>
                    <a:pt x="395" y="435"/>
                  </a:moveTo>
                  <a:lnTo>
                    <a:pt x="405" y="435"/>
                  </a:lnTo>
                  <a:lnTo>
                    <a:pt x="405" y="444"/>
                  </a:lnTo>
                  <a:lnTo>
                    <a:pt x="395" y="444"/>
                  </a:lnTo>
                  <a:lnTo>
                    <a:pt x="395" y="435"/>
                  </a:lnTo>
                  <a:close/>
                  <a:moveTo>
                    <a:pt x="405" y="455"/>
                  </a:moveTo>
                  <a:lnTo>
                    <a:pt x="405" y="465"/>
                  </a:lnTo>
                  <a:lnTo>
                    <a:pt x="395" y="465"/>
                  </a:lnTo>
                  <a:lnTo>
                    <a:pt x="395" y="455"/>
                  </a:lnTo>
                  <a:lnTo>
                    <a:pt x="405" y="455"/>
                  </a:lnTo>
                  <a:close/>
                  <a:moveTo>
                    <a:pt x="374" y="30"/>
                  </a:moveTo>
                  <a:lnTo>
                    <a:pt x="384" y="30"/>
                  </a:lnTo>
                  <a:lnTo>
                    <a:pt x="384" y="40"/>
                  </a:lnTo>
                  <a:lnTo>
                    <a:pt x="374" y="40"/>
                  </a:lnTo>
                  <a:lnTo>
                    <a:pt x="374" y="30"/>
                  </a:lnTo>
                  <a:close/>
                  <a:moveTo>
                    <a:pt x="374" y="51"/>
                  </a:moveTo>
                  <a:lnTo>
                    <a:pt x="384" y="51"/>
                  </a:lnTo>
                  <a:lnTo>
                    <a:pt x="384" y="61"/>
                  </a:lnTo>
                  <a:lnTo>
                    <a:pt x="374" y="61"/>
                  </a:lnTo>
                  <a:lnTo>
                    <a:pt x="374" y="51"/>
                  </a:lnTo>
                  <a:close/>
                  <a:moveTo>
                    <a:pt x="374" y="72"/>
                  </a:moveTo>
                  <a:lnTo>
                    <a:pt x="384" y="72"/>
                  </a:lnTo>
                  <a:lnTo>
                    <a:pt x="384" y="81"/>
                  </a:lnTo>
                  <a:lnTo>
                    <a:pt x="374" y="81"/>
                  </a:lnTo>
                  <a:lnTo>
                    <a:pt x="374" y="72"/>
                  </a:lnTo>
                  <a:close/>
                  <a:moveTo>
                    <a:pt x="374" y="91"/>
                  </a:moveTo>
                  <a:lnTo>
                    <a:pt x="384" y="91"/>
                  </a:lnTo>
                  <a:lnTo>
                    <a:pt x="384" y="100"/>
                  </a:lnTo>
                  <a:lnTo>
                    <a:pt x="374" y="100"/>
                  </a:lnTo>
                  <a:lnTo>
                    <a:pt x="374" y="91"/>
                  </a:lnTo>
                  <a:close/>
                  <a:moveTo>
                    <a:pt x="374" y="111"/>
                  </a:moveTo>
                  <a:lnTo>
                    <a:pt x="384" y="111"/>
                  </a:lnTo>
                  <a:lnTo>
                    <a:pt x="384" y="121"/>
                  </a:lnTo>
                  <a:lnTo>
                    <a:pt x="374" y="121"/>
                  </a:lnTo>
                  <a:lnTo>
                    <a:pt x="374" y="111"/>
                  </a:lnTo>
                  <a:close/>
                  <a:moveTo>
                    <a:pt x="374" y="132"/>
                  </a:moveTo>
                  <a:lnTo>
                    <a:pt x="384" y="132"/>
                  </a:lnTo>
                  <a:lnTo>
                    <a:pt x="384" y="142"/>
                  </a:lnTo>
                  <a:lnTo>
                    <a:pt x="374" y="142"/>
                  </a:lnTo>
                  <a:lnTo>
                    <a:pt x="374" y="132"/>
                  </a:lnTo>
                  <a:close/>
                  <a:moveTo>
                    <a:pt x="374" y="152"/>
                  </a:moveTo>
                  <a:lnTo>
                    <a:pt x="384" y="152"/>
                  </a:lnTo>
                  <a:lnTo>
                    <a:pt x="384" y="162"/>
                  </a:lnTo>
                  <a:lnTo>
                    <a:pt x="374" y="162"/>
                  </a:lnTo>
                  <a:lnTo>
                    <a:pt x="374" y="152"/>
                  </a:lnTo>
                  <a:close/>
                  <a:moveTo>
                    <a:pt x="374" y="172"/>
                  </a:moveTo>
                  <a:lnTo>
                    <a:pt x="384" y="172"/>
                  </a:lnTo>
                  <a:lnTo>
                    <a:pt x="384" y="181"/>
                  </a:lnTo>
                  <a:lnTo>
                    <a:pt x="374" y="181"/>
                  </a:lnTo>
                  <a:lnTo>
                    <a:pt x="374" y="172"/>
                  </a:lnTo>
                  <a:close/>
                  <a:moveTo>
                    <a:pt x="374" y="192"/>
                  </a:moveTo>
                  <a:lnTo>
                    <a:pt x="384" y="192"/>
                  </a:lnTo>
                  <a:lnTo>
                    <a:pt x="384" y="202"/>
                  </a:lnTo>
                  <a:lnTo>
                    <a:pt x="374" y="202"/>
                  </a:lnTo>
                  <a:lnTo>
                    <a:pt x="374" y="192"/>
                  </a:lnTo>
                  <a:close/>
                  <a:moveTo>
                    <a:pt x="374" y="213"/>
                  </a:moveTo>
                  <a:lnTo>
                    <a:pt x="384" y="213"/>
                  </a:lnTo>
                  <a:lnTo>
                    <a:pt x="384" y="222"/>
                  </a:lnTo>
                  <a:lnTo>
                    <a:pt x="374" y="222"/>
                  </a:lnTo>
                  <a:lnTo>
                    <a:pt x="374" y="213"/>
                  </a:lnTo>
                  <a:close/>
                  <a:moveTo>
                    <a:pt x="374" y="233"/>
                  </a:moveTo>
                  <a:lnTo>
                    <a:pt x="384" y="233"/>
                  </a:lnTo>
                  <a:lnTo>
                    <a:pt x="384" y="243"/>
                  </a:lnTo>
                  <a:lnTo>
                    <a:pt x="374" y="243"/>
                  </a:lnTo>
                  <a:lnTo>
                    <a:pt x="374" y="233"/>
                  </a:lnTo>
                  <a:close/>
                  <a:moveTo>
                    <a:pt x="374" y="253"/>
                  </a:moveTo>
                  <a:lnTo>
                    <a:pt x="384" y="253"/>
                  </a:lnTo>
                  <a:lnTo>
                    <a:pt x="384" y="262"/>
                  </a:lnTo>
                  <a:lnTo>
                    <a:pt x="374" y="262"/>
                  </a:lnTo>
                  <a:lnTo>
                    <a:pt x="374" y="253"/>
                  </a:lnTo>
                  <a:close/>
                  <a:moveTo>
                    <a:pt x="374" y="273"/>
                  </a:moveTo>
                  <a:lnTo>
                    <a:pt x="384" y="273"/>
                  </a:lnTo>
                  <a:lnTo>
                    <a:pt x="384" y="283"/>
                  </a:lnTo>
                  <a:lnTo>
                    <a:pt x="374" y="283"/>
                  </a:lnTo>
                  <a:lnTo>
                    <a:pt x="374" y="273"/>
                  </a:lnTo>
                  <a:close/>
                  <a:moveTo>
                    <a:pt x="374" y="294"/>
                  </a:moveTo>
                  <a:lnTo>
                    <a:pt x="384" y="294"/>
                  </a:lnTo>
                  <a:lnTo>
                    <a:pt x="384" y="303"/>
                  </a:lnTo>
                  <a:lnTo>
                    <a:pt x="374" y="303"/>
                  </a:lnTo>
                  <a:lnTo>
                    <a:pt x="374" y="294"/>
                  </a:lnTo>
                  <a:close/>
                  <a:moveTo>
                    <a:pt x="374" y="314"/>
                  </a:moveTo>
                  <a:lnTo>
                    <a:pt x="384" y="314"/>
                  </a:lnTo>
                  <a:lnTo>
                    <a:pt x="384" y="324"/>
                  </a:lnTo>
                  <a:lnTo>
                    <a:pt x="374" y="324"/>
                  </a:lnTo>
                  <a:lnTo>
                    <a:pt x="374" y="314"/>
                  </a:lnTo>
                  <a:close/>
                  <a:moveTo>
                    <a:pt x="374" y="333"/>
                  </a:moveTo>
                  <a:lnTo>
                    <a:pt x="384" y="333"/>
                  </a:lnTo>
                  <a:lnTo>
                    <a:pt x="384" y="343"/>
                  </a:lnTo>
                  <a:lnTo>
                    <a:pt x="374" y="343"/>
                  </a:lnTo>
                  <a:lnTo>
                    <a:pt x="374" y="333"/>
                  </a:lnTo>
                  <a:close/>
                  <a:moveTo>
                    <a:pt x="374" y="354"/>
                  </a:moveTo>
                  <a:lnTo>
                    <a:pt x="384" y="354"/>
                  </a:lnTo>
                  <a:lnTo>
                    <a:pt x="384" y="364"/>
                  </a:lnTo>
                  <a:lnTo>
                    <a:pt x="374" y="364"/>
                  </a:lnTo>
                  <a:lnTo>
                    <a:pt x="374" y="354"/>
                  </a:lnTo>
                  <a:close/>
                  <a:moveTo>
                    <a:pt x="374" y="375"/>
                  </a:moveTo>
                  <a:lnTo>
                    <a:pt x="384" y="375"/>
                  </a:lnTo>
                  <a:lnTo>
                    <a:pt x="384" y="384"/>
                  </a:lnTo>
                  <a:lnTo>
                    <a:pt x="374" y="384"/>
                  </a:lnTo>
                  <a:lnTo>
                    <a:pt x="374" y="375"/>
                  </a:lnTo>
                  <a:close/>
                  <a:moveTo>
                    <a:pt x="374" y="395"/>
                  </a:moveTo>
                  <a:lnTo>
                    <a:pt x="384" y="395"/>
                  </a:lnTo>
                  <a:lnTo>
                    <a:pt x="384" y="405"/>
                  </a:lnTo>
                  <a:lnTo>
                    <a:pt x="374" y="405"/>
                  </a:lnTo>
                  <a:lnTo>
                    <a:pt x="374" y="395"/>
                  </a:lnTo>
                  <a:close/>
                  <a:moveTo>
                    <a:pt x="374" y="414"/>
                  </a:moveTo>
                  <a:lnTo>
                    <a:pt x="384" y="414"/>
                  </a:lnTo>
                  <a:lnTo>
                    <a:pt x="384" y="424"/>
                  </a:lnTo>
                  <a:lnTo>
                    <a:pt x="374" y="424"/>
                  </a:lnTo>
                  <a:lnTo>
                    <a:pt x="374" y="414"/>
                  </a:lnTo>
                  <a:close/>
                  <a:moveTo>
                    <a:pt x="374" y="435"/>
                  </a:moveTo>
                  <a:lnTo>
                    <a:pt x="384" y="435"/>
                  </a:lnTo>
                  <a:lnTo>
                    <a:pt x="384" y="444"/>
                  </a:lnTo>
                  <a:lnTo>
                    <a:pt x="374" y="444"/>
                  </a:lnTo>
                  <a:lnTo>
                    <a:pt x="374" y="435"/>
                  </a:lnTo>
                  <a:close/>
                  <a:moveTo>
                    <a:pt x="384" y="455"/>
                  </a:moveTo>
                  <a:lnTo>
                    <a:pt x="384" y="465"/>
                  </a:lnTo>
                  <a:lnTo>
                    <a:pt x="374" y="465"/>
                  </a:lnTo>
                  <a:lnTo>
                    <a:pt x="374" y="455"/>
                  </a:lnTo>
                  <a:lnTo>
                    <a:pt x="384" y="455"/>
                  </a:lnTo>
                  <a:close/>
                  <a:moveTo>
                    <a:pt x="355" y="30"/>
                  </a:moveTo>
                  <a:lnTo>
                    <a:pt x="365" y="30"/>
                  </a:lnTo>
                  <a:lnTo>
                    <a:pt x="365" y="40"/>
                  </a:lnTo>
                  <a:lnTo>
                    <a:pt x="355" y="40"/>
                  </a:lnTo>
                  <a:lnTo>
                    <a:pt x="355" y="30"/>
                  </a:lnTo>
                  <a:close/>
                  <a:moveTo>
                    <a:pt x="355" y="51"/>
                  </a:moveTo>
                  <a:lnTo>
                    <a:pt x="365" y="51"/>
                  </a:lnTo>
                  <a:lnTo>
                    <a:pt x="365" y="61"/>
                  </a:lnTo>
                  <a:lnTo>
                    <a:pt x="355" y="61"/>
                  </a:lnTo>
                  <a:lnTo>
                    <a:pt x="355" y="51"/>
                  </a:lnTo>
                  <a:close/>
                  <a:moveTo>
                    <a:pt x="355" y="72"/>
                  </a:moveTo>
                  <a:lnTo>
                    <a:pt x="365" y="72"/>
                  </a:lnTo>
                  <a:lnTo>
                    <a:pt x="365" y="81"/>
                  </a:lnTo>
                  <a:lnTo>
                    <a:pt x="355" y="81"/>
                  </a:lnTo>
                  <a:lnTo>
                    <a:pt x="355" y="72"/>
                  </a:lnTo>
                  <a:close/>
                  <a:moveTo>
                    <a:pt x="355" y="91"/>
                  </a:moveTo>
                  <a:lnTo>
                    <a:pt x="365" y="91"/>
                  </a:lnTo>
                  <a:lnTo>
                    <a:pt x="365" y="100"/>
                  </a:lnTo>
                  <a:lnTo>
                    <a:pt x="355" y="100"/>
                  </a:lnTo>
                  <a:lnTo>
                    <a:pt x="355" y="91"/>
                  </a:lnTo>
                  <a:close/>
                  <a:moveTo>
                    <a:pt x="355" y="111"/>
                  </a:moveTo>
                  <a:lnTo>
                    <a:pt x="365" y="111"/>
                  </a:lnTo>
                  <a:lnTo>
                    <a:pt x="365" y="121"/>
                  </a:lnTo>
                  <a:lnTo>
                    <a:pt x="355" y="121"/>
                  </a:lnTo>
                  <a:lnTo>
                    <a:pt x="355" y="111"/>
                  </a:lnTo>
                  <a:close/>
                  <a:moveTo>
                    <a:pt x="355" y="132"/>
                  </a:moveTo>
                  <a:lnTo>
                    <a:pt x="365" y="132"/>
                  </a:lnTo>
                  <a:lnTo>
                    <a:pt x="365" y="142"/>
                  </a:lnTo>
                  <a:lnTo>
                    <a:pt x="355" y="142"/>
                  </a:lnTo>
                  <a:lnTo>
                    <a:pt x="355" y="132"/>
                  </a:lnTo>
                  <a:close/>
                  <a:moveTo>
                    <a:pt x="355" y="152"/>
                  </a:moveTo>
                  <a:lnTo>
                    <a:pt x="365" y="152"/>
                  </a:lnTo>
                  <a:lnTo>
                    <a:pt x="365" y="162"/>
                  </a:lnTo>
                  <a:lnTo>
                    <a:pt x="355" y="162"/>
                  </a:lnTo>
                  <a:lnTo>
                    <a:pt x="355" y="152"/>
                  </a:lnTo>
                  <a:close/>
                  <a:moveTo>
                    <a:pt x="355" y="172"/>
                  </a:moveTo>
                  <a:lnTo>
                    <a:pt x="365" y="172"/>
                  </a:lnTo>
                  <a:lnTo>
                    <a:pt x="365" y="181"/>
                  </a:lnTo>
                  <a:lnTo>
                    <a:pt x="355" y="181"/>
                  </a:lnTo>
                  <a:lnTo>
                    <a:pt x="355" y="172"/>
                  </a:lnTo>
                  <a:close/>
                  <a:moveTo>
                    <a:pt x="355" y="192"/>
                  </a:moveTo>
                  <a:lnTo>
                    <a:pt x="365" y="192"/>
                  </a:lnTo>
                  <a:lnTo>
                    <a:pt x="365" y="202"/>
                  </a:lnTo>
                  <a:lnTo>
                    <a:pt x="355" y="202"/>
                  </a:lnTo>
                  <a:lnTo>
                    <a:pt x="355" y="192"/>
                  </a:lnTo>
                  <a:close/>
                  <a:moveTo>
                    <a:pt x="355" y="213"/>
                  </a:moveTo>
                  <a:lnTo>
                    <a:pt x="365" y="213"/>
                  </a:lnTo>
                  <a:lnTo>
                    <a:pt x="365" y="222"/>
                  </a:lnTo>
                  <a:lnTo>
                    <a:pt x="355" y="222"/>
                  </a:lnTo>
                  <a:lnTo>
                    <a:pt x="355" y="213"/>
                  </a:lnTo>
                  <a:close/>
                  <a:moveTo>
                    <a:pt x="355" y="233"/>
                  </a:moveTo>
                  <a:lnTo>
                    <a:pt x="365" y="233"/>
                  </a:lnTo>
                  <a:lnTo>
                    <a:pt x="365" y="243"/>
                  </a:lnTo>
                  <a:lnTo>
                    <a:pt x="355" y="243"/>
                  </a:lnTo>
                  <a:lnTo>
                    <a:pt x="355" y="233"/>
                  </a:lnTo>
                  <a:close/>
                  <a:moveTo>
                    <a:pt x="355" y="253"/>
                  </a:moveTo>
                  <a:lnTo>
                    <a:pt x="365" y="253"/>
                  </a:lnTo>
                  <a:lnTo>
                    <a:pt x="365" y="262"/>
                  </a:lnTo>
                  <a:lnTo>
                    <a:pt x="355" y="262"/>
                  </a:lnTo>
                  <a:lnTo>
                    <a:pt x="355" y="253"/>
                  </a:lnTo>
                  <a:close/>
                  <a:moveTo>
                    <a:pt x="355" y="273"/>
                  </a:moveTo>
                  <a:lnTo>
                    <a:pt x="365" y="273"/>
                  </a:lnTo>
                  <a:lnTo>
                    <a:pt x="365" y="283"/>
                  </a:lnTo>
                  <a:lnTo>
                    <a:pt x="355" y="283"/>
                  </a:lnTo>
                  <a:lnTo>
                    <a:pt x="355" y="273"/>
                  </a:lnTo>
                  <a:close/>
                  <a:moveTo>
                    <a:pt x="355" y="294"/>
                  </a:moveTo>
                  <a:lnTo>
                    <a:pt x="365" y="294"/>
                  </a:lnTo>
                  <a:lnTo>
                    <a:pt x="365" y="303"/>
                  </a:lnTo>
                  <a:lnTo>
                    <a:pt x="355" y="303"/>
                  </a:lnTo>
                  <a:lnTo>
                    <a:pt x="355" y="294"/>
                  </a:lnTo>
                  <a:close/>
                  <a:moveTo>
                    <a:pt x="355" y="314"/>
                  </a:moveTo>
                  <a:lnTo>
                    <a:pt x="365" y="314"/>
                  </a:lnTo>
                  <a:lnTo>
                    <a:pt x="365" y="324"/>
                  </a:lnTo>
                  <a:lnTo>
                    <a:pt x="355" y="324"/>
                  </a:lnTo>
                  <a:lnTo>
                    <a:pt x="355" y="314"/>
                  </a:lnTo>
                  <a:close/>
                  <a:moveTo>
                    <a:pt x="355" y="333"/>
                  </a:moveTo>
                  <a:lnTo>
                    <a:pt x="365" y="333"/>
                  </a:lnTo>
                  <a:lnTo>
                    <a:pt x="365" y="343"/>
                  </a:lnTo>
                  <a:lnTo>
                    <a:pt x="355" y="343"/>
                  </a:lnTo>
                  <a:lnTo>
                    <a:pt x="355" y="333"/>
                  </a:lnTo>
                  <a:close/>
                  <a:moveTo>
                    <a:pt x="355" y="354"/>
                  </a:moveTo>
                  <a:lnTo>
                    <a:pt x="365" y="354"/>
                  </a:lnTo>
                  <a:lnTo>
                    <a:pt x="365" y="364"/>
                  </a:lnTo>
                  <a:lnTo>
                    <a:pt x="355" y="364"/>
                  </a:lnTo>
                  <a:lnTo>
                    <a:pt x="355" y="354"/>
                  </a:lnTo>
                  <a:close/>
                  <a:moveTo>
                    <a:pt x="355" y="375"/>
                  </a:moveTo>
                  <a:lnTo>
                    <a:pt x="365" y="375"/>
                  </a:lnTo>
                  <a:lnTo>
                    <a:pt x="365" y="384"/>
                  </a:lnTo>
                  <a:lnTo>
                    <a:pt x="355" y="384"/>
                  </a:lnTo>
                  <a:lnTo>
                    <a:pt x="355" y="375"/>
                  </a:lnTo>
                  <a:close/>
                  <a:moveTo>
                    <a:pt x="355" y="395"/>
                  </a:moveTo>
                  <a:lnTo>
                    <a:pt x="365" y="395"/>
                  </a:lnTo>
                  <a:lnTo>
                    <a:pt x="365" y="405"/>
                  </a:lnTo>
                  <a:lnTo>
                    <a:pt x="355" y="405"/>
                  </a:lnTo>
                  <a:lnTo>
                    <a:pt x="355" y="395"/>
                  </a:lnTo>
                  <a:close/>
                  <a:moveTo>
                    <a:pt x="355" y="414"/>
                  </a:moveTo>
                  <a:lnTo>
                    <a:pt x="365" y="414"/>
                  </a:lnTo>
                  <a:lnTo>
                    <a:pt x="365" y="424"/>
                  </a:lnTo>
                  <a:lnTo>
                    <a:pt x="355" y="424"/>
                  </a:lnTo>
                  <a:lnTo>
                    <a:pt x="355" y="414"/>
                  </a:lnTo>
                  <a:close/>
                  <a:moveTo>
                    <a:pt x="355" y="435"/>
                  </a:moveTo>
                  <a:lnTo>
                    <a:pt x="365" y="435"/>
                  </a:lnTo>
                  <a:lnTo>
                    <a:pt x="365" y="444"/>
                  </a:lnTo>
                  <a:lnTo>
                    <a:pt x="355" y="444"/>
                  </a:lnTo>
                  <a:lnTo>
                    <a:pt x="355" y="435"/>
                  </a:lnTo>
                  <a:close/>
                  <a:moveTo>
                    <a:pt x="365" y="455"/>
                  </a:moveTo>
                  <a:lnTo>
                    <a:pt x="365" y="465"/>
                  </a:lnTo>
                  <a:lnTo>
                    <a:pt x="355" y="465"/>
                  </a:lnTo>
                  <a:lnTo>
                    <a:pt x="355" y="455"/>
                  </a:lnTo>
                  <a:lnTo>
                    <a:pt x="365" y="455"/>
                  </a:lnTo>
                  <a:close/>
                  <a:moveTo>
                    <a:pt x="335" y="30"/>
                  </a:moveTo>
                  <a:lnTo>
                    <a:pt x="344" y="30"/>
                  </a:lnTo>
                  <a:lnTo>
                    <a:pt x="344" y="40"/>
                  </a:lnTo>
                  <a:lnTo>
                    <a:pt x="335" y="40"/>
                  </a:lnTo>
                  <a:lnTo>
                    <a:pt x="335" y="30"/>
                  </a:lnTo>
                  <a:close/>
                  <a:moveTo>
                    <a:pt x="335" y="51"/>
                  </a:moveTo>
                  <a:lnTo>
                    <a:pt x="344" y="51"/>
                  </a:lnTo>
                  <a:lnTo>
                    <a:pt x="344" y="61"/>
                  </a:lnTo>
                  <a:lnTo>
                    <a:pt x="335" y="61"/>
                  </a:lnTo>
                  <a:lnTo>
                    <a:pt x="335" y="51"/>
                  </a:lnTo>
                  <a:close/>
                  <a:moveTo>
                    <a:pt x="335" y="72"/>
                  </a:moveTo>
                  <a:lnTo>
                    <a:pt x="344" y="72"/>
                  </a:lnTo>
                  <a:lnTo>
                    <a:pt x="344" y="81"/>
                  </a:lnTo>
                  <a:lnTo>
                    <a:pt x="335" y="81"/>
                  </a:lnTo>
                  <a:lnTo>
                    <a:pt x="335" y="72"/>
                  </a:lnTo>
                  <a:close/>
                  <a:moveTo>
                    <a:pt x="335" y="91"/>
                  </a:moveTo>
                  <a:lnTo>
                    <a:pt x="344" y="91"/>
                  </a:lnTo>
                  <a:lnTo>
                    <a:pt x="344" y="100"/>
                  </a:lnTo>
                  <a:lnTo>
                    <a:pt x="335" y="100"/>
                  </a:lnTo>
                  <a:lnTo>
                    <a:pt x="335" y="91"/>
                  </a:lnTo>
                  <a:close/>
                  <a:moveTo>
                    <a:pt x="335" y="111"/>
                  </a:moveTo>
                  <a:lnTo>
                    <a:pt x="344" y="111"/>
                  </a:lnTo>
                  <a:lnTo>
                    <a:pt x="344" y="121"/>
                  </a:lnTo>
                  <a:lnTo>
                    <a:pt x="335" y="121"/>
                  </a:lnTo>
                  <a:lnTo>
                    <a:pt x="335" y="111"/>
                  </a:lnTo>
                  <a:close/>
                  <a:moveTo>
                    <a:pt x="335" y="132"/>
                  </a:moveTo>
                  <a:lnTo>
                    <a:pt x="344" y="132"/>
                  </a:lnTo>
                  <a:lnTo>
                    <a:pt x="344" y="142"/>
                  </a:lnTo>
                  <a:lnTo>
                    <a:pt x="335" y="142"/>
                  </a:lnTo>
                  <a:lnTo>
                    <a:pt x="335" y="132"/>
                  </a:lnTo>
                  <a:close/>
                  <a:moveTo>
                    <a:pt x="335" y="152"/>
                  </a:moveTo>
                  <a:lnTo>
                    <a:pt x="344" y="152"/>
                  </a:lnTo>
                  <a:lnTo>
                    <a:pt x="344" y="162"/>
                  </a:lnTo>
                  <a:lnTo>
                    <a:pt x="335" y="162"/>
                  </a:lnTo>
                  <a:lnTo>
                    <a:pt x="335" y="152"/>
                  </a:lnTo>
                  <a:close/>
                  <a:moveTo>
                    <a:pt x="335" y="172"/>
                  </a:moveTo>
                  <a:lnTo>
                    <a:pt x="344" y="172"/>
                  </a:lnTo>
                  <a:lnTo>
                    <a:pt x="344" y="181"/>
                  </a:lnTo>
                  <a:lnTo>
                    <a:pt x="335" y="181"/>
                  </a:lnTo>
                  <a:lnTo>
                    <a:pt x="335" y="172"/>
                  </a:lnTo>
                  <a:close/>
                  <a:moveTo>
                    <a:pt x="335" y="192"/>
                  </a:moveTo>
                  <a:lnTo>
                    <a:pt x="344" y="192"/>
                  </a:lnTo>
                  <a:lnTo>
                    <a:pt x="344" y="202"/>
                  </a:lnTo>
                  <a:lnTo>
                    <a:pt x="335" y="202"/>
                  </a:lnTo>
                  <a:lnTo>
                    <a:pt x="335" y="192"/>
                  </a:lnTo>
                  <a:close/>
                  <a:moveTo>
                    <a:pt x="335" y="213"/>
                  </a:moveTo>
                  <a:lnTo>
                    <a:pt x="344" y="213"/>
                  </a:lnTo>
                  <a:lnTo>
                    <a:pt x="344" y="222"/>
                  </a:lnTo>
                  <a:lnTo>
                    <a:pt x="335" y="222"/>
                  </a:lnTo>
                  <a:lnTo>
                    <a:pt x="335" y="213"/>
                  </a:lnTo>
                  <a:close/>
                  <a:moveTo>
                    <a:pt x="335" y="233"/>
                  </a:moveTo>
                  <a:lnTo>
                    <a:pt x="344" y="233"/>
                  </a:lnTo>
                  <a:lnTo>
                    <a:pt x="344" y="243"/>
                  </a:lnTo>
                  <a:lnTo>
                    <a:pt x="335" y="243"/>
                  </a:lnTo>
                  <a:lnTo>
                    <a:pt x="335" y="233"/>
                  </a:lnTo>
                  <a:close/>
                  <a:moveTo>
                    <a:pt x="335" y="253"/>
                  </a:moveTo>
                  <a:lnTo>
                    <a:pt x="344" y="253"/>
                  </a:lnTo>
                  <a:lnTo>
                    <a:pt x="344" y="262"/>
                  </a:lnTo>
                  <a:lnTo>
                    <a:pt x="335" y="262"/>
                  </a:lnTo>
                  <a:lnTo>
                    <a:pt x="335" y="253"/>
                  </a:lnTo>
                  <a:close/>
                  <a:moveTo>
                    <a:pt x="335" y="273"/>
                  </a:moveTo>
                  <a:lnTo>
                    <a:pt x="344" y="273"/>
                  </a:lnTo>
                  <a:lnTo>
                    <a:pt x="344" y="283"/>
                  </a:lnTo>
                  <a:lnTo>
                    <a:pt x="335" y="283"/>
                  </a:lnTo>
                  <a:lnTo>
                    <a:pt x="335" y="273"/>
                  </a:lnTo>
                  <a:close/>
                  <a:moveTo>
                    <a:pt x="335" y="294"/>
                  </a:moveTo>
                  <a:lnTo>
                    <a:pt x="344" y="294"/>
                  </a:lnTo>
                  <a:lnTo>
                    <a:pt x="344" y="303"/>
                  </a:lnTo>
                  <a:lnTo>
                    <a:pt x="335" y="303"/>
                  </a:lnTo>
                  <a:lnTo>
                    <a:pt x="335" y="294"/>
                  </a:lnTo>
                  <a:close/>
                  <a:moveTo>
                    <a:pt x="335" y="314"/>
                  </a:moveTo>
                  <a:lnTo>
                    <a:pt x="344" y="314"/>
                  </a:lnTo>
                  <a:lnTo>
                    <a:pt x="344" y="324"/>
                  </a:lnTo>
                  <a:lnTo>
                    <a:pt x="335" y="324"/>
                  </a:lnTo>
                  <a:lnTo>
                    <a:pt x="335" y="314"/>
                  </a:lnTo>
                  <a:close/>
                  <a:moveTo>
                    <a:pt x="335" y="333"/>
                  </a:moveTo>
                  <a:lnTo>
                    <a:pt x="344" y="333"/>
                  </a:lnTo>
                  <a:lnTo>
                    <a:pt x="344" y="343"/>
                  </a:lnTo>
                  <a:lnTo>
                    <a:pt x="335" y="343"/>
                  </a:lnTo>
                  <a:lnTo>
                    <a:pt x="335" y="333"/>
                  </a:lnTo>
                  <a:close/>
                  <a:moveTo>
                    <a:pt x="335" y="354"/>
                  </a:moveTo>
                  <a:lnTo>
                    <a:pt x="344" y="354"/>
                  </a:lnTo>
                  <a:lnTo>
                    <a:pt x="344" y="364"/>
                  </a:lnTo>
                  <a:lnTo>
                    <a:pt x="335" y="364"/>
                  </a:lnTo>
                  <a:lnTo>
                    <a:pt x="335" y="354"/>
                  </a:lnTo>
                  <a:close/>
                  <a:moveTo>
                    <a:pt x="335" y="375"/>
                  </a:moveTo>
                  <a:lnTo>
                    <a:pt x="344" y="375"/>
                  </a:lnTo>
                  <a:lnTo>
                    <a:pt x="344" y="384"/>
                  </a:lnTo>
                  <a:lnTo>
                    <a:pt x="335" y="384"/>
                  </a:lnTo>
                  <a:lnTo>
                    <a:pt x="335" y="375"/>
                  </a:lnTo>
                  <a:close/>
                  <a:moveTo>
                    <a:pt x="335" y="395"/>
                  </a:moveTo>
                  <a:lnTo>
                    <a:pt x="344" y="395"/>
                  </a:lnTo>
                  <a:lnTo>
                    <a:pt x="344" y="405"/>
                  </a:lnTo>
                  <a:lnTo>
                    <a:pt x="335" y="405"/>
                  </a:lnTo>
                  <a:lnTo>
                    <a:pt x="335" y="395"/>
                  </a:lnTo>
                  <a:close/>
                  <a:moveTo>
                    <a:pt x="335" y="414"/>
                  </a:moveTo>
                  <a:lnTo>
                    <a:pt x="344" y="414"/>
                  </a:lnTo>
                  <a:lnTo>
                    <a:pt x="344" y="424"/>
                  </a:lnTo>
                  <a:lnTo>
                    <a:pt x="335" y="424"/>
                  </a:lnTo>
                  <a:lnTo>
                    <a:pt x="335" y="414"/>
                  </a:lnTo>
                  <a:close/>
                  <a:moveTo>
                    <a:pt x="335" y="435"/>
                  </a:moveTo>
                  <a:lnTo>
                    <a:pt x="344" y="435"/>
                  </a:lnTo>
                  <a:lnTo>
                    <a:pt x="344" y="444"/>
                  </a:lnTo>
                  <a:lnTo>
                    <a:pt x="335" y="444"/>
                  </a:lnTo>
                  <a:lnTo>
                    <a:pt x="335" y="435"/>
                  </a:lnTo>
                  <a:close/>
                  <a:moveTo>
                    <a:pt x="344" y="455"/>
                  </a:moveTo>
                  <a:lnTo>
                    <a:pt x="344" y="465"/>
                  </a:lnTo>
                  <a:lnTo>
                    <a:pt x="335" y="465"/>
                  </a:lnTo>
                  <a:lnTo>
                    <a:pt x="335" y="455"/>
                  </a:lnTo>
                  <a:lnTo>
                    <a:pt x="344" y="455"/>
                  </a:lnTo>
                  <a:close/>
                  <a:moveTo>
                    <a:pt x="314" y="30"/>
                  </a:moveTo>
                  <a:lnTo>
                    <a:pt x="324" y="30"/>
                  </a:lnTo>
                  <a:lnTo>
                    <a:pt x="324" y="40"/>
                  </a:lnTo>
                  <a:lnTo>
                    <a:pt x="314" y="40"/>
                  </a:lnTo>
                  <a:lnTo>
                    <a:pt x="314" y="30"/>
                  </a:lnTo>
                  <a:close/>
                  <a:moveTo>
                    <a:pt x="314" y="51"/>
                  </a:moveTo>
                  <a:lnTo>
                    <a:pt x="324" y="51"/>
                  </a:lnTo>
                  <a:lnTo>
                    <a:pt x="324" y="61"/>
                  </a:lnTo>
                  <a:lnTo>
                    <a:pt x="314" y="61"/>
                  </a:lnTo>
                  <a:lnTo>
                    <a:pt x="314" y="51"/>
                  </a:lnTo>
                  <a:close/>
                  <a:moveTo>
                    <a:pt x="314" y="72"/>
                  </a:moveTo>
                  <a:lnTo>
                    <a:pt x="324" y="72"/>
                  </a:lnTo>
                  <a:lnTo>
                    <a:pt x="324" y="81"/>
                  </a:lnTo>
                  <a:lnTo>
                    <a:pt x="314" y="81"/>
                  </a:lnTo>
                  <a:lnTo>
                    <a:pt x="314" y="72"/>
                  </a:lnTo>
                  <a:close/>
                  <a:moveTo>
                    <a:pt x="314" y="91"/>
                  </a:moveTo>
                  <a:lnTo>
                    <a:pt x="324" y="91"/>
                  </a:lnTo>
                  <a:lnTo>
                    <a:pt x="324" y="100"/>
                  </a:lnTo>
                  <a:lnTo>
                    <a:pt x="314" y="100"/>
                  </a:lnTo>
                  <a:lnTo>
                    <a:pt x="314" y="91"/>
                  </a:lnTo>
                  <a:close/>
                  <a:moveTo>
                    <a:pt x="314" y="111"/>
                  </a:moveTo>
                  <a:lnTo>
                    <a:pt x="324" y="111"/>
                  </a:lnTo>
                  <a:lnTo>
                    <a:pt x="324" y="121"/>
                  </a:lnTo>
                  <a:lnTo>
                    <a:pt x="314" y="121"/>
                  </a:lnTo>
                  <a:lnTo>
                    <a:pt x="314" y="111"/>
                  </a:lnTo>
                  <a:close/>
                  <a:moveTo>
                    <a:pt x="314" y="132"/>
                  </a:moveTo>
                  <a:lnTo>
                    <a:pt x="324" y="132"/>
                  </a:lnTo>
                  <a:lnTo>
                    <a:pt x="324" y="142"/>
                  </a:lnTo>
                  <a:lnTo>
                    <a:pt x="314" y="142"/>
                  </a:lnTo>
                  <a:lnTo>
                    <a:pt x="314" y="132"/>
                  </a:lnTo>
                  <a:close/>
                  <a:moveTo>
                    <a:pt x="314" y="152"/>
                  </a:moveTo>
                  <a:lnTo>
                    <a:pt x="324" y="152"/>
                  </a:lnTo>
                  <a:lnTo>
                    <a:pt x="324" y="162"/>
                  </a:lnTo>
                  <a:lnTo>
                    <a:pt x="314" y="162"/>
                  </a:lnTo>
                  <a:lnTo>
                    <a:pt x="314" y="152"/>
                  </a:lnTo>
                  <a:close/>
                  <a:moveTo>
                    <a:pt x="314" y="172"/>
                  </a:moveTo>
                  <a:lnTo>
                    <a:pt x="324" y="172"/>
                  </a:lnTo>
                  <a:lnTo>
                    <a:pt x="324" y="181"/>
                  </a:lnTo>
                  <a:lnTo>
                    <a:pt x="314" y="181"/>
                  </a:lnTo>
                  <a:lnTo>
                    <a:pt x="314" y="172"/>
                  </a:lnTo>
                  <a:close/>
                  <a:moveTo>
                    <a:pt x="314" y="192"/>
                  </a:moveTo>
                  <a:lnTo>
                    <a:pt x="324" y="192"/>
                  </a:lnTo>
                  <a:lnTo>
                    <a:pt x="324" y="202"/>
                  </a:lnTo>
                  <a:lnTo>
                    <a:pt x="314" y="202"/>
                  </a:lnTo>
                  <a:lnTo>
                    <a:pt x="314" y="192"/>
                  </a:lnTo>
                  <a:close/>
                  <a:moveTo>
                    <a:pt x="314" y="213"/>
                  </a:moveTo>
                  <a:lnTo>
                    <a:pt x="324" y="213"/>
                  </a:lnTo>
                  <a:lnTo>
                    <a:pt x="324" y="222"/>
                  </a:lnTo>
                  <a:lnTo>
                    <a:pt x="314" y="222"/>
                  </a:lnTo>
                  <a:lnTo>
                    <a:pt x="314" y="213"/>
                  </a:lnTo>
                  <a:close/>
                  <a:moveTo>
                    <a:pt x="314" y="233"/>
                  </a:moveTo>
                  <a:lnTo>
                    <a:pt x="324" y="233"/>
                  </a:lnTo>
                  <a:lnTo>
                    <a:pt x="324" y="243"/>
                  </a:lnTo>
                  <a:lnTo>
                    <a:pt x="314" y="243"/>
                  </a:lnTo>
                  <a:lnTo>
                    <a:pt x="314" y="233"/>
                  </a:lnTo>
                  <a:close/>
                  <a:moveTo>
                    <a:pt x="314" y="253"/>
                  </a:moveTo>
                  <a:lnTo>
                    <a:pt x="324" y="253"/>
                  </a:lnTo>
                  <a:lnTo>
                    <a:pt x="324" y="262"/>
                  </a:lnTo>
                  <a:lnTo>
                    <a:pt x="314" y="262"/>
                  </a:lnTo>
                  <a:lnTo>
                    <a:pt x="314" y="253"/>
                  </a:lnTo>
                  <a:close/>
                  <a:moveTo>
                    <a:pt x="314" y="273"/>
                  </a:moveTo>
                  <a:lnTo>
                    <a:pt x="324" y="273"/>
                  </a:lnTo>
                  <a:lnTo>
                    <a:pt x="324" y="283"/>
                  </a:lnTo>
                  <a:lnTo>
                    <a:pt x="314" y="283"/>
                  </a:lnTo>
                  <a:lnTo>
                    <a:pt x="314" y="273"/>
                  </a:lnTo>
                  <a:close/>
                  <a:moveTo>
                    <a:pt x="314" y="294"/>
                  </a:moveTo>
                  <a:lnTo>
                    <a:pt x="324" y="294"/>
                  </a:lnTo>
                  <a:lnTo>
                    <a:pt x="324" y="303"/>
                  </a:lnTo>
                  <a:lnTo>
                    <a:pt x="314" y="303"/>
                  </a:lnTo>
                  <a:lnTo>
                    <a:pt x="314" y="294"/>
                  </a:lnTo>
                  <a:close/>
                  <a:moveTo>
                    <a:pt x="314" y="314"/>
                  </a:moveTo>
                  <a:lnTo>
                    <a:pt x="324" y="314"/>
                  </a:lnTo>
                  <a:lnTo>
                    <a:pt x="324" y="324"/>
                  </a:lnTo>
                  <a:lnTo>
                    <a:pt x="314" y="324"/>
                  </a:lnTo>
                  <a:lnTo>
                    <a:pt x="314" y="314"/>
                  </a:lnTo>
                  <a:close/>
                  <a:moveTo>
                    <a:pt x="314" y="333"/>
                  </a:moveTo>
                  <a:lnTo>
                    <a:pt x="324" y="333"/>
                  </a:lnTo>
                  <a:lnTo>
                    <a:pt x="324" y="343"/>
                  </a:lnTo>
                  <a:lnTo>
                    <a:pt x="314" y="343"/>
                  </a:lnTo>
                  <a:lnTo>
                    <a:pt x="314" y="333"/>
                  </a:lnTo>
                  <a:close/>
                  <a:moveTo>
                    <a:pt x="314" y="354"/>
                  </a:moveTo>
                  <a:lnTo>
                    <a:pt x="324" y="354"/>
                  </a:lnTo>
                  <a:lnTo>
                    <a:pt x="324" y="364"/>
                  </a:lnTo>
                  <a:lnTo>
                    <a:pt x="314" y="364"/>
                  </a:lnTo>
                  <a:lnTo>
                    <a:pt x="314" y="354"/>
                  </a:lnTo>
                  <a:close/>
                  <a:moveTo>
                    <a:pt x="314" y="375"/>
                  </a:moveTo>
                  <a:lnTo>
                    <a:pt x="324" y="375"/>
                  </a:lnTo>
                  <a:lnTo>
                    <a:pt x="324" y="384"/>
                  </a:lnTo>
                  <a:lnTo>
                    <a:pt x="314" y="384"/>
                  </a:lnTo>
                  <a:lnTo>
                    <a:pt x="314" y="375"/>
                  </a:lnTo>
                  <a:close/>
                  <a:moveTo>
                    <a:pt x="314" y="395"/>
                  </a:moveTo>
                  <a:lnTo>
                    <a:pt x="324" y="395"/>
                  </a:lnTo>
                  <a:lnTo>
                    <a:pt x="324" y="405"/>
                  </a:lnTo>
                  <a:lnTo>
                    <a:pt x="314" y="405"/>
                  </a:lnTo>
                  <a:lnTo>
                    <a:pt x="314" y="395"/>
                  </a:lnTo>
                  <a:close/>
                  <a:moveTo>
                    <a:pt x="314" y="414"/>
                  </a:moveTo>
                  <a:lnTo>
                    <a:pt x="324" y="414"/>
                  </a:lnTo>
                  <a:lnTo>
                    <a:pt x="324" y="424"/>
                  </a:lnTo>
                  <a:lnTo>
                    <a:pt x="314" y="424"/>
                  </a:lnTo>
                  <a:lnTo>
                    <a:pt x="314" y="414"/>
                  </a:lnTo>
                  <a:close/>
                  <a:moveTo>
                    <a:pt x="314" y="435"/>
                  </a:moveTo>
                  <a:lnTo>
                    <a:pt x="324" y="435"/>
                  </a:lnTo>
                  <a:lnTo>
                    <a:pt x="324" y="444"/>
                  </a:lnTo>
                  <a:lnTo>
                    <a:pt x="314" y="444"/>
                  </a:lnTo>
                  <a:lnTo>
                    <a:pt x="314" y="435"/>
                  </a:lnTo>
                  <a:close/>
                  <a:moveTo>
                    <a:pt x="324" y="455"/>
                  </a:moveTo>
                  <a:lnTo>
                    <a:pt x="324" y="465"/>
                  </a:lnTo>
                  <a:lnTo>
                    <a:pt x="314" y="465"/>
                  </a:lnTo>
                  <a:lnTo>
                    <a:pt x="314" y="455"/>
                  </a:lnTo>
                  <a:lnTo>
                    <a:pt x="324" y="455"/>
                  </a:lnTo>
                  <a:close/>
                  <a:moveTo>
                    <a:pt x="293" y="30"/>
                  </a:moveTo>
                  <a:lnTo>
                    <a:pt x="303" y="30"/>
                  </a:lnTo>
                  <a:lnTo>
                    <a:pt x="303" y="40"/>
                  </a:lnTo>
                  <a:lnTo>
                    <a:pt x="293" y="40"/>
                  </a:lnTo>
                  <a:lnTo>
                    <a:pt x="293" y="30"/>
                  </a:lnTo>
                  <a:close/>
                  <a:moveTo>
                    <a:pt x="293" y="51"/>
                  </a:moveTo>
                  <a:lnTo>
                    <a:pt x="303" y="51"/>
                  </a:lnTo>
                  <a:lnTo>
                    <a:pt x="303" y="61"/>
                  </a:lnTo>
                  <a:lnTo>
                    <a:pt x="293" y="61"/>
                  </a:lnTo>
                  <a:lnTo>
                    <a:pt x="293" y="51"/>
                  </a:lnTo>
                  <a:close/>
                  <a:moveTo>
                    <a:pt x="293" y="72"/>
                  </a:moveTo>
                  <a:lnTo>
                    <a:pt x="303" y="72"/>
                  </a:lnTo>
                  <a:lnTo>
                    <a:pt x="303" y="81"/>
                  </a:lnTo>
                  <a:lnTo>
                    <a:pt x="293" y="81"/>
                  </a:lnTo>
                  <a:lnTo>
                    <a:pt x="293" y="72"/>
                  </a:lnTo>
                  <a:close/>
                  <a:moveTo>
                    <a:pt x="293" y="91"/>
                  </a:moveTo>
                  <a:lnTo>
                    <a:pt x="303" y="91"/>
                  </a:lnTo>
                  <a:lnTo>
                    <a:pt x="303" y="100"/>
                  </a:lnTo>
                  <a:lnTo>
                    <a:pt x="293" y="100"/>
                  </a:lnTo>
                  <a:lnTo>
                    <a:pt x="293" y="91"/>
                  </a:lnTo>
                  <a:close/>
                  <a:moveTo>
                    <a:pt x="293" y="111"/>
                  </a:moveTo>
                  <a:lnTo>
                    <a:pt x="303" y="111"/>
                  </a:lnTo>
                  <a:lnTo>
                    <a:pt x="303" y="121"/>
                  </a:lnTo>
                  <a:lnTo>
                    <a:pt x="293" y="121"/>
                  </a:lnTo>
                  <a:lnTo>
                    <a:pt x="293" y="111"/>
                  </a:lnTo>
                  <a:close/>
                  <a:moveTo>
                    <a:pt x="293" y="132"/>
                  </a:moveTo>
                  <a:lnTo>
                    <a:pt x="303" y="132"/>
                  </a:lnTo>
                  <a:lnTo>
                    <a:pt x="303" y="142"/>
                  </a:lnTo>
                  <a:lnTo>
                    <a:pt x="293" y="142"/>
                  </a:lnTo>
                  <a:lnTo>
                    <a:pt x="293" y="132"/>
                  </a:lnTo>
                  <a:close/>
                  <a:moveTo>
                    <a:pt x="293" y="152"/>
                  </a:moveTo>
                  <a:lnTo>
                    <a:pt x="303" y="152"/>
                  </a:lnTo>
                  <a:lnTo>
                    <a:pt x="303" y="162"/>
                  </a:lnTo>
                  <a:lnTo>
                    <a:pt x="293" y="162"/>
                  </a:lnTo>
                  <a:lnTo>
                    <a:pt x="293" y="152"/>
                  </a:lnTo>
                  <a:close/>
                  <a:moveTo>
                    <a:pt x="293" y="172"/>
                  </a:moveTo>
                  <a:lnTo>
                    <a:pt x="303" y="172"/>
                  </a:lnTo>
                  <a:lnTo>
                    <a:pt x="303" y="181"/>
                  </a:lnTo>
                  <a:lnTo>
                    <a:pt x="293" y="181"/>
                  </a:lnTo>
                  <a:lnTo>
                    <a:pt x="293" y="172"/>
                  </a:lnTo>
                  <a:close/>
                  <a:moveTo>
                    <a:pt x="293" y="192"/>
                  </a:moveTo>
                  <a:lnTo>
                    <a:pt x="303" y="192"/>
                  </a:lnTo>
                  <a:lnTo>
                    <a:pt x="303" y="202"/>
                  </a:lnTo>
                  <a:lnTo>
                    <a:pt x="293" y="202"/>
                  </a:lnTo>
                  <a:lnTo>
                    <a:pt x="293" y="192"/>
                  </a:lnTo>
                  <a:close/>
                  <a:moveTo>
                    <a:pt x="293" y="213"/>
                  </a:moveTo>
                  <a:lnTo>
                    <a:pt x="303" y="213"/>
                  </a:lnTo>
                  <a:lnTo>
                    <a:pt x="303" y="222"/>
                  </a:lnTo>
                  <a:lnTo>
                    <a:pt x="293" y="222"/>
                  </a:lnTo>
                  <a:lnTo>
                    <a:pt x="293" y="213"/>
                  </a:lnTo>
                  <a:close/>
                  <a:moveTo>
                    <a:pt x="293" y="233"/>
                  </a:moveTo>
                  <a:lnTo>
                    <a:pt x="303" y="233"/>
                  </a:lnTo>
                  <a:lnTo>
                    <a:pt x="303" y="243"/>
                  </a:lnTo>
                  <a:lnTo>
                    <a:pt x="293" y="243"/>
                  </a:lnTo>
                  <a:lnTo>
                    <a:pt x="293" y="233"/>
                  </a:lnTo>
                  <a:close/>
                  <a:moveTo>
                    <a:pt x="293" y="253"/>
                  </a:moveTo>
                  <a:lnTo>
                    <a:pt x="303" y="253"/>
                  </a:lnTo>
                  <a:lnTo>
                    <a:pt x="303" y="262"/>
                  </a:lnTo>
                  <a:lnTo>
                    <a:pt x="293" y="262"/>
                  </a:lnTo>
                  <a:lnTo>
                    <a:pt x="293" y="253"/>
                  </a:lnTo>
                  <a:close/>
                  <a:moveTo>
                    <a:pt x="293" y="273"/>
                  </a:moveTo>
                  <a:lnTo>
                    <a:pt x="303" y="273"/>
                  </a:lnTo>
                  <a:lnTo>
                    <a:pt x="303" y="283"/>
                  </a:lnTo>
                  <a:lnTo>
                    <a:pt x="293" y="283"/>
                  </a:lnTo>
                  <a:lnTo>
                    <a:pt x="293" y="273"/>
                  </a:lnTo>
                  <a:close/>
                  <a:moveTo>
                    <a:pt x="293" y="294"/>
                  </a:moveTo>
                  <a:lnTo>
                    <a:pt x="303" y="294"/>
                  </a:lnTo>
                  <a:lnTo>
                    <a:pt x="303" y="303"/>
                  </a:lnTo>
                  <a:lnTo>
                    <a:pt x="293" y="303"/>
                  </a:lnTo>
                  <a:lnTo>
                    <a:pt x="293" y="294"/>
                  </a:lnTo>
                  <a:close/>
                  <a:moveTo>
                    <a:pt x="293" y="314"/>
                  </a:moveTo>
                  <a:lnTo>
                    <a:pt x="303" y="314"/>
                  </a:lnTo>
                  <a:lnTo>
                    <a:pt x="303" y="324"/>
                  </a:lnTo>
                  <a:lnTo>
                    <a:pt x="293" y="324"/>
                  </a:lnTo>
                  <a:lnTo>
                    <a:pt x="293" y="314"/>
                  </a:lnTo>
                  <a:close/>
                  <a:moveTo>
                    <a:pt x="293" y="333"/>
                  </a:moveTo>
                  <a:lnTo>
                    <a:pt x="303" y="333"/>
                  </a:lnTo>
                  <a:lnTo>
                    <a:pt x="303" y="343"/>
                  </a:lnTo>
                  <a:lnTo>
                    <a:pt x="293" y="343"/>
                  </a:lnTo>
                  <a:lnTo>
                    <a:pt x="293" y="333"/>
                  </a:lnTo>
                  <a:close/>
                  <a:moveTo>
                    <a:pt x="293" y="354"/>
                  </a:moveTo>
                  <a:lnTo>
                    <a:pt x="303" y="354"/>
                  </a:lnTo>
                  <a:lnTo>
                    <a:pt x="303" y="364"/>
                  </a:lnTo>
                  <a:lnTo>
                    <a:pt x="293" y="364"/>
                  </a:lnTo>
                  <a:lnTo>
                    <a:pt x="293" y="354"/>
                  </a:lnTo>
                  <a:close/>
                  <a:moveTo>
                    <a:pt x="293" y="375"/>
                  </a:moveTo>
                  <a:lnTo>
                    <a:pt x="303" y="375"/>
                  </a:lnTo>
                  <a:lnTo>
                    <a:pt x="303" y="384"/>
                  </a:lnTo>
                  <a:lnTo>
                    <a:pt x="293" y="384"/>
                  </a:lnTo>
                  <a:lnTo>
                    <a:pt x="293" y="375"/>
                  </a:lnTo>
                  <a:close/>
                  <a:moveTo>
                    <a:pt x="293" y="395"/>
                  </a:moveTo>
                  <a:lnTo>
                    <a:pt x="303" y="395"/>
                  </a:lnTo>
                  <a:lnTo>
                    <a:pt x="303" y="405"/>
                  </a:lnTo>
                  <a:lnTo>
                    <a:pt x="293" y="405"/>
                  </a:lnTo>
                  <a:lnTo>
                    <a:pt x="293" y="395"/>
                  </a:lnTo>
                  <a:close/>
                  <a:moveTo>
                    <a:pt x="293" y="414"/>
                  </a:moveTo>
                  <a:lnTo>
                    <a:pt x="303" y="414"/>
                  </a:lnTo>
                  <a:lnTo>
                    <a:pt x="303" y="424"/>
                  </a:lnTo>
                  <a:lnTo>
                    <a:pt x="293" y="424"/>
                  </a:lnTo>
                  <a:lnTo>
                    <a:pt x="293" y="414"/>
                  </a:lnTo>
                  <a:close/>
                  <a:moveTo>
                    <a:pt x="293" y="435"/>
                  </a:moveTo>
                  <a:lnTo>
                    <a:pt x="303" y="435"/>
                  </a:lnTo>
                  <a:lnTo>
                    <a:pt x="303" y="444"/>
                  </a:lnTo>
                  <a:lnTo>
                    <a:pt x="293" y="444"/>
                  </a:lnTo>
                  <a:lnTo>
                    <a:pt x="293" y="435"/>
                  </a:lnTo>
                  <a:close/>
                  <a:moveTo>
                    <a:pt x="303" y="455"/>
                  </a:moveTo>
                  <a:lnTo>
                    <a:pt x="303" y="465"/>
                  </a:lnTo>
                  <a:lnTo>
                    <a:pt x="293" y="465"/>
                  </a:lnTo>
                  <a:lnTo>
                    <a:pt x="293" y="455"/>
                  </a:lnTo>
                  <a:lnTo>
                    <a:pt x="303" y="455"/>
                  </a:lnTo>
                  <a:close/>
                  <a:moveTo>
                    <a:pt x="274" y="30"/>
                  </a:moveTo>
                  <a:lnTo>
                    <a:pt x="284" y="30"/>
                  </a:lnTo>
                  <a:lnTo>
                    <a:pt x="284" y="40"/>
                  </a:lnTo>
                  <a:lnTo>
                    <a:pt x="274" y="40"/>
                  </a:lnTo>
                  <a:lnTo>
                    <a:pt x="274" y="30"/>
                  </a:lnTo>
                  <a:close/>
                  <a:moveTo>
                    <a:pt x="274" y="51"/>
                  </a:moveTo>
                  <a:lnTo>
                    <a:pt x="284" y="51"/>
                  </a:lnTo>
                  <a:lnTo>
                    <a:pt x="284" y="61"/>
                  </a:lnTo>
                  <a:lnTo>
                    <a:pt x="274" y="61"/>
                  </a:lnTo>
                  <a:lnTo>
                    <a:pt x="274" y="51"/>
                  </a:lnTo>
                  <a:close/>
                  <a:moveTo>
                    <a:pt x="274" y="72"/>
                  </a:moveTo>
                  <a:lnTo>
                    <a:pt x="284" y="72"/>
                  </a:lnTo>
                  <a:lnTo>
                    <a:pt x="284" y="81"/>
                  </a:lnTo>
                  <a:lnTo>
                    <a:pt x="274" y="81"/>
                  </a:lnTo>
                  <a:lnTo>
                    <a:pt x="274" y="72"/>
                  </a:lnTo>
                  <a:close/>
                  <a:moveTo>
                    <a:pt x="274" y="91"/>
                  </a:moveTo>
                  <a:lnTo>
                    <a:pt x="284" y="91"/>
                  </a:lnTo>
                  <a:lnTo>
                    <a:pt x="284" y="100"/>
                  </a:lnTo>
                  <a:lnTo>
                    <a:pt x="274" y="100"/>
                  </a:lnTo>
                  <a:lnTo>
                    <a:pt x="274" y="91"/>
                  </a:lnTo>
                  <a:close/>
                  <a:moveTo>
                    <a:pt x="274" y="111"/>
                  </a:moveTo>
                  <a:lnTo>
                    <a:pt x="284" y="111"/>
                  </a:lnTo>
                  <a:lnTo>
                    <a:pt x="284" y="121"/>
                  </a:lnTo>
                  <a:lnTo>
                    <a:pt x="274" y="121"/>
                  </a:lnTo>
                  <a:lnTo>
                    <a:pt x="274" y="111"/>
                  </a:lnTo>
                  <a:close/>
                  <a:moveTo>
                    <a:pt x="274" y="132"/>
                  </a:moveTo>
                  <a:lnTo>
                    <a:pt x="284" y="132"/>
                  </a:lnTo>
                  <a:lnTo>
                    <a:pt x="284" y="142"/>
                  </a:lnTo>
                  <a:lnTo>
                    <a:pt x="274" y="142"/>
                  </a:lnTo>
                  <a:lnTo>
                    <a:pt x="274" y="132"/>
                  </a:lnTo>
                  <a:close/>
                  <a:moveTo>
                    <a:pt x="274" y="152"/>
                  </a:moveTo>
                  <a:lnTo>
                    <a:pt x="284" y="152"/>
                  </a:lnTo>
                  <a:lnTo>
                    <a:pt x="284" y="162"/>
                  </a:lnTo>
                  <a:lnTo>
                    <a:pt x="274" y="162"/>
                  </a:lnTo>
                  <a:lnTo>
                    <a:pt x="274" y="152"/>
                  </a:lnTo>
                  <a:close/>
                  <a:moveTo>
                    <a:pt x="274" y="172"/>
                  </a:moveTo>
                  <a:lnTo>
                    <a:pt x="284" y="172"/>
                  </a:lnTo>
                  <a:lnTo>
                    <a:pt x="284" y="181"/>
                  </a:lnTo>
                  <a:lnTo>
                    <a:pt x="274" y="181"/>
                  </a:lnTo>
                  <a:lnTo>
                    <a:pt x="274" y="172"/>
                  </a:lnTo>
                  <a:close/>
                  <a:moveTo>
                    <a:pt x="274" y="192"/>
                  </a:moveTo>
                  <a:lnTo>
                    <a:pt x="284" y="192"/>
                  </a:lnTo>
                  <a:lnTo>
                    <a:pt x="284" y="202"/>
                  </a:lnTo>
                  <a:lnTo>
                    <a:pt x="274" y="202"/>
                  </a:lnTo>
                  <a:lnTo>
                    <a:pt x="274" y="192"/>
                  </a:lnTo>
                  <a:close/>
                  <a:moveTo>
                    <a:pt x="274" y="213"/>
                  </a:moveTo>
                  <a:lnTo>
                    <a:pt x="284" y="213"/>
                  </a:lnTo>
                  <a:lnTo>
                    <a:pt x="284" y="222"/>
                  </a:lnTo>
                  <a:lnTo>
                    <a:pt x="274" y="222"/>
                  </a:lnTo>
                  <a:lnTo>
                    <a:pt x="274" y="213"/>
                  </a:lnTo>
                  <a:close/>
                  <a:moveTo>
                    <a:pt x="274" y="233"/>
                  </a:moveTo>
                  <a:lnTo>
                    <a:pt x="284" y="233"/>
                  </a:lnTo>
                  <a:lnTo>
                    <a:pt x="284" y="243"/>
                  </a:lnTo>
                  <a:lnTo>
                    <a:pt x="274" y="243"/>
                  </a:lnTo>
                  <a:lnTo>
                    <a:pt x="274" y="233"/>
                  </a:lnTo>
                  <a:close/>
                  <a:moveTo>
                    <a:pt x="274" y="253"/>
                  </a:moveTo>
                  <a:lnTo>
                    <a:pt x="284" y="253"/>
                  </a:lnTo>
                  <a:lnTo>
                    <a:pt x="284" y="262"/>
                  </a:lnTo>
                  <a:lnTo>
                    <a:pt x="274" y="262"/>
                  </a:lnTo>
                  <a:lnTo>
                    <a:pt x="274" y="253"/>
                  </a:lnTo>
                  <a:close/>
                  <a:moveTo>
                    <a:pt x="274" y="273"/>
                  </a:moveTo>
                  <a:lnTo>
                    <a:pt x="284" y="273"/>
                  </a:lnTo>
                  <a:lnTo>
                    <a:pt x="284" y="283"/>
                  </a:lnTo>
                  <a:lnTo>
                    <a:pt x="274" y="283"/>
                  </a:lnTo>
                  <a:lnTo>
                    <a:pt x="274" y="273"/>
                  </a:lnTo>
                  <a:close/>
                  <a:moveTo>
                    <a:pt x="274" y="294"/>
                  </a:moveTo>
                  <a:lnTo>
                    <a:pt x="284" y="294"/>
                  </a:lnTo>
                  <a:lnTo>
                    <a:pt x="284" y="303"/>
                  </a:lnTo>
                  <a:lnTo>
                    <a:pt x="274" y="303"/>
                  </a:lnTo>
                  <a:lnTo>
                    <a:pt x="274" y="294"/>
                  </a:lnTo>
                  <a:close/>
                  <a:moveTo>
                    <a:pt x="274" y="314"/>
                  </a:moveTo>
                  <a:lnTo>
                    <a:pt x="284" y="314"/>
                  </a:lnTo>
                  <a:lnTo>
                    <a:pt x="284" y="324"/>
                  </a:lnTo>
                  <a:lnTo>
                    <a:pt x="274" y="324"/>
                  </a:lnTo>
                  <a:lnTo>
                    <a:pt x="274" y="314"/>
                  </a:lnTo>
                  <a:close/>
                  <a:moveTo>
                    <a:pt x="274" y="333"/>
                  </a:moveTo>
                  <a:lnTo>
                    <a:pt x="284" y="333"/>
                  </a:lnTo>
                  <a:lnTo>
                    <a:pt x="284" y="343"/>
                  </a:lnTo>
                  <a:lnTo>
                    <a:pt x="274" y="343"/>
                  </a:lnTo>
                  <a:lnTo>
                    <a:pt x="274" y="333"/>
                  </a:lnTo>
                  <a:close/>
                  <a:moveTo>
                    <a:pt x="274" y="354"/>
                  </a:moveTo>
                  <a:lnTo>
                    <a:pt x="284" y="354"/>
                  </a:lnTo>
                  <a:lnTo>
                    <a:pt x="284" y="364"/>
                  </a:lnTo>
                  <a:lnTo>
                    <a:pt x="274" y="364"/>
                  </a:lnTo>
                  <a:lnTo>
                    <a:pt x="274" y="354"/>
                  </a:lnTo>
                  <a:close/>
                  <a:moveTo>
                    <a:pt x="274" y="375"/>
                  </a:moveTo>
                  <a:lnTo>
                    <a:pt x="284" y="375"/>
                  </a:lnTo>
                  <a:lnTo>
                    <a:pt x="284" y="384"/>
                  </a:lnTo>
                  <a:lnTo>
                    <a:pt x="274" y="384"/>
                  </a:lnTo>
                  <a:lnTo>
                    <a:pt x="274" y="375"/>
                  </a:lnTo>
                  <a:close/>
                  <a:moveTo>
                    <a:pt x="274" y="395"/>
                  </a:moveTo>
                  <a:lnTo>
                    <a:pt x="284" y="395"/>
                  </a:lnTo>
                  <a:lnTo>
                    <a:pt x="284" y="405"/>
                  </a:lnTo>
                  <a:lnTo>
                    <a:pt x="274" y="405"/>
                  </a:lnTo>
                  <a:lnTo>
                    <a:pt x="274" y="395"/>
                  </a:lnTo>
                  <a:close/>
                  <a:moveTo>
                    <a:pt x="274" y="414"/>
                  </a:moveTo>
                  <a:lnTo>
                    <a:pt x="284" y="414"/>
                  </a:lnTo>
                  <a:lnTo>
                    <a:pt x="284" y="424"/>
                  </a:lnTo>
                  <a:lnTo>
                    <a:pt x="274" y="424"/>
                  </a:lnTo>
                  <a:lnTo>
                    <a:pt x="274" y="414"/>
                  </a:lnTo>
                  <a:close/>
                  <a:moveTo>
                    <a:pt x="274" y="435"/>
                  </a:moveTo>
                  <a:lnTo>
                    <a:pt x="284" y="435"/>
                  </a:lnTo>
                  <a:lnTo>
                    <a:pt x="284" y="444"/>
                  </a:lnTo>
                  <a:lnTo>
                    <a:pt x="274" y="444"/>
                  </a:lnTo>
                  <a:lnTo>
                    <a:pt x="274" y="435"/>
                  </a:lnTo>
                  <a:close/>
                  <a:moveTo>
                    <a:pt x="284" y="455"/>
                  </a:moveTo>
                  <a:lnTo>
                    <a:pt x="284" y="465"/>
                  </a:lnTo>
                  <a:lnTo>
                    <a:pt x="274" y="465"/>
                  </a:lnTo>
                  <a:lnTo>
                    <a:pt x="274" y="455"/>
                  </a:lnTo>
                  <a:lnTo>
                    <a:pt x="284" y="455"/>
                  </a:lnTo>
                  <a:close/>
                  <a:moveTo>
                    <a:pt x="254" y="30"/>
                  </a:moveTo>
                  <a:lnTo>
                    <a:pt x="263" y="30"/>
                  </a:lnTo>
                  <a:lnTo>
                    <a:pt x="263" y="40"/>
                  </a:lnTo>
                  <a:lnTo>
                    <a:pt x="254" y="40"/>
                  </a:lnTo>
                  <a:lnTo>
                    <a:pt x="254" y="30"/>
                  </a:lnTo>
                  <a:close/>
                  <a:moveTo>
                    <a:pt x="254" y="51"/>
                  </a:moveTo>
                  <a:lnTo>
                    <a:pt x="263" y="51"/>
                  </a:lnTo>
                  <a:lnTo>
                    <a:pt x="263" y="61"/>
                  </a:lnTo>
                  <a:lnTo>
                    <a:pt x="254" y="61"/>
                  </a:lnTo>
                  <a:lnTo>
                    <a:pt x="254" y="51"/>
                  </a:lnTo>
                  <a:close/>
                  <a:moveTo>
                    <a:pt x="254" y="72"/>
                  </a:moveTo>
                  <a:lnTo>
                    <a:pt x="263" y="72"/>
                  </a:lnTo>
                  <a:lnTo>
                    <a:pt x="263" y="81"/>
                  </a:lnTo>
                  <a:lnTo>
                    <a:pt x="254" y="81"/>
                  </a:lnTo>
                  <a:lnTo>
                    <a:pt x="254" y="72"/>
                  </a:lnTo>
                  <a:close/>
                  <a:moveTo>
                    <a:pt x="254" y="91"/>
                  </a:moveTo>
                  <a:lnTo>
                    <a:pt x="263" y="91"/>
                  </a:lnTo>
                  <a:lnTo>
                    <a:pt x="263" y="100"/>
                  </a:lnTo>
                  <a:lnTo>
                    <a:pt x="254" y="100"/>
                  </a:lnTo>
                  <a:lnTo>
                    <a:pt x="254" y="91"/>
                  </a:lnTo>
                  <a:close/>
                  <a:moveTo>
                    <a:pt x="254" y="111"/>
                  </a:moveTo>
                  <a:lnTo>
                    <a:pt x="263" y="111"/>
                  </a:lnTo>
                  <a:lnTo>
                    <a:pt x="263" y="121"/>
                  </a:lnTo>
                  <a:lnTo>
                    <a:pt x="254" y="121"/>
                  </a:lnTo>
                  <a:lnTo>
                    <a:pt x="254" y="111"/>
                  </a:lnTo>
                  <a:close/>
                  <a:moveTo>
                    <a:pt x="254" y="132"/>
                  </a:moveTo>
                  <a:lnTo>
                    <a:pt x="263" y="132"/>
                  </a:lnTo>
                  <a:lnTo>
                    <a:pt x="263" y="142"/>
                  </a:lnTo>
                  <a:lnTo>
                    <a:pt x="254" y="142"/>
                  </a:lnTo>
                  <a:lnTo>
                    <a:pt x="254" y="132"/>
                  </a:lnTo>
                  <a:close/>
                  <a:moveTo>
                    <a:pt x="254" y="152"/>
                  </a:moveTo>
                  <a:lnTo>
                    <a:pt x="263" y="152"/>
                  </a:lnTo>
                  <a:lnTo>
                    <a:pt x="263" y="162"/>
                  </a:lnTo>
                  <a:lnTo>
                    <a:pt x="254" y="162"/>
                  </a:lnTo>
                  <a:lnTo>
                    <a:pt x="254" y="152"/>
                  </a:lnTo>
                  <a:close/>
                  <a:moveTo>
                    <a:pt x="254" y="172"/>
                  </a:moveTo>
                  <a:lnTo>
                    <a:pt x="263" y="172"/>
                  </a:lnTo>
                  <a:lnTo>
                    <a:pt x="263" y="181"/>
                  </a:lnTo>
                  <a:lnTo>
                    <a:pt x="254" y="181"/>
                  </a:lnTo>
                  <a:lnTo>
                    <a:pt x="254" y="172"/>
                  </a:lnTo>
                  <a:close/>
                  <a:moveTo>
                    <a:pt x="254" y="192"/>
                  </a:moveTo>
                  <a:lnTo>
                    <a:pt x="263" y="192"/>
                  </a:lnTo>
                  <a:lnTo>
                    <a:pt x="263" y="202"/>
                  </a:lnTo>
                  <a:lnTo>
                    <a:pt x="254" y="202"/>
                  </a:lnTo>
                  <a:lnTo>
                    <a:pt x="254" y="192"/>
                  </a:lnTo>
                  <a:close/>
                  <a:moveTo>
                    <a:pt x="254" y="213"/>
                  </a:moveTo>
                  <a:lnTo>
                    <a:pt x="263" y="213"/>
                  </a:lnTo>
                  <a:lnTo>
                    <a:pt x="263" y="222"/>
                  </a:lnTo>
                  <a:lnTo>
                    <a:pt x="254" y="222"/>
                  </a:lnTo>
                  <a:lnTo>
                    <a:pt x="254" y="213"/>
                  </a:lnTo>
                  <a:close/>
                  <a:moveTo>
                    <a:pt x="254" y="233"/>
                  </a:moveTo>
                  <a:lnTo>
                    <a:pt x="263" y="233"/>
                  </a:lnTo>
                  <a:lnTo>
                    <a:pt x="263" y="243"/>
                  </a:lnTo>
                  <a:lnTo>
                    <a:pt x="254" y="243"/>
                  </a:lnTo>
                  <a:lnTo>
                    <a:pt x="254" y="233"/>
                  </a:lnTo>
                  <a:close/>
                  <a:moveTo>
                    <a:pt x="254" y="253"/>
                  </a:moveTo>
                  <a:lnTo>
                    <a:pt x="263" y="253"/>
                  </a:lnTo>
                  <a:lnTo>
                    <a:pt x="263" y="262"/>
                  </a:lnTo>
                  <a:lnTo>
                    <a:pt x="254" y="262"/>
                  </a:lnTo>
                  <a:lnTo>
                    <a:pt x="254" y="253"/>
                  </a:lnTo>
                  <a:close/>
                  <a:moveTo>
                    <a:pt x="254" y="273"/>
                  </a:moveTo>
                  <a:lnTo>
                    <a:pt x="263" y="273"/>
                  </a:lnTo>
                  <a:lnTo>
                    <a:pt x="263" y="283"/>
                  </a:lnTo>
                  <a:lnTo>
                    <a:pt x="254" y="283"/>
                  </a:lnTo>
                  <a:lnTo>
                    <a:pt x="254" y="273"/>
                  </a:lnTo>
                  <a:close/>
                  <a:moveTo>
                    <a:pt x="254" y="294"/>
                  </a:moveTo>
                  <a:lnTo>
                    <a:pt x="263" y="294"/>
                  </a:lnTo>
                  <a:lnTo>
                    <a:pt x="263" y="303"/>
                  </a:lnTo>
                  <a:lnTo>
                    <a:pt x="254" y="303"/>
                  </a:lnTo>
                  <a:lnTo>
                    <a:pt x="254" y="294"/>
                  </a:lnTo>
                  <a:close/>
                  <a:moveTo>
                    <a:pt x="254" y="314"/>
                  </a:moveTo>
                  <a:lnTo>
                    <a:pt x="263" y="314"/>
                  </a:lnTo>
                  <a:lnTo>
                    <a:pt x="263" y="324"/>
                  </a:lnTo>
                  <a:lnTo>
                    <a:pt x="254" y="324"/>
                  </a:lnTo>
                  <a:lnTo>
                    <a:pt x="254" y="314"/>
                  </a:lnTo>
                  <a:close/>
                  <a:moveTo>
                    <a:pt x="254" y="333"/>
                  </a:moveTo>
                  <a:lnTo>
                    <a:pt x="263" y="333"/>
                  </a:lnTo>
                  <a:lnTo>
                    <a:pt x="263" y="343"/>
                  </a:lnTo>
                  <a:lnTo>
                    <a:pt x="254" y="343"/>
                  </a:lnTo>
                  <a:lnTo>
                    <a:pt x="254" y="333"/>
                  </a:lnTo>
                  <a:close/>
                  <a:moveTo>
                    <a:pt x="254" y="354"/>
                  </a:moveTo>
                  <a:lnTo>
                    <a:pt x="263" y="354"/>
                  </a:lnTo>
                  <a:lnTo>
                    <a:pt x="263" y="364"/>
                  </a:lnTo>
                  <a:lnTo>
                    <a:pt x="254" y="364"/>
                  </a:lnTo>
                  <a:lnTo>
                    <a:pt x="254" y="354"/>
                  </a:lnTo>
                  <a:close/>
                  <a:moveTo>
                    <a:pt x="254" y="375"/>
                  </a:moveTo>
                  <a:lnTo>
                    <a:pt x="263" y="375"/>
                  </a:lnTo>
                  <a:lnTo>
                    <a:pt x="263" y="384"/>
                  </a:lnTo>
                  <a:lnTo>
                    <a:pt x="254" y="384"/>
                  </a:lnTo>
                  <a:lnTo>
                    <a:pt x="254" y="375"/>
                  </a:lnTo>
                  <a:close/>
                  <a:moveTo>
                    <a:pt x="254" y="395"/>
                  </a:moveTo>
                  <a:lnTo>
                    <a:pt x="263" y="395"/>
                  </a:lnTo>
                  <a:lnTo>
                    <a:pt x="263" y="405"/>
                  </a:lnTo>
                  <a:lnTo>
                    <a:pt x="254" y="405"/>
                  </a:lnTo>
                  <a:lnTo>
                    <a:pt x="254" y="395"/>
                  </a:lnTo>
                  <a:close/>
                  <a:moveTo>
                    <a:pt x="254" y="414"/>
                  </a:moveTo>
                  <a:lnTo>
                    <a:pt x="263" y="414"/>
                  </a:lnTo>
                  <a:lnTo>
                    <a:pt x="263" y="424"/>
                  </a:lnTo>
                  <a:lnTo>
                    <a:pt x="254" y="424"/>
                  </a:lnTo>
                  <a:lnTo>
                    <a:pt x="254" y="414"/>
                  </a:lnTo>
                  <a:close/>
                  <a:moveTo>
                    <a:pt x="254" y="435"/>
                  </a:moveTo>
                  <a:lnTo>
                    <a:pt x="263" y="435"/>
                  </a:lnTo>
                  <a:lnTo>
                    <a:pt x="263" y="444"/>
                  </a:lnTo>
                  <a:lnTo>
                    <a:pt x="254" y="444"/>
                  </a:lnTo>
                  <a:lnTo>
                    <a:pt x="254" y="435"/>
                  </a:lnTo>
                  <a:close/>
                  <a:moveTo>
                    <a:pt x="263" y="455"/>
                  </a:moveTo>
                  <a:lnTo>
                    <a:pt x="263" y="465"/>
                  </a:lnTo>
                  <a:lnTo>
                    <a:pt x="254" y="465"/>
                  </a:lnTo>
                  <a:lnTo>
                    <a:pt x="254" y="455"/>
                  </a:lnTo>
                  <a:lnTo>
                    <a:pt x="263" y="455"/>
                  </a:lnTo>
                  <a:close/>
                  <a:moveTo>
                    <a:pt x="233" y="30"/>
                  </a:moveTo>
                  <a:lnTo>
                    <a:pt x="243" y="30"/>
                  </a:lnTo>
                  <a:lnTo>
                    <a:pt x="243" y="40"/>
                  </a:lnTo>
                  <a:lnTo>
                    <a:pt x="233" y="40"/>
                  </a:lnTo>
                  <a:lnTo>
                    <a:pt x="233" y="30"/>
                  </a:lnTo>
                  <a:close/>
                  <a:moveTo>
                    <a:pt x="233" y="51"/>
                  </a:moveTo>
                  <a:lnTo>
                    <a:pt x="243" y="51"/>
                  </a:lnTo>
                  <a:lnTo>
                    <a:pt x="243" y="61"/>
                  </a:lnTo>
                  <a:lnTo>
                    <a:pt x="233" y="61"/>
                  </a:lnTo>
                  <a:lnTo>
                    <a:pt x="233" y="51"/>
                  </a:lnTo>
                  <a:close/>
                  <a:moveTo>
                    <a:pt x="233" y="72"/>
                  </a:moveTo>
                  <a:lnTo>
                    <a:pt x="243" y="72"/>
                  </a:lnTo>
                  <a:lnTo>
                    <a:pt x="243" y="81"/>
                  </a:lnTo>
                  <a:lnTo>
                    <a:pt x="233" y="81"/>
                  </a:lnTo>
                  <a:lnTo>
                    <a:pt x="233" y="72"/>
                  </a:lnTo>
                  <a:close/>
                  <a:moveTo>
                    <a:pt x="233" y="91"/>
                  </a:moveTo>
                  <a:lnTo>
                    <a:pt x="243" y="91"/>
                  </a:lnTo>
                  <a:lnTo>
                    <a:pt x="243" y="100"/>
                  </a:lnTo>
                  <a:lnTo>
                    <a:pt x="233" y="100"/>
                  </a:lnTo>
                  <a:lnTo>
                    <a:pt x="233" y="91"/>
                  </a:lnTo>
                  <a:close/>
                  <a:moveTo>
                    <a:pt x="233" y="111"/>
                  </a:moveTo>
                  <a:lnTo>
                    <a:pt x="243" y="111"/>
                  </a:lnTo>
                  <a:lnTo>
                    <a:pt x="243" y="121"/>
                  </a:lnTo>
                  <a:lnTo>
                    <a:pt x="233" y="121"/>
                  </a:lnTo>
                  <a:lnTo>
                    <a:pt x="233" y="111"/>
                  </a:lnTo>
                  <a:close/>
                  <a:moveTo>
                    <a:pt x="233" y="132"/>
                  </a:moveTo>
                  <a:lnTo>
                    <a:pt x="243" y="132"/>
                  </a:lnTo>
                  <a:lnTo>
                    <a:pt x="243" y="142"/>
                  </a:lnTo>
                  <a:lnTo>
                    <a:pt x="233" y="142"/>
                  </a:lnTo>
                  <a:lnTo>
                    <a:pt x="233" y="132"/>
                  </a:lnTo>
                  <a:close/>
                  <a:moveTo>
                    <a:pt x="233" y="152"/>
                  </a:moveTo>
                  <a:lnTo>
                    <a:pt x="243" y="152"/>
                  </a:lnTo>
                  <a:lnTo>
                    <a:pt x="243" y="162"/>
                  </a:lnTo>
                  <a:lnTo>
                    <a:pt x="233" y="162"/>
                  </a:lnTo>
                  <a:lnTo>
                    <a:pt x="233" y="152"/>
                  </a:lnTo>
                  <a:close/>
                  <a:moveTo>
                    <a:pt x="233" y="172"/>
                  </a:moveTo>
                  <a:lnTo>
                    <a:pt x="243" y="172"/>
                  </a:lnTo>
                  <a:lnTo>
                    <a:pt x="243" y="181"/>
                  </a:lnTo>
                  <a:lnTo>
                    <a:pt x="233" y="181"/>
                  </a:lnTo>
                  <a:lnTo>
                    <a:pt x="233" y="172"/>
                  </a:lnTo>
                  <a:close/>
                  <a:moveTo>
                    <a:pt x="233" y="192"/>
                  </a:moveTo>
                  <a:lnTo>
                    <a:pt x="243" y="192"/>
                  </a:lnTo>
                  <a:lnTo>
                    <a:pt x="243" y="202"/>
                  </a:lnTo>
                  <a:lnTo>
                    <a:pt x="233" y="202"/>
                  </a:lnTo>
                  <a:lnTo>
                    <a:pt x="233" y="192"/>
                  </a:lnTo>
                  <a:close/>
                  <a:moveTo>
                    <a:pt x="233" y="213"/>
                  </a:moveTo>
                  <a:lnTo>
                    <a:pt x="243" y="213"/>
                  </a:lnTo>
                  <a:lnTo>
                    <a:pt x="243" y="222"/>
                  </a:lnTo>
                  <a:lnTo>
                    <a:pt x="233" y="222"/>
                  </a:lnTo>
                  <a:lnTo>
                    <a:pt x="233" y="213"/>
                  </a:lnTo>
                  <a:close/>
                  <a:moveTo>
                    <a:pt x="233" y="233"/>
                  </a:moveTo>
                  <a:lnTo>
                    <a:pt x="243" y="233"/>
                  </a:lnTo>
                  <a:lnTo>
                    <a:pt x="243" y="243"/>
                  </a:lnTo>
                  <a:lnTo>
                    <a:pt x="233" y="243"/>
                  </a:lnTo>
                  <a:lnTo>
                    <a:pt x="233" y="233"/>
                  </a:lnTo>
                  <a:close/>
                  <a:moveTo>
                    <a:pt x="233" y="253"/>
                  </a:moveTo>
                  <a:lnTo>
                    <a:pt x="243" y="253"/>
                  </a:lnTo>
                  <a:lnTo>
                    <a:pt x="243" y="262"/>
                  </a:lnTo>
                  <a:lnTo>
                    <a:pt x="233" y="262"/>
                  </a:lnTo>
                  <a:lnTo>
                    <a:pt x="233" y="253"/>
                  </a:lnTo>
                  <a:close/>
                  <a:moveTo>
                    <a:pt x="233" y="273"/>
                  </a:moveTo>
                  <a:lnTo>
                    <a:pt x="243" y="273"/>
                  </a:lnTo>
                  <a:lnTo>
                    <a:pt x="243" y="283"/>
                  </a:lnTo>
                  <a:lnTo>
                    <a:pt x="233" y="283"/>
                  </a:lnTo>
                  <a:lnTo>
                    <a:pt x="233" y="273"/>
                  </a:lnTo>
                  <a:close/>
                  <a:moveTo>
                    <a:pt x="233" y="294"/>
                  </a:moveTo>
                  <a:lnTo>
                    <a:pt x="243" y="294"/>
                  </a:lnTo>
                  <a:lnTo>
                    <a:pt x="243" y="303"/>
                  </a:lnTo>
                  <a:lnTo>
                    <a:pt x="233" y="303"/>
                  </a:lnTo>
                  <a:lnTo>
                    <a:pt x="233" y="294"/>
                  </a:lnTo>
                  <a:close/>
                  <a:moveTo>
                    <a:pt x="233" y="314"/>
                  </a:moveTo>
                  <a:lnTo>
                    <a:pt x="243" y="314"/>
                  </a:lnTo>
                  <a:lnTo>
                    <a:pt x="243" y="324"/>
                  </a:lnTo>
                  <a:lnTo>
                    <a:pt x="233" y="324"/>
                  </a:lnTo>
                  <a:lnTo>
                    <a:pt x="233" y="314"/>
                  </a:lnTo>
                  <a:close/>
                  <a:moveTo>
                    <a:pt x="233" y="333"/>
                  </a:moveTo>
                  <a:lnTo>
                    <a:pt x="243" y="333"/>
                  </a:lnTo>
                  <a:lnTo>
                    <a:pt x="243" y="343"/>
                  </a:lnTo>
                  <a:lnTo>
                    <a:pt x="233" y="343"/>
                  </a:lnTo>
                  <a:lnTo>
                    <a:pt x="233" y="333"/>
                  </a:lnTo>
                  <a:close/>
                  <a:moveTo>
                    <a:pt x="233" y="354"/>
                  </a:moveTo>
                  <a:lnTo>
                    <a:pt x="243" y="354"/>
                  </a:lnTo>
                  <a:lnTo>
                    <a:pt x="243" y="364"/>
                  </a:lnTo>
                  <a:lnTo>
                    <a:pt x="233" y="364"/>
                  </a:lnTo>
                  <a:lnTo>
                    <a:pt x="233" y="354"/>
                  </a:lnTo>
                  <a:close/>
                  <a:moveTo>
                    <a:pt x="233" y="375"/>
                  </a:moveTo>
                  <a:lnTo>
                    <a:pt x="243" y="375"/>
                  </a:lnTo>
                  <a:lnTo>
                    <a:pt x="243" y="384"/>
                  </a:lnTo>
                  <a:lnTo>
                    <a:pt x="233" y="384"/>
                  </a:lnTo>
                  <a:lnTo>
                    <a:pt x="233" y="375"/>
                  </a:lnTo>
                  <a:close/>
                  <a:moveTo>
                    <a:pt x="233" y="395"/>
                  </a:moveTo>
                  <a:lnTo>
                    <a:pt x="243" y="395"/>
                  </a:lnTo>
                  <a:lnTo>
                    <a:pt x="243" y="405"/>
                  </a:lnTo>
                  <a:lnTo>
                    <a:pt x="233" y="405"/>
                  </a:lnTo>
                  <a:lnTo>
                    <a:pt x="233" y="395"/>
                  </a:lnTo>
                  <a:close/>
                  <a:moveTo>
                    <a:pt x="233" y="414"/>
                  </a:moveTo>
                  <a:lnTo>
                    <a:pt x="243" y="414"/>
                  </a:lnTo>
                  <a:lnTo>
                    <a:pt x="243" y="424"/>
                  </a:lnTo>
                  <a:lnTo>
                    <a:pt x="233" y="424"/>
                  </a:lnTo>
                  <a:lnTo>
                    <a:pt x="233" y="414"/>
                  </a:lnTo>
                  <a:close/>
                  <a:moveTo>
                    <a:pt x="233" y="435"/>
                  </a:moveTo>
                  <a:lnTo>
                    <a:pt x="243" y="435"/>
                  </a:lnTo>
                  <a:lnTo>
                    <a:pt x="243" y="444"/>
                  </a:lnTo>
                  <a:lnTo>
                    <a:pt x="233" y="444"/>
                  </a:lnTo>
                  <a:lnTo>
                    <a:pt x="233" y="435"/>
                  </a:lnTo>
                  <a:close/>
                  <a:moveTo>
                    <a:pt x="243" y="455"/>
                  </a:moveTo>
                  <a:lnTo>
                    <a:pt x="243" y="465"/>
                  </a:lnTo>
                  <a:lnTo>
                    <a:pt x="233" y="465"/>
                  </a:lnTo>
                  <a:lnTo>
                    <a:pt x="233" y="455"/>
                  </a:lnTo>
                  <a:lnTo>
                    <a:pt x="243" y="455"/>
                  </a:lnTo>
                  <a:close/>
                  <a:moveTo>
                    <a:pt x="213" y="30"/>
                  </a:moveTo>
                  <a:lnTo>
                    <a:pt x="222" y="30"/>
                  </a:lnTo>
                  <a:lnTo>
                    <a:pt x="222" y="40"/>
                  </a:lnTo>
                  <a:lnTo>
                    <a:pt x="213" y="40"/>
                  </a:lnTo>
                  <a:lnTo>
                    <a:pt x="213" y="30"/>
                  </a:lnTo>
                  <a:close/>
                  <a:moveTo>
                    <a:pt x="213" y="51"/>
                  </a:moveTo>
                  <a:lnTo>
                    <a:pt x="222" y="51"/>
                  </a:lnTo>
                  <a:lnTo>
                    <a:pt x="222" y="61"/>
                  </a:lnTo>
                  <a:lnTo>
                    <a:pt x="213" y="61"/>
                  </a:lnTo>
                  <a:lnTo>
                    <a:pt x="213" y="51"/>
                  </a:lnTo>
                  <a:close/>
                  <a:moveTo>
                    <a:pt x="213" y="72"/>
                  </a:moveTo>
                  <a:lnTo>
                    <a:pt x="222" y="72"/>
                  </a:lnTo>
                  <a:lnTo>
                    <a:pt x="222" y="81"/>
                  </a:lnTo>
                  <a:lnTo>
                    <a:pt x="213" y="81"/>
                  </a:lnTo>
                  <a:lnTo>
                    <a:pt x="213" y="72"/>
                  </a:lnTo>
                  <a:close/>
                  <a:moveTo>
                    <a:pt x="213" y="91"/>
                  </a:moveTo>
                  <a:lnTo>
                    <a:pt x="222" y="91"/>
                  </a:lnTo>
                  <a:lnTo>
                    <a:pt x="222" y="100"/>
                  </a:lnTo>
                  <a:lnTo>
                    <a:pt x="213" y="100"/>
                  </a:lnTo>
                  <a:lnTo>
                    <a:pt x="213" y="91"/>
                  </a:lnTo>
                  <a:close/>
                  <a:moveTo>
                    <a:pt x="213" y="111"/>
                  </a:moveTo>
                  <a:lnTo>
                    <a:pt x="222" y="111"/>
                  </a:lnTo>
                  <a:lnTo>
                    <a:pt x="222" y="121"/>
                  </a:lnTo>
                  <a:lnTo>
                    <a:pt x="213" y="121"/>
                  </a:lnTo>
                  <a:lnTo>
                    <a:pt x="213" y="111"/>
                  </a:lnTo>
                  <a:close/>
                  <a:moveTo>
                    <a:pt x="213" y="132"/>
                  </a:moveTo>
                  <a:lnTo>
                    <a:pt x="222" y="132"/>
                  </a:lnTo>
                  <a:lnTo>
                    <a:pt x="222" y="142"/>
                  </a:lnTo>
                  <a:lnTo>
                    <a:pt x="213" y="142"/>
                  </a:lnTo>
                  <a:lnTo>
                    <a:pt x="213" y="132"/>
                  </a:lnTo>
                  <a:close/>
                  <a:moveTo>
                    <a:pt x="213" y="152"/>
                  </a:moveTo>
                  <a:lnTo>
                    <a:pt x="222" y="152"/>
                  </a:lnTo>
                  <a:lnTo>
                    <a:pt x="222" y="162"/>
                  </a:lnTo>
                  <a:lnTo>
                    <a:pt x="213" y="162"/>
                  </a:lnTo>
                  <a:lnTo>
                    <a:pt x="213" y="152"/>
                  </a:lnTo>
                  <a:close/>
                  <a:moveTo>
                    <a:pt x="213" y="172"/>
                  </a:moveTo>
                  <a:lnTo>
                    <a:pt x="222" y="172"/>
                  </a:lnTo>
                  <a:lnTo>
                    <a:pt x="222" y="181"/>
                  </a:lnTo>
                  <a:lnTo>
                    <a:pt x="213" y="181"/>
                  </a:lnTo>
                  <a:lnTo>
                    <a:pt x="213" y="172"/>
                  </a:lnTo>
                  <a:close/>
                  <a:moveTo>
                    <a:pt x="213" y="192"/>
                  </a:moveTo>
                  <a:lnTo>
                    <a:pt x="222" y="192"/>
                  </a:lnTo>
                  <a:lnTo>
                    <a:pt x="222" y="202"/>
                  </a:lnTo>
                  <a:lnTo>
                    <a:pt x="213" y="202"/>
                  </a:lnTo>
                  <a:lnTo>
                    <a:pt x="213" y="192"/>
                  </a:lnTo>
                  <a:close/>
                  <a:moveTo>
                    <a:pt x="213" y="213"/>
                  </a:moveTo>
                  <a:lnTo>
                    <a:pt x="222" y="213"/>
                  </a:lnTo>
                  <a:lnTo>
                    <a:pt x="222" y="222"/>
                  </a:lnTo>
                  <a:lnTo>
                    <a:pt x="213" y="222"/>
                  </a:lnTo>
                  <a:lnTo>
                    <a:pt x="213" y="213"/>
                  </a:lnTo>
                  <a:close/>
                  <a:moveTo>
                    <a:pt x="213" y="233"/>
                  </a:moveTo>
                  <a:lnTo>
                    <a:pt x="222" y="233"/>
                  </a:lnTo>
                  <a:lnTo>
                    <a:pt x="222" y="243"/>
                  </a:lnTo>
                  <a:lnTo>
                    <a:pt x="213" y="243"/>
                  </a:lnTo>
                  <a:lnTo>
                    <a:pt x="213" y="233"/>
                  </a:lnTo>
                  <a:close/>
                  <a:moveTo>
                    <a:pt x="213" y="253"/>
                  </a:moveTo>
                  <a:lnTo>
                    <a:pt x="222" y="253"/>
                  </a:lnTo>
                  <a:lnTo>
                    <a:pt x="222" y="262"/>
                  </a:lnTo>
                  <a:lnTo>
                    <a:pt x="213" y="262"/>
                  </a:lnTo>
                  <a:lnTo>
                    <a:pt x="213" y="253"/>
                  </a:lnTo>
                  <a:close/>
                  <a:moveTo>
                    <a:pt x="213" y="273"/>
                  </a:moveTo>
                  <a:lnTo>
                    <a:pt x="222" y="273"/>
                  </a:lnTo>
                  <a:lnTo>
                    <a:pt x="222" y="283"/>
                  </a:lnTo>
                  <a:lnTo>
                    <a:pt x="213" y="283"/>
                  </a:lnTo>
                  <a:lnTo>
                    <a:pt x="213" y="273"/>
                  </a:lnTo>
                  <a:close/>
                  <a:moveTo>
                    <a:pt x="213" y="294"/>
                  </a:moveTo>
                  <a:lnTo>
                    <a:pt x="222" y="294"/>
                  </a:lnTo>
                  <a:lnTo>
                    <a:pt x="222" y="303"/>
                  </a:lnTo>
                  <a:lnTo>
                    <a:pt x="213" y="303"/>
                  </a:lnTo>
                  <a:lnTo>
                    <a:pt x="213" y="294"/>
                  </a:lnTo>
                  <a:close/>
                  <a:moveTo>
                    <a:pt x="213" y="314"/>
                  </a:moveTo>
                  <a:lnTo>
                    <a:pt x="222" y="314"/>
                  </a:lnTo>
                  <a:lnTo>
                    <a:pt x="222" y="324"/>
                  </a:lnTo>
                  <a:lnTo>
                    <a:pt x="213" y="324"/>
                  </a:lnTo>
                  <a:lnTo>
                    <a:pt x="213" y="314"/>
                  </a:lnTo>
                  <a:close/>
                  <a:moveTo>
                    <a:pt x="213" y="333"/>
                  </a:moveTo>
                  <a:lnTo>
                    <a:pt x="222" y="333"/>
                  </a:lnTo>
                  <a:lnTo>
                    <a:pt x="222" y="343"/>
                  </a:lnTo>
                  <a:lnTo>
                    <a:pt x="213" y="343"/>
                  </a:lnTo>
                  <a:lnTo>
                    <a:pt x="213" y="333"/>
                  </a:lnTo>
                  <a:close/>
                  <a:moveTo>
                    <a:pt x="213" y="354"/>
                  </a:moveTo>
                  <a:lnTo>
                    <a:pt x="222" y="354"/>
                  </a:lnTo>
                  <a:lnTo>
                    <a:pt x="222" y="364"/>
                  </a:lnTo>
                  <a:lnTo>
                    <a:pt x="213" y="364"/>
                  </a:lnTo>
                  <a:lnTo>
                    <a:pt x="213" y="354"/>
                  </a:lnTo>
                  <a:close/>
                  <a:moveTo>
                    <a:pt x="213" y="375"/>
                  </a:moveTo>
                  <a:lnTo>
                    <a:pt x="222" y="375"/>
                  </a:lnTo>
                  <a:lnTo>
                    <a:pt x="222" y="384"/>
                  </a:lnTo>
                  <a:lnTo>
                    <a:pt x="213" y="384"/>
                  </a:lnTo>
                  <a:lnTo>
                    <a:pt x="213" y="375"/>
                  </a:lnTo>
                  <a:close/>
                  <a:moveTo>
                    <a:pt x="213" y="395"/>
                  </a:moveTo>
                  <a:lnTo>
                    <a:pt x="222" y="395"/>
                  </a:lnTo>
                  <a:lnTo>
                    <a:pt x="222" y="405"/>
                  </a:lnTo>
                  <a:lnTo>
                    <a:pt x="213" y="405"/>
                  </a:lnTo>
                  <a:lnTo>
                    <a:pt x="213" y="395"/>
                  </a:lnTo>
                  <a:close/>
                  <a:moveTo>
                    <a:pt x="213" y="414"/>
                  </a:moveTo>
                  <a:lnTo>
                    <a:pt x="222" y="414"/>
                  </a:lnTo>
                  <a:lnTo>
                    <a:pt x="222" y="424"/>
                  </a:lnTo>
                  <a:lnTo>
                    <a:pt x="213" y="424"/>
                  </a:lnTo>
                  <a:lnTo>
                    <a:pt x="213" y="414"/>
                  </a:lnTo>
                  <a:close/>
                  <a:moveTo>
                    <a:pt x="213" y="435"/>
                  </a:moveTo>
                  <a:lnTo>
                    <a:pt x="222" y="435"/>
                  </a:lnTo>
                  <a:lnTo>
                    <a:pt x="222" y="444"/>
                  </a:lnTo>
                  <a:lnTo>
                    <a:pt x="213" y="444"/>
                  </a:lnTo>
                  <a:lnTo>
                    <a:pt x="213" y="435"/>
                  </a:lnTo>
                  <a:close/>
                  <a:moveTo>
                    <a:pt x="222" y="455"/>
                  </a:moveTo>
                  <a:lnTo>
                    <a:pt x="222" y="465"/>
                  </a:lnTo>
                  <a:lnTo>
                    <a:pt x="213" y="465"/>
                  </a:lnTo>
                  <a:lnTo>
                    <a:pt x="213" y="455"/>
                  </a:lnTo>
                  <a:lnTo>
                    <a:pt x="222" y="455"/>
                  </a:lnTo>
                  <a:close/>
                  <a:moveTo>
                    <a:pt x="193" y="30"/>
                  </a:moveTo>
                  <a:lnTo>
                    <a:pt x="203" y="30"/>
                  </a:lnTo>
                  <a:lnTo>
                    <a:pt x="203" y="40"/>
                  </a:lnTo>
                  <a:lnTo>
                    <a:pt x="193" y="40"/>
                  </a:lnTo>
                  <a:lnTo>
                    <a:pt x="193" y="30"/>
                  </a:lnTo>
                  <a:close/>
                  <a:moveTo>
                    <a:pt x="193" y="51"/>
                  </a:moveTo>
                  <a:lnTo>
                    <a:pt x="203" y="51"/>
                  </a:lnTo>
                  <a:lnTo>
                    <a:pt x="203" y="61"/>
                  </a:lnTo>
                  <a:lnTo>
                    <a:pt x="193" y="61"/>
                  </a:lnTo>
                  <a:lnTo>
                    <a:pt x="193" y="51"/>
                  </a:lnTo>
                  <a:close/>
                  <a:moveTo>
                    <a:pt x="193" y="72"/>
                  </a:moveTo>
                  <a:lnTo>
                    <a:pt x="203" y="72"/>
                  </a:lnTo>
                  <a:lnTo>
                    <a:pt x="203" y="81"/>
                  </a:lnTo>
                  <a:lnTo>
                    <a:pt x="193" y="81"/>
                  </a:lnTo>
                  <a:lnTo>
                    <a:pt x="193" y="72"/>
                  </a:lnTo>
                  <a:close/>
                  <a:moveTo>
                    <a:pt x="193" y="91"/>
                  </a:moveTo>
                  <a:lnTo>
                    <a:pt x="203" y="91"/>
                  </a:lnTo>
                  <a:lnTo>
                    <a:pt x="203" y="100"/>
                  </a:lnTo>
                  <a:lnTo>
                    <a:pt x="193" y="100"/>
                  </a:lnTo>
                  <a:lnTo>
                    <a:pt x="193" y="91"/>
                  </a:lnTo>
                  <a:close/>
                  <a:moveTo>
                    <a:pt x="193" y="111"/>
                  </a:moveTo>
                  <a:lnTo>
                    <a:pt x="203" y="111"/>
                  </a:lnTo>
                  <a:lnTo>
                    <a:pt x="203" y="121"/>
                  </a:lnTo>
                  <a:lnTo>
                    <a:pt x="193" y="121"/>
                  </a:lnTo>
                  <a:lnTo>
                    <a:pt x="193" y="111"/>
                  </a:lnTo>
                  <a:close/>
                  <a:moveTo>
                    <a:pt x="193" y="132"/>
                  </a:moveTo>
                  <a:lnTo>
                    <a:pt x="203" y="132"/>
                  </a:lnTo>
                  <a:lnTo>
                    <a:pt x="203" y="142"/>
                  </a:lnTo>
                  <a:lnTo>
                    <a:pt x="193" y="142"/>
                  </a:lnTo>
                  <a:lnTo>
                    <a:pt x="193" y="132"/>
                  </a:lnTo>
                  <a:close/>
                  <a:moveTo>
                    <a:pt x="193" y="152"/>
                  </a:moveTo>
                  <a:lnTo>
                    <a:pt x="203" y="152"/>
                  </a:lnTo>
                  <a:lnTo>
                    <a:pt x="203" y="162"/>
                  </a:lnTo>
                  <a:lnTo>
                    <a:pt x="193" y="162"/>
                  </a:lnTo>
                  <a:lnTo>
                    <a:pt x="193" y="152"/>
                  </a:lnTo>
                  <a:close/>
                  <a:moveTo>
                    <a:pt x="193" y="172"/>
                  </a:moveTo>
                  <a:lnTo>
                    <a:pt x="203" y="172"/>
                  </a:lnTo>
                  <a:lnTo>
                    <a:pt x="203" y="181"/>
                  </a:lnTo>
                  <a:lnTo>
                    <a:pt x="193" y="181"/>
                  </a:lnTo>
                  <a:lnTo>
                    <a:pt x="193" y="172"/>
                  </a:lnTo>
                  <a:close/>
                  <a:moveTo>
                    <a:pt x="193" y="192"/>
                  </a:moveTo>
                  <a:lnTo>
                    <a:pt x="203" y="192"/>
                  </a:lnTo>
                  <a:lnTo>
                    <a:pt x="203" y="202"/>
                  </a:lnTo>
                  <a:lnTo>
                    <a:pt x="193" y="202"/>
                  </a:lnTo>
                  <a:lnTo>
                    <a:pt x="193" y="192"/>
                  </a:lnTo>
                  <a:close/>
                  <a:moveTo>
                    <a:pt x="193" y="213"/>
                  </a:moveTo>
                  <a:lnTo>
                    <a:pt x="203" y="213"/>
                  </a:lnTo>
                  <a:lnTo>
                    <a:pt x="203" y="222"/>
                  </a:lnTo>
                  <a:lnTo>
                    <a:pt x="193" y="222"/>
                  </a:lnTo>
                  <a:lnTo>
                    <a:pt x="193" y="213"/>
                  </a:lnTo>
                  <a:close/>
                  <a:moveTo>
                    <a:pt x="193" y="233"/>
                  </a:moveTo>
                  <a:lnTo>
                    <a:pt x="203" y="233"/>
                  </a:lnTo>
                  <a:lnTo>
                    <a:pt x="203" y="243"/>
                  </a:lnTo>
                  <a:lnTo>
                    <a:pt x="193" y="243"/>
                  </a:lnTo>
                  <a:lnTo>
                    <a:pt x="193" y="233"/>
                  </a:lnTo>
                  <a:close/>
                  <a:moveTo>
                    <a:pt x="193" y="253"/>
                  </a:moveTo>
                  <a:lnTo>
                    <a:pt x="203" y="253"/>
                  </a:lnTo>
                  <a:lnTo>
                    <a:pt x="203" y="262"/>
                  </a:lnTo>
                  <a:lnTo>
                    <a:pt x="193" y="262"/>
                  </a:lnTo>
                  <a:lnTo>
                    <a:pt x="193" y="253"/>
                  </a:lnTo>
                  <a:close/>
                  <a:moveTo>
                    <a:pt x="193" y="273"/>
                  </a:moveTo>
                  <a:lnTo>
                    <a:pt x="203" y="273"/>
                  </a:lnTo>
                  <a:lnTo>
                    <a:pt x="203" y="283"/>
                  </a:lnTo>
                  <a:lnTo>
                    <a:pt x="193" y="283"/>
                  </a:lnTo>
                  <a:lnTo>
                    <a:pt x="193" y="273"/>
                  </a:lnTo>
                  <a:close/>
                  <a:moveTo>
                    <a:pt x="193" y="294"/>
                  </a:moveTo>
                  <a:lnTo>
                    <a:pt x="203" y="294"/>
                  </a:lnTo>
                  <a:lnTo>
                    <a:pt x="203" y="303"/>
                  </a:lnTo>
                  <a:lnTo>
                    <a:pt x="193" y="303"/>
                  </a:lnTo>
                  <a:lnTo>
                    <a:pt x="193" y="294"/>
                  </a:lnTo>
                  <a:close/>
                  <a:moveTo>
                    <a:pt x="193" y="314"/>
                  </a:moveTo>
                  <a:lnTo>
                    <a:pt x="203" y="314"/>
                  </a:lnTo>
                  <a:lnTo>
                    <a:pt x="203" y="324"/>
                  </a:lnTo>
                  <a:lnTo>
                    <a:pt x="193" y="324"/>
                  </a:lnTo>
                  <a:lnTo>
                    <a:pt x="193" y="314"/>
                  </a:lnTo>
                  <a:close/>
                  <a:moveTo>
                    <a:pt x="193" y="333"/>
                  </a:moveTo>
                  <a:lnTo>
                    <a:pt x="203" y="333"/>
                  </a:lnTo>
                  <a:lnTo>
                    <a:pt x="203" y="343"/>
                  </a:lnTo>
                  <a:lnTo>
                    <a:pt x="193" y="343"/>
                  </a:lnTo>
                  <a:lnTo>
                    <a:pt x="193" y="333"/>
                  </a:lnTo>
                  <a:close/>
                  <a:moveTo>
                    <a:pt x="193" y="354"/>
                  </a:moveTo>
                  <a:lnTo>
                    <a:pt x="203" y="354"/>
                  </a:lnTo>
                  <a:lnTo>
                    <a:pt x="203" y="364"/>
                  </a:lnTo>
                  <a:lnTo>
                    <a:pt x="193" y="364"/>
                  </a:lnTo>
                  <a:lnTo>
                    <a:pt x="193" y="354"/>
                  </a:lnTo>
                  <a:close/>
                  <a:moveTo>
                    <a:pt x="193" y="375"/>
                  </a:moveTo>
                  <a:lnTo>
                    <a:pt x="203" y="375"/>
                  </a:lnTo>
                  <a:lnTo>
                    <a:pt x="203" y="384"/>
                  </a:lnTo>
                  <a:lnTo>
                    <a:pt x="193" y="384"/>
                  </a:lnTo>
                  <a:lnTo>
                    <a:pt x="193" y="375"/>
                  </a:lnTo>
                  <a:close/>
                  <a:moveTo>
                    <a:pt x="193" y="395"/>
                  </a:moveTo>
                  <a:lnTo>
                    <a:pt x="203" y="395"/>
                  </a:lnTo>
                  <a:lnTo>
                    <a:pt x="203" y="405"/>
                  </a:lnTo>
                  <a:lnTo>
                    <a:pt x="193" y="405"/>
                  </a:lnTo>
                  <a:lnTo>
                    <a:pt x="193" y="395"/>
                  </a:lnTo>
                  <a:close/>
                  <a:moveTo>
                    <a:pt x="193" y="414"/>
                  </a:moveTo>
                  <a:lnTo>
                    <a:pt x="203" y="414"/>
                  </a:lnTo>
                  <a:lnTo>
                    <a:pt x="203" y="424"/>
                  </a:lnTo>
                  <a:lnTo>
                    <a:pt x="193" y="424"/>
                  </a:lnTo>
                  <a:lnTo>
                    <a:pt x="193" y="414"/>
                  </a:lnTo>
                  <a:close/>
                  <a:moveTo>
                    <a:pt x="193" y="435"/>
                  </a:moveTo>
                  <a:lnTo>
                    <a:pt x="203" y="435"/>
                  </a:lnTo>
                  <a:lnTo>
                    <a:pt x="203" y="444"/>
                  </a:lnTo>
                  <a:lnTo>
                    <a:pt x="193" y="444"/>
                  </a:lnTo>
                  <a:lnTo>
                    <a:pt x="193" y="435"/>
                  </a:lnTo>
                  <a:close/>
                  <a:moveTo>
                    <a:pt x="203" y="455"/>
                  </a:moveTo>
                  <a:lnTo>
                    <a:pt x="203" y="465"/>
                  </a:lnTo>
                  <a:lnTo>
                    <a:pt x="193" y="465"/>
                  </a:lnTo>
                  <a:lnTo>
                    <a:pt x="193" y="455"/>
                  </a:lnTo>
                  <a:lnTo>
                    <a:pt x="203" y="455"/>
                  </a:lnTo>
                  <a:close/>
                  <a:moveTo>
                    <a:pt x="173" y="30"/>
                  </a:moveTo>
                  <a:lnTo>
                    <a:pt x="182" y="30"/>
                  </a:lnTo>
                  <a:lnTo>
                    <a:pt x="182" y="40"/>
                  </a:lnTo>
                  <a:lnTo>
                    <a:pt x="173" y="40"/>
                  </a:lnTo>
                  <a:lnTo>
                    <a:pt x="173" y="30"/>
                  </a:lnTo>
                  <a:close/>
                  <a:moveTo>
                    <a:pt x="173" y="51"/>
                  </a:moveTo>
                  <a:lnTo>
                    <a:pt x="182" y="51"/>
                  </a:lnTo>
                  <a:lnTo>
                    <a:pt x="182" y="61"/>
                  </a:lnTo>
                  <a:lnTo>
                    <a:pt x="173" y="61"/>
                  </a:lnTo>
                  <a:lnTo>
                    <a:pt x="173" y="51"/>
                  </a:lnTo>
                  <a:close/>
                  <a:moveTo>
                    <a:pt x="173" y="72"/>
                  </a:moveTo>
                  <a:lnTo>
                    <a:pt x="182" y="72"/>
                  </a:lnTo>
                  <a:lnTo>
                    <a:pt x="182" y="81"/>
                  </a:lnTo>
                  <a:lnTo>
                    <a:pt x="173" y="81"/>
                  </a:lnTo>
                  <a:lnTo>
                    <a:pt x="173" y="72"/>
                  </a:lnTo>
                  <a:close/>
                  <a:moveTo>
                    <a:pt x="173" y="91"/>
                  </a:moveTo>
                  <a:lnTo>
                    <a:pt x="182" y="91"/>
                  </a:lnTo>
                  <a:lnTo>
                    <a:pt x="182" y="100"/>
                  </a:lnTo>
                  <a:lnTo>
                    <a:pt x="173" y="100"/>
                  </a:lnTo>
                  <a:lnTo>
                    <a:pt x="173" y="91"/>
                  </a:lnTo>
                  <a:close/>
                  <a:moveTo>
                    <a:pt x="173" y="111"/>
                  </a:moveTo>
                  <a:lnTo>
                    <a:pt x="182" y="111"/>
                  </a:lnTo>
                  <a:lnTo>
                    <a:pt x="182" y="121"/>
                  </a:lnTo>
                  <a:lnTo>
                    <a:pt x="173" y="121"/>
                  </a:lnTo>
                  <a:lnTo>
                    <a:pt x="173" y="111"/>
                  </a:lnTo>
                  <a:close/>
                  <a:moveTo>
                    <a:pt x="173" y="132"/>
                  </a:moveTo>
                  <a:lnTo>
                    <a:pt x="182" y="132"/>
                  </a:lnTo>
                  <a:lnTo>
                    <a:pt x="182" y="142"/>
                  </a:lnTo>
                  <a:lnTo>
                    <a:pt x="173" y="142"/>
                  </a:lnTo>
                  <a:lnTo>
                    <a:pt x="173" y="132"/>
                  </a:lnTo>
                  <a:close/>
                  <a:moveTo>
                    <a:pt x="173" y="152"/>
                  </a:moveTo>
                  <a:lnTo>
                    <a:pt x="182" y="152"/>
                  </a:lnTo>
                  <a:lnTo>
                    <a:pt x="182" y="162"/>
                  </a:lnTo>
                  <a:lnTo>
                    <a:pt x="173" y="162"/>
                  </a:lnTo>
                  <a:lnTo>
                    <a:pt x="173" y="152"/>
                  </a:lnTo>
                  <a:close/>
                  <a:moveTo>
                    <a:pt x="173" y="172"/>
                  </a:moveTo>
                  <a:lnTo>
                    <a:pt x="182" y="172"/>
                  </a:lnTo>
                  <a:lnTo>
                    <a:pt x="182" y="181"/>
                  </a:lnTo>
                  <a:lnTo>
                    <a:pt x="173" y="181"/>
                  </a:lnTo>
                  <a:lnTo>
                    <a:pt x="173" y="172"/>
                  </a:lnTo>
                  <a:close/>
                  <a:moveTo>
                    <a:pt x="173" y="192"/>
                  </a:moveTo>
                  <a:lnTo>
                    <a:pt x="182" y="192"/>
                  </a:lnTo>
                  <a:lnTo>
                    <a:pt x="182" y="202"/>
                  </a:lnTo>
                  <a:lnTo>
                    <a:pt x="173" y="202"/>
                  </a:lnTo>
                  <a:lnTo>
                    <a:pt x="173" y="192"/>
                  </a:lnTo>
                  <a:close/>
                  <a:moveTo>
                    <a:pt x="173" y="213"/>
                  </a:moveTo>
                  <a:lnTo>
                    <a:pt x="182" y="213"/>
                  </a:lnTo>
                  <a:lnTo>
                    <a:pt x="182" y="222"/>
                  </a:lnTo>
                  <a:lnTo>
                    <a:pt x="173" y="222"/>
                  </a:lnTo>
                  <a:lnTo>
                    <a:pt x="173" y="213"/>
                  </a:lnTo>
                  <a:close/>
                  <a:moveTo>
                    <a:pt x="173" y="233"/>
                  </a:moveTo>
                  <a:lnTo>
                    <a:pt x="182" y="233"/>
                  </a:lnTo>
                  <a:lnTo>
                    <a:pt x="182" y="243"/>
                  </a:lnTo>
                  <a:lnTo>
                    <a:pt x="173" y="243"/>
                  </a:lnTo>
                  <a:lnTo>
                    <a:pt x="173" y="233"/>
                  </a:lnTo>
                  <a:close/>
                  <a:moveTo>
                    <a:pt x="173" y="253"/>
                  </a:moveTo>
                  <a:lnTo>
                    <a:pt x="182" y="253"/>
                  </a:lnTo>
                  <a:lnTo>
                    <a:pt x="182" y="262"/>
                  </a:lnTo>
                  <a:lnTo>
                    <a:pt x="173" y="262"/>
                  </a:lnTo>
                  <a:lnTo>
                    <a:pt x="173" y="253"/>
                  </a:lnTo>
                  <a:close/>
                  <a:moveTo>
                    <a:pt x="173" y="273"/>
                  </a:moveTo>
                  <a:lnTo>
                    <a:pt x="182" y="273"/>
                  </a:lnTo>
                  <a:lnTo>
                    <a:pt x="182" y="283"/>
                  </a:lnTo>
                  <a:lnTo>
                    <a:pt x="173" y="283"/>
                  </a:lnTo>
                  <a:lnTo>
                    <a:pt x="173" y="273"/>
                  </a:lnTo>
                  <a:close/>
                  <a:moveTo>
                    <a:pt x="173" y="294"/>
                  </a:moveTo>
                  <a:lnTo>
                    <a:pt x="182" y="294"/>
                  </a:lnTo>
                  <a:lnTo>
                    <a:pt x="182" y="303"/>
                  </a:lnTo>
                  <a:lnTo>
                    <a:pt x="173" y="303"/>
                  </a:lnTo>
                  <a:lnTo>
                    <a:pt x="173" y="294"/>
                  </a:lnTo>
                  <a:close/>
                  <a:moveTo>
                    <a:pt x="173" y="314"/>
                  </a:moveTo>
                  <a:lnTo>
                    <a:pt x="182" y="314"/>
                  </a:lnTo>
                  <a:lnTo>
                    <a:pt x="182" y="324"/>
                  </a:lnTo>
                  <a:lnTo>
                    <a:pt x="173" y="324"/>
                  </a:lnTo>
                  <a:lnTo>
                    <a:pt x="173" y="314"/>
                  </a:lnTo>
                  <a:close/>
                  <a:moveTo>
                    <a:pt x="173" y="333"/>
                  </a:moveTo>
                  <a:lnTo>
                    <a:pt x="182" y="333"/>
                  </a:lnTo>
                  <a:lnTo>
                    <a:pt x="182" y="343"/>
                  </a:lnTo>
                  <a:lnTo>
                    <a:pt x="173" y="343"/>
                  </a:lnTo>
                  <a:lnTo>
                    <a:pt x="173" y="333"/>
                  </a:lnTo>
                  <a:close/>
                  <a:moveTo>
                    <a:pt x="173" y="354"/>
                  </a:moveTo>
                  <a:lnTo>
                    <a:pt x="182" y="354"/>
                  </a:lnTo>
                  <a:lnTo>
                    <a:pt x="182" y="364"/>
                  </a:lnTo>
                  <a:lnTo>
                    <a:pt x="173" y="364"/>
                  </a:lnTo>
                  <a:lnTo>
                    <a:pt x="173" y="354"/>
                  </a:lnTo>
                  <a:close/>
                  <a:moveTo>
                    <a:pt x="173" y="375"/>
                  </a:moveTo>
                  <a:lnTo>
                    <a:pt x="182" y="375"/>
                  </a:lnTo>
                  <a:lnTo>
                    <a:pt x="182" y="384"/>
                  </a:lnTo>
                  <a:lnTo>
                    <a:pt x="173" y="384"/>
                  </a:lnTo>
                  <a:lnTo>
                    <a:pt x="173" y="375"/>
                  </a:lnTo>
                  <a:close/>
                  <a:moveTo>
                    <a:pt x="173" y="395"/>
                  </a:moveTo>
                  <a:lnTo>
                    <a:pt x="182" y="395"/>
                  </a:lnTo>
                  <a:lnTo>
                    <a:pt x="182" y="405"/>
                  </a:lnTo>
                  <a:lnTo>
                    <a:pt x="173" y="405"/>
                  </a:lnTo>
                  <a:lnTo>
                    <a:pt x="173" y="395"/>
                  </a:lnTo>
                  <a:close/>
                  <a:moveTo>
                    <a:pt x="173" y="414"/>
                  </a:moveTo>
                  <a:lnTo>
                    <a:pt x="182" y="414"/>
                  </a:lnTo>
                  <a:lnTo>
                    <a:pt x="182" y="424"/>
                  </a:lnTo>
                  <a:lnTo>
                    <a:pt x="173" y="424"/>
                  </a:lnTo>
                  <a:lnTo>
                    <a:pt x="173" y="414"/>
                  </a:lnTo>
                  <a:close/>
                  <a:moveTo>
                    <a:pt x="173" y="435"/>
                  </a:moveTo>
                  <a:lnTo>
                    <a:pt x="182" y="435"/>
                  </a:lnTo>
                  <a:lnTo>
                    <a:pt x="182" y="444"/>
                  </a:lnTo>
                  <a:lnTo>
                    <a:pt x="173" y="444"/>
                  </a:lnTo>
                  <a:lnTo>
                    <a:pt x="173" y="435"/>
                  </a:lnTo>
                  <a:close/>
                  <a:moveTo>
                    <a:pt x="182" y="455"/>
                  </a:moveTo>
                  <a:lnTo>
                    <a:pt x="182" y="465"/>
                  </a:lnTo>
                  <a:lnTo>
                    <a:pt x="173" y="465"/>
                  </a:lnTo>
                  <a:lnTo>
                    <a:pt x="173" y="455"/>
                  </a:lnTo>
                  <a:lnTo>
                    <a:pt x="182" y="455"/>
                  </a:lnTo>
                  <a:close/>
                  <a:moveTo>
                    <a:pt x="152" y="30"/>
                  </a:moveTo>
                  <a:lnTo>
                    <a:pt x="162" y="30"/>
                  </a:lnTo>
                  <a:lnTo>
                    <a:pt x="162" y="40"/>
                  </a:lnTo>
                  <a:lnTo>
                    <a:pt x="152" y="40"/>
                  </a:lnTo>
                  <a:lnTo>
                    <a:pt x="152" y="30"/>
                  </a:lnTo>
                  <a:close/>
                  <a:moveTo>
                    <a:pt x="152" y="51"/>
                  </a:moveTo>
                  <a:lnTo>
                    <a:pt x="162" y="51"/>
                  </a:lnTo>
                  <a:lnTo>
                    <a:pt x="162" y="61"/>
                  </a:lnTo>
                  <a:lnTo>
                    <a:pt x="152" y="61"/>
                  </a:lnTo>
                  <a:lnTo>
                    <a:pt x="152" y="51"/>
                  </a:lnTo>
                  <a:close/>
                  <a:moveTo>
                    <a:pt x="152" y="72"/>
                  </a:moveTo>
                  <a:lnTo>
                    <a:pt x="162" y="72"/>
                  </a:lnTo>
                  <a:lnTo>
                    <a:pt x="162" y="81"/>
                  </a:lnTo>
                  <a:lnTo>
                    <a:pt x="152" y="81"/>
                  </a:lnTo>
                  <a:lnTo>
                    <a:pt x="152" y="72"/>
                  </a:lnTo>
                  <a:close/>
                  <a:moveTo>
                    <a:pt x="152" y="91"/>
                  </a:moveTo>
                  <a:lnTo>
                    <a:pt x="162" y="91"/>
                  </a:lnTo>
                  <a:lnTo>
                    <a:pt x="162" y="100"/>
                  </a:lnTo>
                  <a:lnTo>
                    <a:pt x="152" y="100"/>
                  </a:lnTo>
                  <a:lnTo>
                    <a:pt x="152" y="91"/>
                  </a:lnTo>
                  <a:close/>
                  <a:moveTo>
                    <a:pt x="152" y="111"/>
                  </a:moveTo>
                  <a:lnTo>
                    <a:pt x="162" y="111"/>
                  </a:lnTo>
                  <a:lnTo>
                    <a:pt x="162" y="121"/>
                  </a:lnTo>
                  <a:lnTo>
                    <a:pt x="152" y="121"/>
                  </a:lnTo>
                  <a:lnTo>
                    <a:pt x="152" y="111"/>
                  </a:lnTo>
                  <a:close/>
                  <a:moveTo>
                    <a:pt x="152" y="132"/>
                  </a:moveTo>
                  <a:lnTo>
                    <a:pt x="162" y="132"/>
                  </a:lnTo>
                  <a:lnTo>
                    <a:pt x="162" y="142"/>
                  </a:lnTo>
                  <a:lnTo>
                    <a:pt x="152" y="142"/>
                  </a:lnTo>
                  <a:lnTo>
                    <a:pt x="152" y="132"/>
                  </a:lnTo>
                  <a:close/>
                  <a:moveTo>
                    <a:pt x="152" y="152"/>
                  </a:moveTo>
                  <a:lnTo>
                    <a:pt x="162" y="152"/>
                  </a:lnTo>
                  <a:lnTo>
                    <a:pt x="162" y="162"/>
                  </a:lnTo>
                  <a:lnTo>
                    <a:pt x="152" y="162"/>
                  </a:lnTo>
                  <a:lnTo>
                    <a:pt x="152" y="152"/>
                  </a:lnTo>
                  <a:close/>
                  <a:moveTo>
                    <a:pt x="152" y="172"/>
                  </a:moveTo>
                  <a:lnTo>
                    <a:pt x="162" y="172"/>
                  </a:lnTo>
                  <a:lnTo>
                    <a:pt x="162" y="181"/>
                  </a:lnTo>
                  <a:lnTo>
                    <a:pt x="152" y="181"/>
                  </a:lnTo>
                  <a:lnTo>
                    <a:pt x="152" y="172"/>
                  </a:lnTo>
                  <a:close/>
                  <a:moveTo>
                    <a:pt x="152" y="192"/>
                  </a:moveTo>
                  <a:lnTo>
                    <a:pt x="162" y="192"/>
                  </a:lnTo>
                  <a:lnTo>
                    <a:pt x="162" y="202"/>
                  </a:lnTo>
                  <a:lnTo>
                    <a:pt x="152" y="202"/>
                  </a:lnTo>
                  <a:lnTo>
                    <a:pt x="152" y="192"/>
                  </a:lnTo>
                  <a:close/>
                  <a:moveTo>
                    <a:pt x="152" y="213"/>
                  </a:moveTo>
                  <a:lnTo>
                    <a:pt x="162" y="213"/>
                  </a:lnTo>
                  <a:lnTo>
                    <a:pt x="162" y="222"/>
                  </a:lnTo>
                  <a:lnTo>
                    <a:pt x="152" y="222"/>
                  </a:lnTo>
                  <a:lnTo>
                    <a:pt x="152" y="213"/>
                  </a:lnTo>
                  <a:close/>
                  <a:moveTo>
                    <a:pt x="152" y="233"/>
                  </a:moveTo>
                  <a:lnTo>
                    <a:pt x="162" y="233"/>
                  </a:lnTo>
                  <a:lnTo>
                    <a:pt x="162" y="243"/>
                  </a:lnTo>
                  <a:lnTo>
                    <a:pt x="152" y="243"/>
                  </a:lnTo>
                  <a:lnTo>
                    <a:pt x="152" y="233"/>
                  </a:lnTo>
                  <a:close/>
                  <a:moveTo>
                    <a:pt x="152" y="253"/>
                  </a:moveTo>
                  <a:lnTo>
                    <a:pt x="162" y="253"/>
                  </a:lnTo>
                  <a:lnTo>
                    <a:pt x="162" y="262"/>
                  </a:lnTo>
                  <a:lnTo>
                    <a:pt x="152" y="262"/>
                  </a:lnTo>
                  <a:lnTo>
                    <a:pt x="152" y="253"/>
                  </a:lnTo>
                  <a:close/>
                  <a:moveTo>
                    <a:pt x="152" y="273"/>
                  </a:moveTo>
                  <a:lnTo>
                    <a:pt x="162" y="273"/>
                  </a:lnTo>
                  <a:lnTo>
                    <a:pt x="162" y="283"/>
                  </a:lnTo>
                  <a:lnTo>
                    <a:pt x="152" y="283"/>
                  </a:lnTo>
                  <a:lnTo>
                    <a:pt x="152" y="273"/>
                  </a:lnTo>
                  <a:close/>
                  <a:moveTo>
                    <a:pt x="152" y="294"/>
                  </a:moveTo>
                  <a:lnTo>
                    <a:pt x="162" y="294"/>
                  </a:lnTo>
                  <a:lnTo>
                    <a:pt x="162" y="303"/>
                  </a:lnTo>
                  <a:lnTo>
                    <a:pt x="152" y="303"/>
                  </a:lnTo>
                  <a:lnTo>
                    <a:pt x="152" y="294"/>
                  </a:lnTo>
                  <a:close/>
                  <a:moveTo>
                    <a:pt x="152" y="314"/>
                  </a:moveTo>
                  <a:lnTo>
                    <a:pt x="162" y="314"/>
                  </a:lnTo>
                  <a:lnTo>
                    <a:pt x="162" y="324"/>
                  </a:lnTo>
                  <a:lnTo>
                    <a:pt x="152" y="324"/>
                  </a:lnTo>
                  <a:lnTo>
                    <a:pt x="152" y="314"/>
                  </a:lnTo>
                  <a:close/>
                  <a:moveTo>
                    <a:pt x="152" y="333"/>
                  </a:moveTo>
                  <a:lnTo>
                    <a:pt x="162" y="333"/>
                  </a:lnTo>
                  <a:lnTo>
                    <a:pt x="162" y="343"/>
                  </a:lnTo>
                  <a:lnTo>
                    <a:pt x="152" y="343"/>
                  </a:lnTo>
                  <a:lnTo>
                    <a:pt x="152" y="333"/>
                  </a:lnTo>
                  <a:close/>
                  <a:moveTo>
                    <a:pt x="152" y="354"/>
                  </a:moveTo>
                  <a:lnTo>
                    <a:pt x="162" y="354"/>
                  </a:lnTo>
                  <a:lnTo>
                    <a:pt x="162" y="364"/>
                  </a:lnTo>
                  <a:lnTo>
                    <a:pt x="152" y="364"/>
                  </a:lnTo>
                  <a:lnTo>
                    <a:pt x="152" y="354"/>
                  </a:lnTo>
                  <a:close/>
                  <a:moveTo>
                    <a:pt x="152" y="375"/>
                  </a:moveTo>
                  <a:lnTo>
                    <a:pt x="162" y="375"/>
                  </a:lnTo>
                  <a:lnTo>
                    <a:pt x="162" y="384"/>
                  </a:lnTo>
                  <a:lnTo>
                    <a:pt x="152" y="384"/>
                  </a:lnTo>
                  <a:lnTo>
                    <a:pt x="152" y="375"/>
                  </a:lnTo>
                  <a:close/>
                  <a:moveTo>
                    <a:pt x="152" y="395"/>
                  </a:moveTo>
                  <a:lnTo>
                    <a:pt x="162" y="395"/>
                  </a:lnTo>
                  <a:lnTo>
                    <a:pt x="162" y="405"/>
                  </a:lnTo>
                  <a:lnTo>
                    <a:pt x="152" y="405"/>
                  </a:lnTo>
                  <a:lnTo>
                    <a:pt x="152" y="395"/>
                  </a:lnTo>
                  <a:close/>
                  <a:moveTo>
                    <a:pt x="152" y="414"/>
                  </a:moveTo>
                  <a:lnTo>
                    <a:pt x="162" y="414"/>
                  </a:lnTo>
                  <a:lnTo>
                    <a:pt x="162" y="424"/>
                  </a:lnTo>
                  <a:lnTo>
                    <a:pt x="152" y="424"/>
                  </a:lnTo>
                  <a:lnTo>
                    <a:pt x="152" y="414"/>
                  </a:lnTo>
                  <a:close/>
                  <a:moveTo>
                    <a:pt x="152" y="435"/>
                  </a:moveTo>
                  <a:lnTo>
                    <a:pt x="162" y="435"/>
                  </a:lnTo>
                  <a:lnTo>
                    <a:pt x="162" y="444"/>
                  </a:lnTo>
                  <a:lnTo>
                    <a:pt x="152" y="444"/>
                  </a:lnTo>
                  <a:lnTo>
                    <a:pt x="152" y="435"/>
                  </a:lnTo>
                  <a:close/>
                  <a:moveTo>
                    <a:pt x="162" y="455"/>
                  </a:moveTo>
                  <a:lnTo>
                    <a:pt x="162" y="465"/>
                  </a:lnTo>
                  <a:lnTo>
                    <a:pt x="152" y="465"/>
                  </a:lnTo>
                  <a:lnTo>
                    <a:pt x="152" y="455"/>
                  </a:lnTo>
                  <a:lnTo>
                    <a:pt x="162" y="455"/>
                  </a:lnTo>
                  <a:close/>
                  <a:moveTo>
                    <a:pt x="132" y="30"/>
                  </a:moveTo>
                  <a:lnTo>
                    <a:pt x="141" y="30"/>
                  </a:lnTo>
                  <a:lnTo>
                    <a:pt x="141" y="40"/>
                  </a:lnTo>
                  <a:lnTo>
                    <a:pt x="132" y="40"/>
                  </a:lnTo>
                  <a:lnTo>
                    <a:pt x="132" y="30"/>
                  </a:lnTo>
                  <a:close/>
                  <a:moveTo>
                    <a:pt x="132" y="51"/>
                  </a:moveTo>
                  <a:lnTo>
                    <a:pt x="141" y="51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32" y="51"/>
                  </a:lnTo>
                  <a:close/>
                  <a:moveTo>
                    <a:pt x="132" y="72"/>
                  </a:moveTo>
                  <a:lnTo>
                    <a:pt x="141" y="72"/>
                  </a:lnTo>
                  <a:lnTo>
                    <a:pt x="141" y="81"/>
                  </a:lnTo>
                  <a:lnTo>
                    <a:pt x="132" y="81"/>
                  </a:lnTo>
                  <a:lnTo>
                    <a:pt x="132" y="72"/>
                  </a:lnTo>
                  <a:close/>
                  <a:moveTo>
                    <a:pt x="132" y="91"/>
                  </a:moveTo>
                  <a:lnTo>
                    <a:pt x="141" y="91"/>
                  </a:lnTo>
                  <a:lnTo>
                    <a:pt x="141" y="100"/>
                  </a:lnTo>
                  <a:lnTo>
                    <a:pt x="132" y="100"/>
                  </a:lnTo>
                  <a:lnTo>
                    <a:pt x="132" y="91"/>
                  </a:lnTo>
                  <a:close/>
                  <a:moveTo>
                    <a:pt x="132" y="111"/>
                  </a:moveTo>
                  <a:lnTo>
                    <a:pt x="141" y="111"/>
                  </a:lnTo>
                  <a:lnTo>
                    <a:pt x="141" y="121"/>
                  </a:lnTo>
                  <a:lnTo>
                    <a:pt x="132" y="121"/>
                  </a:lnTo>
                  <a:lnTo>
                    <a:pt x="132" y="111"/>
                  </a:lnTo>
                  <a:close/>
                  <a:moveTo>
                    <a:pt x="132" y="132"/>
                  </a:moveTo>
                  <a:lnTo>
                    <a:pt x="141" y="132"/>
                  </a:lnTo>
                  <a:lnTo>
                    <a:pt x="141" y="142"/>
                  </a:lnTo>
                  <a:lnTo>
                    <a:pt x="132" y="142"/>
                  </a:lnTo>
                  <a:lnTo>
                    <a:pt x="132" y="132"/>
                  </a:lnTo>
                  <a:close/>
                  <a:moveTo>
                    <a:pt x="132" y="152"/>
                  </a:moveTo>
                  <a:lnTo>
                    <a:pt x="141" y="152"/>
                  </a:lnTo>
                  <a:lnTo>
                    <a:pt x="141" y="162"/>
                  </a:lnTo>
                  <a:lnTo>
                    <a:pt x="132" y="162"/>
                  </a:lnTo>
                  <a:lnTo>
                    <a:pt x="132" y="152"/>
                  </a:lnTo>
                  <a:close/>
                  <a:moveTo>
                    <a:pt x="132" y="172"/>
                  </a:moveTo>
                  <a:lnTo>
                    <a:pt x="141" y="172"/>
                  </a:lnTo>
                  <a:lnTo>
                    <a:pt x="141" y="181"/>
                  </a:lnTo>
                  <a:lnTo>
                    <a:pt x="132" y="181"/>
                  </a:lnTo>
                  <a:lnTo>
                    <a:pt x="132" y="172"/>
                  </a:lnTo>
                  <a:close/>
                  <a:moveTo>
                    <a:pt x="132" y="192"/>
                  </a:moveTo>
                  <a:lnTo>
                    <a:pt x="141" y="192"/>
                  </a:lnTo>
                  <a:lnTo>
                    <a:pt x="141" y="202"/>
                  </a:lnTo>
                  <a:lnTo>
                    <a:pt x="132" y="202"/>
                  </a:lnTo>
                  <a:lnTo>
                    <a:pt x="132" y="192"/>
                  </a:lnTo>
                  <a:close/>
                  <a:moveTo>
                    <a:pt x="132" y="213"/>
                  </a:moveTo>
                  <a:lnTo>
                    <a:pt x="141" y="213"/>
                  </a:lnTo>
                  <a:lnTo>
                    <a:pt x="141" y="222"/>
                  </a:lnTo>
                  <a:lnTo>
                    <a:pt x="132" y="222"/>
                  </a:lnTo>
                  <a:lnTo>
                    <a:pt x="132" y="213"/>
                  </a:lnTo>
                  <a:close/>
                  <a:moveTo>
                    <a:pt x="132" y="233"/>
                  </a:moveTo>
                  <a:lnTo>
                    <a:pt x="141" y="233"/>
                  </a:lnTo>
                  <a:lnTo>
                    <a:pt x="141" y="243"/>
                  </a:lnTo>
                  <a:lnTo>
                    <a:pt x="132" y="243"/>
                  </a:lnTo>
                  <a:lnTo>
                    <a:pt x="132" y="233"/>
                  </a:lnTo>
                  <a:close/>
                  <a:moveTo>
                    <a:pt x="132" y="253"/>
                  </a:moveTo>
                  <a:lnTo>
                    <a:pt x="141" y="253"/>
                  </a:lnTo>
                  <a:lnTo>
                    <a:pt x="141" y="262"/>
                  </a:lnTo>
                  <a:lnTo>
                    <a:pt x="132" y="262"/>
                  </a:lnTo>
                  <a:lnTo>
                    <a:pt x="132" y="253"/>
                  </a:lnTo>
                  <a:close/>
                  <a:moveTo>
                    <a:pt x="132" y="273"/>
                  </a:moveTo>
                  <a:lnTo>
                    <a:pt x="141" y="273"/>
                  </a:lnTo>
                  <a:lnTo>
                    <a:pt x="141" y="283"/>
                  </a:lnTo>
                  <a:lnTo>
                    <a:pt x="132" y="283"/>
                  </a:lnTo>
                  <a:lnTo>
                    <a:pt x="132" y="273"/>
                  </a:lnTo>
                  <a:close/>
                  <a:moveTo>
                    <a:pt x="132" y="294"/>
                  </a:moveTo>
                  <a:lnTo>
                    <a:pt x="141" y="294"/>
                  </a:lnTo>
                  <a:lnTo>
                    <a:pt x="141" y="303"/>
                  </a:lnTo>
                  <a:lnTo>
                    <a:pt x="132" y="303"/>
                  </a:lnTo>
                  <a:lnTo>
                    <a:pt x="132" y="294"/>
                  </a:lnTo>
                  <a:close/>
                  <a:moveTo>
                    <a:pt x="132" y="314"/>
                  </a:moveTo>
                  <a:lnTo>
                    <a:pt x="141" y="314"/>
                  </a:lnTo>
                  <a:lnTo>
                    <a:pt x="141" y="324"/>
                  </a:lnTo>
                  <a:lnTo>
                    <a:pt x="132" y="324"/>
                  </a:lnTo>
                  <a:lnTo>
                    <a:pt x="132" y="314"/>
                  </a:lnTo>
                  <a:close/>
                  <a:moveTo>
                    <a:pt x="132" y="333"/>
                  </a:moveTo>
                  <a:lnTo>
                    <a:pt x="141" y="333"/>
                  </a:lnTo>
                  <a:lnTo>
                    <a:pt x="141" y="343"/>
                  </a:lnTo>
                  <a:lnTo>
                    <a:pt x="132" y="343"/>
                  </a:lnTo>
                  <a:lnTo>
                    <a:pt x="132" y="333"/>
                  </a:lnTo>
                  <a:close/>
                  <a:moveTo>
                    <a:pt x="132" y="354"/>
                  </a:moveTo>
                  <a:lnTo>
                    <a:pt x="141" y="354"/>
                  </a:lnTo>
                  <a:lnTo>
                    <a:pt x="141" y="364"/>
                  </a:lnTo>
                  <a:lnTo>
                    <a:pt x="132" y="364"/>
                  </a:lnTo>
                  <a:lnTo>
                    <a:pt x="132" y="354"/>
                  </a:lnTo>
                  <a:close/>
                  <a:moveTo>
                    <a:pt x="132" y="375"/>
                  </a:moveTo>
                  <a:lnTo>
                    <a:pt x="141" y="375"/>
                  </a:lnTo>
                  <a:lnTo>
                    <a:pt x="141" y="384"/>
                  </a:lnTo>
                  <a:lnTo>
                    <a:pt x="132" y="384"/>
                  </a:lnTo>
                  <a:lnTo>
                    <a:pt x="132" y="375"/>
                  </a:lnTo>
                  <a:close/>
                  <a:moveTo>
                    <a:pt x="132" y="395"/>
                  </a:moveTo>
                  <a:lnTo>
                    <a:pt x="141" y="395"/>
                  </a:lnTo>
                  <a:lnTo>
                    <a:pt x="141" y="405"/>
                  </a:lnTo>
                  <a:lnTo>
                    <a:pt x="132" y="405"/>
                  </a:lnTo>
                  <a:lnTo>
                    <a:pt x="132" y="395"/>
                  </a:lnTo>
                  <a:close/>
                  <a:moveTo>
                    <a:pt x="132" y="414"/>
                  </a:moveTo>
                  <a:lnTo>
                    <a:pt x="141" y="414"/>
                  </a:lnTo>
                  <a:lnTo>
                    <a:pt x="141" y="424"/>
                  </a:lnTo>
                  <a:lnTo>
                    <a:pt x="132" y="424"/>
                  </a:lnTo>
                  <a:lnTo>
                    <a:pt x="132" y="414"/>
                  </a:lnTo>
                  <a:close/>
                  <a:moveTo>
                    <a:pt x="132" y="435"/>
                  </a:moveTo>
                  <a:lnTo>
                    <a:pt x="141" y="435"/>
                  </a:lnTo>
                  <a:lnTo>
                    <a:pt x="141" y="444"/>
                  </a:lnTo>
                  <a:lnTo>
                    <a:pt x="132" y="444"/>
                  </a:lnTo>
                  <a:lnTo>
                    <a:pt x="132" y="435"/>
                  </a:lnTo>
                  <a:close/>
                  <a:moveTo>
                    <a:pt x="141" y="455"/>
                  </a:moveTo>
                  <a:lnTo>
                    <a:pt x="141" y="465"/>
                  </a:lnTo>
                  <a:lnTo>
                    <a:pt x="132" y="465"/>
                  </a:lnTo>
                  <a:lnTo>
                    <a:pt x="132" y="455"/>
                  </a:lnTo>
                  <a:lnTo>
                    <a:pt x="141" y="455"/>
                  </a:lnTo>
                  <a:close/>
                  <a:moveTo>
                    <a:pt x="112" y="30"/>
                  </a:moveTo>
                  <a:lnTo>
                    <a:pt x="122" y="30"/>
                  </a:lnTo>
                  <a:lnTo>
                    <a:pt x="122" y="40"/>
                  </a:lnTo>
                  <a:lnTo>
                    <a:pt x="112" y="40"/>
                  </a:lnTo>
                  <a:lnTo>
                    <a:pt x="112" y="30"/>
                  </a:lnTo>
                  <a:close/>
                  <a:moveTo>
                    <a:pt x="112" y="51"/>
                  </a:moveTo>
                  <a:lnTo>
                    <a:pt x="122" y="51"/>
                  </a:lnTo>
                  <a:lnTo>
                    <a:pt x="122" y="61"/>
                  </a:lnTo>
                  <a:lnTo>
                    <a:pt x="112" y="61"/>
                  </a:lnTo>
                  <a:lnTo>
                    <a:pt x="112" y="51"/>
                  </a:lnTo>
                  <a:close/>
                  <a:moveTo>
                    <a:pt x="112" y="72"/>
                  </a:moveTo>
                  <a:lnTo>
                    <a:pt x="122" y="72"/>
                  </a:lnTo>
                  <a:lnTo>
                    <a:pt x="122" y="81"/>
                  </a:lnTo>
                  <a:lnTo>
                    <a:pt x="112" y="81"/>
                  </a:lnTo>
                  <a:lnTo>
                    <a:pt x="112" y="72"/>
                  </a:lnTo>
                  <a:close/>
                  <a:moveTo>
                    <a:pt x="112" y="91"/>
                  </a:moveTo>
                  <a:lnTo>
                    <a:pt x="122" y="91"/>
                  </a:lnTo>
                  <a:lnTo>
                    <a:pt x="122" y="100"/>
                  </a:lnTo>
                  <a:lnTo>
                    <a:pt x="112" y="100"/>
                  </a:lnTo>
                  <a:lnTo>
                    <a:pt x="112" y="91"/>
                  </a:lnTo>
                  <a:close/>
                  <a:moveTo>
                    <a:pt x="112" y="111"/>
                  </a:moveTo>
                  <a:lnTo>
                    <a:pt x="122" y="111"/>
                  </a:lnTo>
                  <a:lnTo>
                    <a:pt x="122" y="121"/>
                  </a:lnTo>
                  <a:lnTo>
                    <a:pt x="112" y="121"/>
                  </a:lnTo>
                  <a:lnTo>
                    <a:pt x="112" y="111"/>
                  </a:lnTo>
                  <a:close/>
                  <a:moveTo>
                    <a:pt x="112" y="132"/>
                  </a:moveTo>
                  <a:lnTo>
                    <a:pt x="122" y="132"/>
                  </a:lnTo>
                  <a:lnTo>
                    <a:pt x="122" y="142"/>
                  </a:lnTo>
                  <a:lnTo>
                    <a:pt x="112" y="142"/>
                  </a:lnTo>
                  <a:lnTo>
                    <a:pt x="112" y="132"/>
                  </a:lnTo>
                  <a:close/>
                  <a:moveTo>
                    <a:pt x="112" y="152"/>
                  </a:moveTo>
                  <a:lnTo>
                    <a:pt x="122" y="152"/>
                  </a:lnTo>
                  <a:lnTo>
                    <a:pt x="122" y="162"/>
                  </a:lnTo>
                  <a:lnTo>
                    <a:pt x="112" y="162"/>
                  </a:lnTo>
                  <a:lnTo>
                    <a:pt x="112" y="152"/>
                  </a:lnTo>
                  <a:close/>
                  <a:moveTo>
                    <a:pt x="112" y="172"/>
                  </a:moveTo>
                  <a:lnTo>
                    <a:pt x="122" y="172"/>
                  </a:lnTo>
                  <a:lnTo>
                    <a:pt x="122" y="181"/>
                  </a:lnTo>
                  <a:lnTo>
                    <a:pt x="112" y="181"/>
                  </a:lnTo>
                  <a:lnTo>
                    <a:pt x="112" y="172"/>
                  </a:lnTo>
                  <a:close/>
                  <a:moveTo>
                    <a:pt x="112" y="192"/>
                  </a:moveTo>
                  <a:lnTo>
                    <a:pt x="122" y="192"/>
                  </a:lnTo>
                  <a:lnTo>
                    <a:pt x="122" y="202"/>
                  </a:lnTo>
                  <a:lnTo>
                    <a:pt x="112" y="202"/>
                  </a:lnTo>
                  <a:lnTo>
                    <a:pt x="112" y="192"/>
                  </a:lnTo>
                  <a:close/>
                  <a:moveTo>
                    <a:pt x="112" y="213"/>
                  </a:moveTo>
                  <a:lnTo>
                    <a:pt x="122" y="213"/>
                  </a:lnTo>
                  <a:lnTo>
                    <a:pt x="122" y="222"/>
                  </a:lnTo>
                  <a:lnTo>
                    <a:pt x="112" y="222"/>
                  </a:lnTo>
                  <a:lnTo>
                    <a:pt x="112" y="213"/>
                  </a:lnTo>
                  <a:close/>
                  <a:moveTo>
                    <a:pt x="112" y="233"/>
                  </a:moveTo>
                  <a:lnTo>
                    <a:pt x="122" y="233"/>
                  </a:lnTo>
                  <a:lnTo>
                    <a:pt x="122" y="243"/>
                  </a:lnTo>
                  <a:lnTo>
                    <a:pt x="112" y="243"/>
                  </a:lnTo>
                  <a:lnTo>
                    <a:pt x="112" y="233"/>
                  </a:lnTo>
                  <a:close/>
                  <a:moveTo>
                    <a:pt x="112" y="253"/>
                  </a:moveTo>
                  <a:lnTo>
                    <a:pt x="122" y="253"/>
                  </a:lnTo>
                  <a:lnTo>
                    <a:pt x="122" y="262"/>
                  </a:lnTo>
                  <a:lnTo>
                    <a:pt x="112" y="262"/>
                  </a:lnTo>
                  <a:lnTo>
                    <a:pt x="112" y="253"/>
                  </a:lnTo>
                  <a:close/>
                  <a:moveTo>
                    <a:pt x="112" y="273"/>
                  </a:moveTo>
                  <a:lnTo>
                    <a:pt x="122" y="273"/>
                  </a:lnTo>
                  <a:lnTo>
                    <a:pt x="122" y="283"/>
                  </a:lnTo>
                  <a:lnTo>
                    <a:pt x="112" y="283"/>
                  </a:lnTo>
                  <a:lnTo>
                    <a:pt x="112" y="273"/>
                  </a:lnTo>
                  <a:close/>
                  <a:moveTo>
                    <a:pt x="112" y="294"/>
                  </a:moveTo>
                  <a:lnTo>
                    <a:pt x="122" y="294"/>
                  </a:lnTo>
                  <a:lnTo>
                    <a:pt x="122" y="303"/>
                  </a:lnTo>
                  <a:lnTo>
                    <a:pt x="112" y="303"/>
                  </a:lnTo>
                  <a:lnTo>
                    <a:pt x="112" y="294"/>
                  </a:lnTo>
                  <a:close/>
                  <a:moveTo>
                    <a:pt x="112" y="314"/>
                  </a:moveTo>
                  <a:lnTo>
                    <a:pt x="122" y="314"/>
                  </a:lnTo>
                  <a:lnTo>
                    <a:pt x="122" y="324"/>
                  </a:lnTo>
                  <a:lnTo>
                    <a:pt x="112" y="324"/>
                  </a:lnTo>
                  <a:lnTo>
                    <a:pt x="112" y="314"/>
                  </a:lnTo>
                  <a:close/>
                  <a:moveTo>
                    <a:pt x="112" y="333"/>
                  </a:moveTo>
                  <a:lnTo>
                    <a:pt x="122" y="333"/>
                  </a:lnTo>
                  <a:lnTo>
                    <a:pt x="122" y="343"/>
                  </a:lnTo>
                  <a:lnTo>
                    <a:pt x="112" y="343"/>
                  </a:lnTo>
                  <a:lnTo>
                    <a:pt x="112" y="333"/>
                  </a:lnTo>
                  <a:close/>
                  <a:moveTo>
                    <a:pt x="112" y="354"/>
                  </a:moveTo>
                  <a:lnTo>
                    <a:pt x="122" y="354"/>
                  </a:lnTo>
                  <a:lnTo>
                    <a:pt x="122" y="364"/>
                  </a:lnTo>
                  <a:lnTo>
                    <a:pt x="112" y="364"/>
                  </a:lnTo>
                  <a:lnTo>
                    <a:pt x="112" y="354"/>
                  </a:lnTo>
                  <a:close/>
                  <a:moveTo>
                    <a:pt x="112" y="375"/>
                  </a:moveTo>
                  <a:lnTo>
                    <a:pt x="122" y="375"/>
                  </a:lnTo>
                  <a:lnTo>
                    <a:pt x="122" y="384"/>
                  </a:lnTo>
                  <a:lnTo>
                    <a:pt x="112" y="384"/>
                  </a:lnTo>
                  <a:lnTo>
                    <a:pt x="112" y="375"/>
                  </a:lnTo>
                  <a:close/>
                  <a:moveTo>
                    <a:pt x="112" y="395"/>
                  </a:moveTo>
                  <a:lnTo>
                    <a:pt x="122" y="395"/>
                  </a:lnTo>
                  <a:lnTo>
                    <a:pt x="122" y="405"/>
                  </a:lnTo>
                  <a:lnTo>
                    <a:pt x="112" y="405"/>
                  </a:lnTo>
                  <a:lnTo>
                    <a:pt x="112" y="395"/>
                  </a:lnTo>
                  <a:close/>
                  <a:moveTo>
                    <a:pt x="112" y="414"/>
                  </a:moveTo>
                  <a:lnTo>
                    <a:pt x="122" y="414"/>
                  </a:lnTo>
                  <a:lnTo>
                    <a:pt x="122" y="424"/>
                  </a:lnTo>
                  <a:lnTo>
                    <a:pt x="112" y="424"/>
                  </a:lnTo>
                  <a:lnTo>
                    <a:pt x="112" y="414"/>
                  </a:lnTo>
                  <a:close/>
                  <a:moveTo>
                    <a:pt x="112" y="435"/>
                  </a:moveTo>
                  <a:lnTo>
                    <a:pt x="122" y="435"/>
                  </a:lnTo>
                  <a:lnTo>
                    <a:pt x="122" y="444"/>
                  </a:lnTo>
                  <a:lnTo>
                    <a:pt x="112" y="444"/>
                  </a:lnTo>
                  <a:lnTo>
                    <a:pt x="112" y="435"/>
                  </a:lnTo>
                  <a:close/>
                  <a:moveTo>
                    <a:pt x="122" y="455"/>
                  </a:moveTo>
                  <a:lnTo>
                    <a:pt x="122" y="465"/>
                  </a:lnTo>
                  <a:lnTo>
                    <a:pt x="112" y="465"/>
                  </a:lnTo>
                  <a:lnTo>
                    <a:pt x="112" y="455"/>
                  </a:lnTo>
                  <a:lnTo>
                    <a:pt x="122" y="455"/>
                  </a:lnTo>
                  <a:close/>
                  <a:moveTo>
                    <a:pt x="92" y="30"/>
                  </a:moveTo>
                  <a:lnTo>
                    <a:pt x="101" y="30"/>
                  </a:lnTo>
                  <a:lnTo>
                    <a:pt x="101" y="40"/>
                  </a:lnTo>
                  <a:lnTo>
                    <a:pt x="92" y="40"/>
                  </a:lnTo>
                  <a:lnTo>
                    <a:pt x="92" y="30"/>
                  </a:lnTo>
                  <a:close/>
                  <a:moveTo>
                    <a:pt x="92" y="51"/>
                  </a:moveTo>
                  <a:lnTo>
                    <a:pt x="101" y="51"/>
                  </a:lnTo>
                  <a:lnTo>
                    <a:pt x="101" y="61"/>
                  </a:lnTo>
                  <a:lnTo>
                    <a:pt x="92" y="61"/>
                  </a:lnTo>
                  <a:lnTo>
                    <a:pt x="92" y="51"/>
                  </a:lnTo>
                  <a:close/>
                  <a:moveTo>
                    <a:pt x="92" y="72"/>
                  </a:moveTo>
                  <a:lnTo>
                    <a:pt x="101" y="72"/>
                  </a:lnTo>
                  <a:lnTo>
                    <a:pt x="101" y="81"/>
                  </a:lnTo>
                  <a:lnTo>
                    <a:pt x="92" y="81"/>
                  </a:lnTo>
                  <a:lnTo>
                    <a:pt x="92" y="72"/>
                  </a:lnTo>
                  <a:close/>
                  <a:moveTo>
                    <a:pt x="92" y="91"/>
                  </a:moveTo>
                  <a:lnTo>
                    <a:pt x="101" y="91"/>
                  </a:lnTo>
                  <a:lnTo>
                    <a:pt x="101" y="100"/>
                  </a:lnTo>
                  <a:lnTo>
                    <a:pt x="92" y="100"/>
                  </a:lnTo>
                  <a:lnTo>
                    <a:pt x="92" y="91"/>
                  </a:lnTo>
                  <a:close/>
                  <a:moveTo>
                    <a:pt x="92" y="111"/>
                  </a:moveTo>
                  <a:lnTo>
                    <a:pt x="101" y="111"/>
                  </a:lnTo>
                  <a:lnTo>
                    <a:pt x="101" y="121"/>
                  </a:lnTo>
                  <a:lnTo>
                    <a:pt x="92" y="121"/>
                  </a:lnTo>
                  <a:lnTo>
                    <a:pt x="92" y="111"/>
                  </a:lnTo>
                  <a:close/>
                  <a:moveTo>
                    <a:pt x="92" y="132"/>
                  </a:moveTo>
                  <a:lnTo>
                    <a:pt x="101" y="132"/>
                  </a:lnTo>
                  <a:lnTo>
                    <a:pt x="101" y="142"/>
                  </a:lnTo>
                  <a:lnTo>
                    <a:pt x="92" y="142"/>
                  </a:lnTo>
                  <a:lnTo>
                    <a:pt x="92" y="132"/>
                  </a:lnTo>
                  <a:close/>
                  <a:moveTo>
                    <a:pt x="92" y="152"/>
                  </a:moveTo>
                  <a:lnTo>
                    <a:pt x="101" y="152"/>
                  </a:lnTo>
                  <a:lnTo>
                    <a:pt x="101" y="162"/>
                  </a:lnTo>
                  <a:lnTo>
                    <a:pt x="92" y="162"/>
                  </a:lnTo>
                  <a:lnTo>
                    <a:pt x="92" y="152"/>
                  </a:lnTo>
                  <a:close/>
                  <a:moveTo>
                    <a:pt x="92" y="172"/>
                  </a:moveTo>
                  <a:lnTo>
                    <a:pt x="101" y="172"/>
                  </a:lnTo>
                  <a:lnTo>
                    <a:pt x="101" y="181"/>
                  </a:lnTo>
                  <a:lnTo>
                    <a:pt x="92" y="181"/>
                  </a:lnTo>
                  <a:lnTo>
                    <a:pt x="92" y="172"/>
                  </a:lnTo>
                  <a:close/>
                  <a:moveTo>
                    <a:pt x="92" y="192"/>
                  </a:moveTo>
                  <a:lnTo>
                    <a:pt x="101" y="192"/>
                  </a:lnTo>
                  <a:lnTo>
                    <a:pt x="101" y="202"/>
                  </a:lnTo>
                  <a:lnTo>
                    <a:pt x="92" y="202"/>
                  </a:lnTo>
                  <a:lnTo>
                    <a:pt x="92" y="192"/>
                  </a:lnTo>
                  <a:close/>
                  <a:moveTo>
                    <a:pt x="92" y="213"/>
                  </a:moveTo>
                  <a:lnTo>
                    <a:pt x="101" y="213"/>
                  </a:lnTo>
                  <a:lnTo>
                    <a:pt x="101" y="222"/>
                  </a:lnTo>
                  <a:lnTo>
                    <a:pt x="92" y="222"/>
                  </a:lnTo>
                  <a:lnTo>
                    <a:pt x="92" y="213"/>
                  </a:lnTo>
                  <a:close/>
                  <a:moveTo>
                    <a:pt x="92" y="233"/>
                  </a:moveTo>
                  <a:lnTo>
                    <a:pt x="101" y="233"/>
                  </a:lnTo>
                  <a:lnTo>
                    <a:pt x="101" y="243"/>
                  </a:lnTo>
                  <a:lnTo>
                    <a:pt x="92" y="243"/>
                  </a:lnTo>
                  <a:lnTo>
                    <a:pt x="92" y="233"/>
                  </a:lnTo>
                  <a:close/>
                  <a:moveTo>
                    <a:pt x="92" y="253"/>
                  </a:moveTo>
                  <a:lnTo>
                    <a:pt x="101" y="253"/>
                  </a:lnTo>
                  <a:lnTo>
                    <a:pt x="101" y="262"/>
                  </a:lnTo>
                  <a:lnTo>
                    <a:pt x="92" y="262"/>
                  </a:lnTo>
                  <a:lnTo>
                    <a:pt x="92" y="253"/>
                  </a:lnTo>
                  <a:close/>
                  <a:moveTo>
                    <a:pt x="92" y="273"/>
                  </a:moveTo>
                  <a:lnTo>
                    <a:pt x="101" y="273"/>
                  </a:lnTo>
                  <a:lnTo>
                    <a:pt x="101" y="283"/>
                  </a:lnTo>
                  <a:lnTo>
                    <a:pt x="92" y="283"/>
                  </a:lnTo>
                  <a:lnTo>
                    <a:pt x="92" y="273"/>
                  </a:lnTo>
                  <a:close/>
                  <a:moveTo>
                    <a:pt x="92" y="294"/>
                  </a:moveTo>
                  <a:lnTo>
                    <a:pt x="101" y="294"/>
                  </a:lnTo>
                  <a:lnTo>
                    <a:pt x="101" y="303"/>
                  </a:lnTo>
                  <a:lnTo>
                    <a:pt x="92" y="303"/>
                  </a:lnTo>
                  <a:lnTo>
                    <a:pt x="92" y="294"/>
                  </a:lnTo>
                  <a:close/>
                  <a:moveTo>
                    <a:pt x="92" y="314"/>
                  </a:moveTo>
                  <a:lnTo>
                    <a:pt x="101" y="314"/>
                  </a:lnTo>
                  <a:lnTo>
                    <a:pt x="101" y="324"/>
                  </a:lnTo>
                  <a:lnTo>
                    <a:pt x="92" y="324"/>
                  </a:lnTo>
                  <a:lnTo>
                    <a:pt x="92" y="314"/>
                  </a:lnTo>
                  <a:close/>
                  <a:moveTo>
                    <a:pt x="92" y="333"/>
                  </a:moveTo>
                  <a:lnTo>
                    <a:pt x="101" y="333"/>
                  </a:lnTo>
                  <a:lnTo>
                    <a:pt x="101" y="343"/>
                  </a:lnTo>
                  <a:lnTo>
                    <a:pt x="92" y="343"/>
                  </a:lnTo>
                  <a:lnTo>
                    <a:pt x="92" y="333"/>
                  </a:lnTo>
                  <a:close/>
                  <a:moveTo>
                    <a:pt x="92" y="354"/>
                  </a:moveTo>
                  <a:lnTo>
                    <a:pt x="101" y="354"/>
                  </a:lnTo>
                  <a:lnTo>
                    <a:pt x="101" y="364"/>
                  </a:lnTo>
                  <a:lnTo>
                    <a:pt x="92" y="364"/>
                  </a:lnTo>
                  <a:lnTo>
                    <a:pt x="92" y="354"/>
                  </a:lnTo>
                  <a:close/>
                  <a:moveTo>
                    <a:pt x="92" y="375"/>
                  </a:moveTo>
                  <a:lnTo>
                    <a:pt x="101" y="375"/>
                  </a:lnTo>
                  <a:lnTo>
                    <a:pt x="101" y="384"/>
                  </a:lnTo>
                  <a:lnTo>
                    <a:pt x="92" y="384"/>
                  </a:lnTo>
                  <a:lnTo>
                    <a:pt x="92" y="375"/>
                  </a:lnTo>
                  <a:close/>
                  <a:moveTo>
                    <a:pt x="92" y="395"/>
                  </a:moveTo>
                  <a:lnTo>
                    <a:pt x="101" y="395"/>
                  </a:lnTo>
                  <a:lnTo>
                    <a:pt x="101" y="405"/>
                  </a:lnTo>
                  <a:lnTo>
                    <a:pt x="92" y="405"/>
                  </a:lnTo>
                  <a:lnTo>
                    <a:pt x="92" y="395"/>
                  </a:lnTo>
                  <a:close/>
                  <a:moveTo>
                    <a:pt x="92" y="414"/>
                  </a:moveTo>
                  <a:lnTo>
                    <a:pt x="101" y="414"/>
                  </a:lnTo>
                  <a:lnTo>
                    <a:pt x="101" y="424"/>
                  </a:lnTo>
                  <a:lnTo>
                    <a:pt x="92" y="424"/>
                  </a:lnTo>
                  <a:lnTo>
                    <a:pt x="92" y="414"/>
                  </a:lnTo>
                  <a:close/>
                  <a:moveTo>
                    <a:pt x="92" y="435"/>
                  </a:moveTo>
                  <a:lnTo>
                    <a:pt x="101" y="435"/>
                  </a:lnTo>
                  <a:lnTo>
                    <a:pt x="101" y="444"/>
                  </a:lnTo>
                  <a:lnTo>
                    <a:pt x="92" y="444"/>
                  </a:lnTo>
                  <a:lnTo>
                    <a:pt x="92" y="435"/>
                  </a:lnTo>
                  <a:close/>
                  <a:moveTo>
                    <a:pt x="101" y="455"/>
                  </a:moveTo>
                  <a:lnTo>
                    <a:pt x="101" y="465"/>
                  </a:lnTo>
                  <a:lnTo>
                    <a:pt x="92" y="465"/>
                  </a:lnTo>
                  <a:lnTo>
                    <a:pt x="92" y="455"/>
                  </a:lnTo>
                  <a:lnTo>
                    <a:pt x="101" y="455"/>
                  </a:lnTo>
                  <a:close/>
                  <a:moveTo>
                    <a:pt x="71" y="30"/>
                  </a:moveTo>
                  <a:lnTo>
                    <a:pt x="81" y="30"/>
                  </a:lnTo>
                  <a:lnTo>
                    <a:pt x="81" y="40"/>
                  </a:lnTo>
                  <a:lnTo>
                    <a:pt x="71" y="40"/>
                  </a:lnTo>
                  <a:lnTo>
                    <a:pt x="71" y="30"/>
                  </a:lnTo>
                  <a:close/>
                  <a:moveTo>
                    <a:pt x="71" y="51"/>
                  </a:moveTo>
                  <a:lnTo>
                    <a:pt x="81" y="51"/>
                  </a:lnTo>
                  <a:lnTo>
                    <a:pt x="81" y="61"/>
                  </a:lnTo>
                  <a:lnTo>
                    <a:pt x="71" y="61"/>
                  </a:lnTo>
                  <a:lnTo>
                    <a:pt x="71" y="51"/>
                  </a:lnTo>
                  <a:close/>
                  <a:moveTo>
                    <a:pt x="71" y="72"/>
                  </a:moveTo>
                  <a:lnTo>
                    <a:pt x="81" y="72"/>
                  </a:lnTo>
                  <a:lnTo>
                    <a:pt x="81" y="81"/>
                  </a:lnTo>
                  <a:lnTo>
                    <a:pt x="71" y="81"/>
                  </a:lnTo>
                  <a:lnTo>
                    <a:pt x="71" y="72"/>
                  </a:lnTo>
                  <a:close/>
                  <a:moveTo>
                    <a:pt x="71" y="91"/>
                  </a:moveTo>
                  <a:lnTo>
                    <a:pt x="81" y="91"/>
                  </a:lnTo>
                  <a:lnTo>
                    <a:pt x="81" y="100"/>
                  </a:lnTo>
                  <a:lnTo>
                    <a:pt x="71" y="100"/>
                  </a:lnTo>
                  <a:lnTo>
                    <a:pt x="71" y="91"/>
                  </a:lnTo>
                  <a:close/>
                  <a:moveTo>
                    <a:pt x="71" y="111"/>
                  </a:moveTo>
                  <a:lnTo>
                    <a:pt x="81" y="111"/>
                  </a:lnTo>
                  <a:lnTo>
                    <a:pt x="81" y="121"/>
                  </a:lnTo>
                  <a:lnTo>
                    <a:pt x="71" y="121"/>
                  </a:lnTo>
                  <a:lnTo>
                    <a:pt x="71" y="111"/>
                  </a:lnTo>
                  <a:close/>
                  <a:moveTo>
                    <a:pt x="71" y="132"/>
                  </a:moveTo>
                  <a:lnTo>
                    <a:pt x="81" y="132"/>
                  </a:lnTo>
                  <a:lnTo>
                    <a:pt x="81" y="142"/>
                  </a:lnTo>
                  <a:lnTo>
                    <a:pt x="71" y="142"/>
                  </a:lnTo>
                  <a:lnTo>
                    <a:pt x="71" y="132"/>
                  </a:lnTo>
                  <a:close/>
                  <a:moveTo>
                    <a:pt x="71" y="152"/>
                  </a:moveTo>
                  <a:lnTo>
                    <a:pt x="81" y="152"/>
                  </a:lnTo>
                  <a:lnTo>
                    <a:pt x="81" y="162"/>
                  </a:lnTo>
                  <a:lnTo>
                    <a:pt x="71" y="162"/>
                  </a:lnTo>
                  <a:lnTo>
                    <a:pt x="71" y="152"/>
                  </a:lnTo>
                  <a:close/>
                  <a:moveTo>
                    <a:pt x="71" y="172"/>
                  </a:moveTo>
                  <a:lnTo>
                    <a:pt x="81" y="172"/>
                  </a:lnTo>
                  <a:lnTo>
                    <a:pt x="81" y="181"/>
                  </a:lnTo>
                  <a:lnTo>
                    <a:pt x="71" y="181"/>
                  </a:lnTo>
                  <a:lnTo>
                    <a:pt x="71" y="172"/>
                  </a:lnTo>
                  <a:close/>
                  <a:moveTo>
                    <a:pt x="71" y="192"/>
                  </a:moveTo>
                  <a:lnTo>
                    <a:pt x="81" y="192"/>
                  </a:lnTo>
                  <a:lnTo>
                    <a:pt x="81" y="202"/>
                  </a:lnTo>
                  <a:lnTo>
                    <a:pt x="71" y="202"/>
                  </a:lnTo>
                  <a:lnTo>
                    <a:pt x="71" y="192"/>
                  </a:lnTo>
                  <a:close/>
                  <a:moveTo>
                    <a:pt x="71" y="213"/>
                  </a:moveTo>
                  <a:lnTo>
                    <a:pt x="81" y="213"/>
                  </a:lnTo>
                  <a:lnTo>
                    <a:pt x="81" y="222"/>
                  </a:lnTo>
                  <a:lnTo>
                    <a:pt x="71" y="222"/>
                  </a:lnTo>
                  <a:lnTo>
                    <a:pt x="71" y="213"/>
                  </a:lnTo>
                  <a:close/>
                  <a:moveTo>
                    <a:pt x="71" y="233"/>
                  </a:moveTo>
                  <a:lnTo>
                    <a:pt x="81" y="233"/>
                  </a:lnTo>
                  <a:lnTo>
                    <a:pt x="81" y="243"/>
                  </a:lnTo>
                  <a:lnTo>
                    <a:pt x="71" y="243"/>
                  </a:lnTo>
                  <a:lnTo>
                    <a:pt x="71" y="233"/>
                  </a:lnTo>
                  <a:close/>
                  <a:moveTo>
                    <a:pt x="71" y="253"/>
                  </a:moveTo>
                  <a:lnTo>
                    <a:pt x="81" y="253"/>
                  </a:lnTo>
                  <a:lnTo>
                    <a:pt x="81" y="262"/>
                  </a:lnTo>
                  <a:lnTo>
                    <a:pt x="71" y="262"/>
                  </a:lnTo>
                  <a:lnTo>
                    <a:pt x="71" y="253"/>
                  </a:lnTo>
                  <a:close/>
                  <a:moveTo>
                    <a:pt x="71" y="273"/>
                  </a:moveTo>
                  <a:lnTo>
                    <a:pt x="81" y="273"/>
                  </a:lnTo>
                  <a:lnTo>
                    <a:pt x="81" y="283"/>
                  </a:lnTo>
                  <a:lnTo>
                    <a:pt x="71" y="283"/>
                  </a:lnTo>
                  <a:lnTo>
                    <a:pt x="71" y="273"/>
                  </a:lnTo>
                  <a:close/>
                  <a:moveTo>
                    <a:pt x="71" y="294"/>
                  </a:moveTo>
                  <a:lnTo>
                    <a:pt x="81" y="294"/>
                  </a:lnTo>
                  <a:lnTo>
                    <a:pt x="81" y="303"/>
                  </a:lnTo>
                  <a:lnTo>
                    <a:pt x="71" y="303"/>
                  </a:lnTo>
                  <a:lnTo>
                    <a:pt x="71" y="294"/>
                  </a:lnTo>
                  <a:close/>
                  <a:moveTo>
                    <a:pt x="71" y="314"/>
                  </a:moveTo>
                  <a:lnTo>
                    <a:pt x="81" y="314"/>
                  </a:lnTo>
                  <a:lnTo>
                    <a:pt x="81" y="324"/>
                  </a:lnTo>
                  <a:lnTo>
                    <a:pt x="71" y="324"/>
                  </a:lnTo>
                  <a:lnTo>
                    <a:pt x="71" y="314"/>
                  </a:lnTo>
                  <a:close/>
                  <a:moveTo>
                    <a:pt x="71" y="333"/>
                  </a:moveTo>
                  <a:lnTo>
                    <a:pt x="81" y="333"/>
                  </a:lnTo>
                  <a:lnTo>
                    <a:pt x="81" y="343"/>
                  </a:lnTo>
                  <a:lnTo>
                    <a:pt x="71" y="343"/>
                  </a:lnTo>
                  <a:lnTo>
                    <a:pt x="71" y="333"/>
                  </a:lnTo>
                  <a:close/>
                  <a:moveTo>
                    <a:pt x="71" y="354"/>
                  </a:moveTo>
                  <a:lnTo>
                    <a:pt x="81" y="354"/>
                  </a:lnTo>
                  <a:lnTo>
                    <a:pt x="81" y="364"/>
                  </a:lnTo>
                  <a:lnTo>
                    <a:pt x="71" y="364"/>
                  </a:lnTo>
                  <a:lnTo>
                    <a:pt x="71" y="354"/>
                  </a:lnTo>
                  <a:close/>
                  <a:moveTo>
                    <a:pt x="71" y="375"/>
                  </a:moveTo>
                  <a:lnTo>
                    <a:pt x="81" y="375"/>
                  </a:lnTo>
                  <a:lnTo>
                    <a:pt x="81" y="384"/>
                  </a:lnTo>
                  <a:lnTo>
                    <a:pt x="71" y="384"/>
                  </a:lnTo>
                  <a:lnTo>
                    <a:pt x="71" y="375"/>
                  </a:lnTo>
                  <a:close/>
                  <a:moveTo>
                    <a:pt x="71" y="395"/>
                  </a:moveTo>
                  <a:lnTo>
                    <a:pt x="81" y="395"/>
                  </a:lnTo>
                  <a:lnTo>
                    <a:pt x="81" y="405"/>
                  </a:lnTo>
                  <a:lnTo>
                    <a:pt x="71" y="405"/>
                  </a:lnTo>
                  <a:lnTo>
                    <a:pt x="71" y="395"/>
                  </a:lnTo>
                  <a:close/>
                  <a:moveTo>
                    <a:pt x="71" y="414"/>
                  </a:moveTo>
                  <a:lnTo>
                    <a:pt x="81" y="414"/>
                  </a:lnTo>
                  <a:lnTo>
                    <a:pt x="81" y="424"/>
                  </a:lnTo>
                  <a:lnTo>
                    <a:pt x="71" y="424"/>
                  </a:lnTo>
                  <a:lnTo>
                    <a:pt x="71" y="414"/>
                  </a:lnTo>
                  <a:close/>
                  <a:moveTo>
                    <a:pt x="71" y="435"/>
                  </a:moveTo>
                  <a:lnTo>
                    <a:pt x="81" y="435"/>
                  </a:lnTo>
                  <a:lnTo>
                    <a:pt x="81" y="444"/>
                  </a:lnTo>
                  <a:lnTo>
                    <a:pt x="71" y="444"/>
                  </a:lnTo>
                  <a:lnTo>
                    <a:pt x="71" y="435"/>
                  </a:lnTo>
                  <a:close/>
                  <a:moveTo>
                    <a:pt x="81" y="455"/>
                  </a:moveTo>
                  <a:lnTo>
                    <a:pt x="81" y="465"/>
                  </a:lnTo>
                  <a:lnTo>
                    <a:pt x="71" y="465"/>
                  </a:lnTo>
                  <a:lnTo>
                    <a:pt x="71" y="455"/>
                  </a:lnTo>
                  <a:lnTo>
                    <a:pt x="81" y="455"/>
                  </a:lnTo>
                  <a:close/>
                  <a:moveTo>
                    <a:pt x="51" y="30"/>
                  </a:moveTo>
                  <a:lnTo>
                    <a:pt x="60" y="30"/>
                  </a:lnTo>
                  <a:lnTo>
                    <a:pt x="60" y="40"/>
                  </a:lnTo>
                  <a:lnTo>
                    <a:pt x="51" y="40"/>
                  </a:lnTo>
                  <a:lnTo>
                    <a:pt x="51" y="30"/>
                  </a:lnTo>
                  <a:close/>
                  <a:moveTo>
                    <a:pt x="51" y="51"/>
                  </a:moveTo>
                  <a:lnTo>
                    <a:pt x="60" y="51"/>
                  </a:lnTo>
                  <a:lnTo>
                    <a:pt x="60" y="61"/>
                  </a:lnTo>
                  <a:lnTo>
                    <a:pt x="51" y="61"/>
                  </a:lnTo>
                  <a:lnTo>
                    <a:pt x="51" y="51"/>
                  </a:lnTo>
                  <a:close/>
                  <a:moveTo>
                    <a:pt x="51" y="72"/>
                  </a:moveTo>
                  <a:lnTo>
                    <a:pt x="60" y="72"/>
                  </a:lnTo>
                  <a:lnTo>
                    <a:pt x="60" y="81"/>
                  </a:lnTo>
                  <a:lnTo>
                    <a:pt x="51" y="81"/>
                  </a:lnTo>
                  <a:lnTo>
                    <a:pt x="51" y="72"/>
                  </a:lnTo>
                  <a:close/>
                  <a:moveTo>
                    <a:pt x="51" y="91"/>
                  </a:moveTo>
                  <a:lnTo>
                    <a:pt x="60" y="91"/>
                  </a:lnTo>
                  <a:lnTo>
                    <a:pt x="60" y="100"/>
                  </a:lnTo>
                  <a:lnTo>
                    <a:pt x="51" y="100"/>
                  </a:lnTo>
                  <a:lnTo>
                    <a:pt x="51" y="91"/>
                  </a:lnTo>
                  <a:close/>
                  <a:moveTo>
                    <a:pt x="51" y="111"/>
                  </a:moveTo>
                  <a:lnTo>
                    <a:pt x="60" y="111"/>
                  </a:lnTo>
                  <a:lnTo>
                    <a:pt x="60" y="121"/>
                  </a:lnTo>
                  <a:lnTo>
                    <a:pt x="51" y="121"/>
                  </a:lnTo>
                  <a:lnTo>
                    <a:pt x="51" y="111"/>
                  </a:lnTo>
                  <a:close/>
                  <a:moveTo>
                    <a:pt x="51" y="132"/>
                  </a:moveTo>
                  <a:lnTo>
                    <a:pt x="60" y="132"/>
                  </a:lnTo>
                  <a:lnTo>
                    <a:pt x="60" y="142"/>
                  </a:lnTo>
                  <a:lnTo>
                    <a:pt x="51" y="142"/>
                  </a:lnTo>
                  <a:lnTo>
                    <a:pt x="51" y="132"/>
                  </a:lnTo>
                  <a:close/>
                  <a:moveTo>
                    <a:pt x="51" y="152"/>
                  </a:moveTo>
                  <a:lnTo>
                    <a:pt x="60" y="152"/>
                  </a:lnTo>
                  <a:lnTo>
                    <a:pt x="60" y="162"/>
                  </a:lnTo>
                  <a:lnTo>
                    <a:pt x="51" y="162"/>
                  </a:lnTo>
                  <a:lnTo>
                    <a:pt x="51" y="152"/>
                  </a:lnTo>
                  <a:close/>
                  <a:moveTo>
                    <a:pt x="51" y="172"/>
                  </a:moveTo>
                  <a:lnTo>
                    <a:pt x="60" y="172"/>
                  </a:lnTo>
                  <a:lnTo>
                    <a:pt x="60" y="181"/>
                  </a:lnTo>
                  <a:lnTo>
                    <a:pt x="51" y="181"/>
                  </a:lnTo>
                  <a:lnTo>
                    <a:pt x="51" y="172"/>
                  </a:lnTo>
                  <a:close/>
                  <a:moveTo>
                    <a:pt x="51" y="192"/>
                  </a:moveTo>
                  <a:lnTo>
                    <a:pt x="60" y="192"/>
                  </a:lnTo>
                  <a:lnTo>
                    <a:pt x="60" y="202"/>
                  </a:lnTo>
                  <a:lnTo>
                    <a:pt x="51" y="202"/>
                  </a:lnTo>
                  <a:lnTo>
                    <a:pt x="51" y="192"/>
                  </a:lnTo>
                  <a:close/>
                  <a:moveTo>
                    <a:pt x="51" y="213"/>
                  </a:moveTo>
                  <a:lnTo>
                    <a:pt x="60" y="213"/>
                  </a:lnTo>
                  <a:lnTo>
                    <a:pt x="60" y="222"/>
                  </a:lnTo>
                  <a:lnTo>
                    <a:pt x="51" y="222"/>
                  </a:lnTo>
                  <a:lnTo>
                    <a:pt x="51" y="213"/>
                  </a:lnTo>
                  <a:close/>
                  <a:moveTo>
                    <a:pt x="51" y="233"/>
                  </a:moveTo>
                  <a:lnTo>
                    <a:pt x="60" y="233"/>
                  </a:lnTo>
                  <a:lnTo>
                    <a:pt x="60" y="243"/>
                  </a:lnTo>
                  <a:lnTo>
                    <a:pt x="51" y="243"/>
                  </a:lnTo>
                  <a:lnTo>
                    <a:pt x="51" y="233"/>
                  </a:lnTo>
                  <a:close/>
                  <a:moveTo>
                    <a:pt x="51" y="253"/>
                  </a:moveTo>
                  <a:lnTo>
                    <a:pt x="60" y="253"/>
                  </a:lnTo>
                  <a:lnTo>
                    <a:pt x="60" y="262"/>
                  </a:lnTo>
                  <a:lnTo>
                    <a:pt x="51" y="262"/>
                  </a:lnTo>
                  <a:lnTo>
                    <a:pt x="51" y="253"/>
                  </a:lnTo>
                  <a:close/>
                  <a:moveTo>
                    <a:pt x="51" y="273"/>
                  </a:moveTo>
                  <a:lnTo>
                    <a:pt x="60" y="273"/>
                  </a:lnTo>
                  <a:lnTo>
                    <a:pt x="60" y="283"/>
                  </a:lnTo>
                  <a:lnTo>
                    <a:pt x="51" y="283"/>
                  </a:lnTo>
                  <a:lnTo>
                    <a:pt x="51" y="273"/>
                  </a:lnTo>
                  <a:close/>
                  <a:moveTo>
                    <a:pt x="51" y="294"/>
                  </a:moveTo>
                  <a:lnTo>
                    <a:pt x="60" y="294"/>
                  </a:lnTo>
                  <a:lnTo>
                    <a:pt x="60" y="303"/>
                  </a:lnTo>
                  <a:lnTo>
                    <a:pt x="51" y="303"/>
                  </a:lnTo>
                  <a:lnTo>
                    <a:pt x="51" y="294"/>
                  </a:lnTo>
                  <a:close/>
                  <a:moveTo>
                    <a:pt x="51" y="314"/>
                  </a:moveTo>
                  <a:lnTo>
                    <a:pt x="60" y="314"/>
                  </a:lnTo>
                  <a:lnTo>
                    <a:pt x="60" y="324"/>
                  </a:lnTo>
                  <a:lnTo>
                    <a:pt x="51" y="324"/>
                  </a:lnTo>
                  <a:lnTo>
                    <a:pt x="51" y="314"/>
                  </a:lnTo>
                  <a:close/>
                  <a:moveTo>
                    <a:pt x="51" y="333"/>
                  </a:moveTo>
                  <a:lnTo>
                    <a:pt x="60" y="333"/>
                  </a:lnTo>
                  <a:lnTo>
                    <a:pt x="60" y="343"/>
                  </a:lnTo>
                  <a:lnTo>
                    <a:pt x="51" y="343"/>
                  </a:lnTo>
                  <a:lnTo>
                    <a:pt x="51" y="333"/>
                  </a:lnTo>
                  <a:close/>
                  <a:moveTo>
                    <a:pt x="51" y="354"/>
                  </a:moveTo>
                  <a:lnTo>
                    <a:pt x="60" y="354"/>
                  </a:lnTo>
                  <a:lnTo>
                    <a:pt x="60" y="364"/>
                  </a:lnTo>
                  <a:lnTo>
                    <a:pt x="51" y="364"/>
                  </a:lnTo>
                  <a:lnTo>
                    <a:pt x="51" y="354"/>
                  </a:lnTo>
                  <a:close/>
                  <a:moveTo>
                    <a:pt x="51" y="375"/>
                  </a:moveTo>
                  <a:lnTo>
                    <a:pt x="60" y="375"/>
                  </a:lnTo>
                  <a:lnTo>
                    <a:pt x="60" y="384"/>
                  </a:lnTo>
                  <a:lnTo>
                    <a:pt x="51" y="384"/>
                  </a:lnTo>
                  <a:lnTo>
                    <a:pt x="51" y="375"/>
                  </a:lnTo>
                  <a:close/>
                  <a:moveTo>
                    <a:pt x="51" y="395"/>
                  </a:moveTo>
                  <a:lnTo>
                    <a:pt x="60" y="395"/>
                  </a:lnTo>
                  <a:lnTo>
                    <a:pt x="60" y="405"/>
                  </a:lnTo>
                  <a:lnTo>
                    <a:pt x="51" y="405"/>
                  </a:lnTo>
                  <a:lnTo>
                    <a:pt x="51" y="395"/>
                  </a:lnTo>
                  <a:close/>
                  <a:moveTo>
                    <a:pt x="51" y="414"/>
                  </a:moveTo>
                  <a:lnTo>
                    <a:pt x="60" y="414"/>
                  </a:lnTo>
                  <a:lnTo>
                    <a:pt x="60" y="424"/>
                  </a:lnTo>
                  <a:lnTo>
                    <a:pt x="51" y="424"/>
                  </a:lnTo>
                  <a:lnTo>
                    <a:pt x="51" y="414"/>
                  </a:lnTo>
                  <a:close/>
                  <a:moveTo>
                    <a:pt x="51" y="435"/>
                  </a:moveTo>
                  <a:lnTo>
                    <a:pt x="60" y="435"/>
                  </a:lnTo>
                  <a:lnTo>
                    <a:pt x="60" y="444"/>
                  </a:lnTo>
                  <a:lnTo>
                    <a:pt x="51" y="444"/>
                  </a:lnTo>
                  <a:lnTo>
                    <a:pt x="51" y="435"/>
                  </a:lnTo>
                  <a:close/>
                  <a:moveTo>
                    <a:pt x="60" y="455"/>
                  </a:moveTo>
                  <a:lnTo>
                    <a:pt x="60" y="465"/>
                  </a:lnTo>
                  <a:lnTo>
                    <a:pt x="51" y="465"/>
                  </a:lnTo>
                  <a:lnTo>
                    <a:pt x="51" y="455"/>
                  </a:lnTo>
                  <a:lnTo>
                    <a:pt x="60" y="455"/>
                  </a:lnTo>
                  <a:close/>
                  <a:moveTo>
                    <a:pt x="31" y="30"/>
                  </a:moveTo>
                  <a:lnTo>
                    <a:pt x="41" y="30"/>
                  </a:lnTo>
                  <a:lnTo>
                    <a:pt x="41" y="40"/>
                  </a:lnTo>
                  <a:lnTo>
                    <a:pt x="31" y="40"/>
                  </a:lnTo>
                  <a:lnTo>
                    <a:pt x="31" y="30"/>
                  </a:lnTo>
                  <a:close/>
                  <a:moveTo>
                    <a:pt x="31" y="51"/>
                  </a:moveTo>
                  <a:lnTo>
                    <a:pt x="41" y="51"/>
                  </a:lnTo>
                  <a:lnTo>
                    <a:pt x="41" y="61"/>
                  </a:lnTo>
                  <a:lnTo>
                    <a:pt x="31" y="61"/>
                  </a:lnTo>
                  <a:lnTo>
                    <a:pt x="31" y="51"/>
                  </a:lnTo>
                  <a:close/>
                  <a:moveTo>
                    <a:pt x="31" y="72"/>
                  </a:moveTo>
                  <a:lnTo>
                    <a:pt x="41" y="72"/>
                  </a:lnTo>
                  <a:lnTo>
                    <a:pt x="41" y="81"/>
                  </a:lnTo>
                  <a:lnTo>
                    <a:pt x="31" y="81"/>
                  </a:lnTo>
                  <a:lnTo>
                    <a:pt x="31" y="72"/>
                  </a:lnTo>
                  <a:close/>
                  <a:moveTo>
                    <a:pt x="31" y="91"/>
                  </a:moveTo>
                  <a:lnTo>
                    <a:pt x="41" y="91"/>
                  </a:lnTo>
                  <a:lnTo>
                    <a:pt x="41" y="100"/>
                  </a:lnTo>
                  <a:lnTo>
                    <a:pt x="31" y="100"/>
                  </a:lnTo>
                  <a:lnTo>
                    <a:pt x="31" y="91"/>
                  </a:lnTo>
                  <a:close/>
                  <a:moveTo>
                    <a:pt x="31" y="111"/>
                  </a:moveTo>
                  <a:lnTo>
                    <a:pt x="41" y="111"/>
                  </a:lnTo>
                  <a:lnTo>
                    <a:pt x="41" y="121"/>
                  </a:lnTo>
                  <a:lnTo>
                    <a:pt x="31" y="121"/>
                  </a:lnTo>
                  <a:lnTo>
                    <a:pt x="31" y="111"/>
                  </a:lnTo>
                  <a:close/>
                  <a:moveTo>
                    <a:pt x="31" y="132"/>
                  </a:moveTo>
                  <a:lnTo>
                    <a:pt x="41" y="132"/>
                  </a:lnTo>
                  <a:lnTo>
                    <a:pt x="41" y="142"/>
                  </a:lnTo>
                  <a:lnTo>
                    <a:pt x="31" y="142"/>
                  </a:lnTo>
                  <a:lnTo>
                    <a:pt x="31" y="132"/>
                  </a:lnTo>
                  <a:close/>
                  <a:moveTo>
                    <a:pt x="31" y="152"/>
                  </a:moveTo>
                  <a:lnTo>
                    <a:pt x="41" y="152"/>
                  </a:lnTo>
                  <a:lnTo>
                    <a:pt x="41" y="162"/>
                  </a:lnTo>
                  <a:lnTo>
                    <a:pt x="31" y="162"/>
                  </a:lnTo>
                  <a:lnTo>
                    <a:pt x="31" y="152"/>
                  </a:lnTo>
                  <a:close/>
                  <a:moveTo>
                    <a:pt x="31" y="172"/>
                  </a:moveTo>
                  <a:lnTo>
                    <a:pt x="41" y="172"/>
                  </a:lnTo>
                  <a:lnTo>
                    <a:pt x="41" y="181"/>
                  </a:lnTo>
                  <a:lnTo>
                    <a:pt x="31" y="181"/>
                  </a:lnTo>
                  <a:lnTo>
                    <a:pt x="31" y="172"/>
                  </a:lnTo>
                  <a:close/>
                  <a:moveTo>
                    <a:pt x="31" y="192"/>
                  </a:moveTo>
                  <a:lnTo>
                    <a:pt x="41" y="192"/>
                  </a:lnTo>
                  <a:lnTo>
                    <a:pt x="41" y="202"/>
                  </a:lnTo>
                  <a:lnTo>
                    <a:pt x="31" y="202"/>
                  </a:lnTo>
                  <a:lnTo>
                    <a:pt x="31" y="192"/>
                  </a:lnTo>
                  <a:close/>
                  <a:moveTo>
                    <a:pt x="31" y="213"/>
                  </a:moveTo>
                  <a:lnTo>
                    <a:pt x="41" y="213"/>
                  </a:lnTo>
                  <a:lnTo>
                    <a:pt x="41" y="222"/>
                  </a:lnTo>
                  <a:lnTo>
                    <a:pt x="31" y="222"/>
                  </a:lnTo>
                  <a:lnTo>
                    <a:pt x="31" y="213"/>
                  </a:lnTo>
                  <a:close/>
                  <a:moveTo>
                    <a:pt x="31" y="233"/>
                  </a:moveTo>
                  <a:lnTo>
                    <a:pt x="41" y="233"/>
                  </a:lnTo>
                  <a:lnTo>
                    <a:pt x="41" y="243"/>
                  </a:lnTo>
                  <a:lnTo>
                    <a:pt x="31" y="243"/>
                  </a:lnTo>
                  <a:lnTo>
                    <a:pt x="31" y="233"/>
                  </a:lnTo>
                  <a:close/>
                  <a:moveTo>
                    <a:pt x="31" y="253"/>
                  </a:moveTo>
                  <a:lnTo>
                    <a:pt x="41" y="253"/>
                  </a:lnTo>
                  <a:lnTo>
                    <a:pt x="41" y="262"/>
                  </a:lnTo>
                  <a:lnTo>
                    <a:pt x="31" y="262"/>
                  </a:lnTo>
                  <a:lnTo>
                    <a:pt x="31" y="253"/>
                  </a:lnTo>
                  <a:close/>
                  <a:moveTo>
                    <a:pt x="31" y="273"/>
                  </a:moveTo>
                  <a:lnTo>
                    <a:pt x="41" y="273"/>
                  </a:lnTo>
                  <a:lnTo>
                    <a:pt x="41" y="283"/>
                  </a:lnTo>
                  <a:lnTo>
                    <a:pt x="31" y="283"/>
                  </a:lnTo>
                  <a:lnTo>
                    <a:pt x="31" y="273"/>
                  </a:lnTo>
                  <a:close/>
                  <a:moveTo>
                    <a:pt x="31" y="294"/>
                  </a:moveTo>
                  <a:lnTo>
                    <a:pt x="41" y="294"/>
                  </a:lnTo>
                  <a:lnTo>
                    <a:pt x="41" y="303"/>
                  </a:lnTo>
                  <a:lnTo>
                    <a:pt x="31" y="303"/>
                  </a:lnTo>
                  <a:lnTo>
                    <a:pt x="31" y="294"/>
                  </a:lnTo>
                  <a:close/>
                  <a:moveTo>
                    <a:pt x="31" y="314"/>
                  </a:moveTo>
                  <a:lnTo>
                    <a:pt x="41" y="314"/>
                  </a:lnTo>
                  <a:lnTo>
                    <a:pt x="41" y="324"/>
                  </a:lnTo>
                  <a:lnTo>
                    <a:pt x="31" y="324"/>
                  </a:lnTo>
                  <a:lnTo>
                    <a:pt x="31" y="314"/>
                  </a:lnTo>
                  <a:close/>
                  <a:moveTo>
                    <a:pt x="31" y="333"/>
                  </a:moveTo>
                  <a:lnTo>
                    <a:pt x="41" y="333"/>
                  </a:lnTo>
                  <a:lnTo>
                    <a:pt x="41" y="343"/>
                  </a:lnTo>
                  <a:lnTo>
                    <a:pt x="31" y="343"/>
                  </a:lnTo>
                  <a:lnTo>
                    <a:pt x="31" y="333"/>
                  </a:lnTo>
                  <a:close/>
                  <a:moveTo>
                    <a:pt x="31" y="354"/>
                  </a:moveTo>
                  <a:lnTo>
                    <a:pt x="41" y="354"/>
                  </a:lnTo>
                  <a:lnTo>
                    <a:pt x="41" y="364"/>
                  </a:lnTo>
                  <a:lnTo>
                    <a:pt x="31" y="364"/>
                  </a:lnTo>
                  <a:lnTo>
                    <a:pt x="31" y="354"/>
                  </a:lnTo>
                  <a:close/>
                  <a:moveTo>
                    <a:pt x="31" y="375"/>
                  </a:moveTo>
                  <a:lnTo>
                    <a:pt x="41" y="375"/>
                  </a:lnTo>
                  <a:lnTo>
                    <a:pt x="41" y="384"/>
                  </a:lnTo>
                  <a:lnTo>
                    <a:pt x="31" y="384"/>
                  </a:lnTo>
                  <a:lnTo>
                    <a:pt x="31" y="375"/>
                  </a:lnTo>
                  <a:close/>
                  <a:moveTo>
                    <a:pt x="31" y="395"/>
                  </a:moveTo>
                  <a:lnTo>
                    <a:pt x="41" y="395"/>
                  </a:lnTo>
                  <a:lnTo>
                    <a:pt x="41" y="405"/>
                  </a:lnTo>
                  <a:lnTo>
                    <a:pt x="31" y="405"/>
                  </a:lnTo>
                  <a:lnTo>
                    <a:pt x="31" y="395"/>
                  </a:lnTo>
                  <a:close/>
                  <a:moveTo>
                    <a:pt x="31" y="414"/>
                  </a:moveTo>
                  <a:lnTo>
                    <a:pt x="41" y="414"/>
                  </a:lnTo>
                  <a:lnTo>
                    <a:pt x="41" y="424"/>
                  </a:lnTo>
                  <a:lnTo>
                    <a:pt x="31" y="424"/>
                  </a:lnTo>
                  <a:lnTo>
                    <a:pt x="31" y="414"/>
                  </a:lnTo>
                  <a:close/>
                  <a:moveTo>
                    <a:pt x="31" y="435"/>
                  </a:moveTo>
                  <a:lnTo>
                    <a:pt x="41" y="435"/>
                  </a:lnTo>
                  <a:lnTo>
                    <a:pt x="41" y="444"/>
                  </a:lnTo>
                  <a:lnTo>
                    <a:pt x="31" y="444"/>
                  </a:lnTo>
                  <a:lnTo>
                    <a:pt x="31" y="435"/>
                  </a:lnTo>
                  <a:close/>
                  <a:moveTo>
                    <a:pt x="31" y="455"/>
                  </a:moveTo>
                  <a:lnTo>
                    <a:pt x="41" y="455"/>
                  </a:lnTo>
                  <a:lnTo>
                    <a:pt x="41" y="465"/>
                  </a:lnTo>
                  <a:lnTo>
                    <a:pt x="31" y="465"/>
                  </a:lnTo>
                  <a:lnTo>
                    <a:pt x="31" y="455"/>
                  </a:lnTo>
                  <a:close/>
                  <a:moveTo>
                    <a:pt x="31" y="476"/>
                  </a:moveTo>
                  <a:lnTo>
                    <a:pt x="41" y="476"/>
                  </a:lnTo>
                  <a:lnTo>
                    <a:pt x="41" y="486"/>
                  </a:lnTo>
                  <a:lnTo>
                    <a:pt x="31" y="486"/>
                  </a:lnTo>
                  <a:lnTo>
                    <a:pt x="31" y="476"/>
                  </a:lnTo>
                  <a:close/>
                  <a:moveTo>
                    <a:pt x="31" y="495"/>
                  </a:moveTo>
                  <a:lnTo>
                    <a:pt x="41" y="495"/>
                  </a:lnTo>
                  <a:lnTo>
                    <a:pt x="41" y="505"/>
                  </a:lnTo>
                  <a:lnTo>
                    <a:pt x="31" y="505"/>
                  </a:lnTo>
                  <a:lnTo>
                    <a:pt x="31" y="495"/>
                  </a:lnTo>
                  <a:close/>
                  <a:moveTo>
                    <a:pt x="31" y="516"/>
                  </a:moveTo>
                  <a:lnTo>
                    <a:pt x="41" y="516"/>
                  </a:lnTo>
                  <a:lnTo>
                    <a:pt x="41" y="525"/>
                  </a:lnTo>
                  <a:lnTo>
                    <a:pt x="31" y="525"/>
                  </a:lnTo>
                  <a:lnTo>
                    <a:pt x="31" y="516"/>
                  </a:lnTo>
                  <a:close/>
                  <a:moveTo>
                    <a:pt x="31" y="546"/>
                  </a:moveTo>
                  <a:lnTo>
                    <a:pt x="31" y="536"/>
                  </a:lnTo>
                  <a:lnTo>
                    <a:pt x="41" y="536"/>
                  </a:lnTo>
                  <a:lnTo>
                    <a:pt x="41" y="546"/>
                  </a:lnTo>
                  <a:lnTo>
                    <a:pt x="31" y="546"/>
                  </a:lnTo>
                  <a:close/>
                  <a:moveTo>
                    <a:pt x="51" y="546"/>
                  </a:moveTo>
                  <a:lnTo>
                    <a:pt x="51" y="536"/>
                  </a:lnTo>
                  <a:lnTo>
                    <a:pt x="60" y="536"/>
                  </a:lnTo>
                  <a:lnTo>
                    <a:pt x="60" y="546"/>
                  </a:lnTo>
                  <a:lnTo>
                    <a:pt x="51" y="546"/>
                  </a:lnTo>
                  <a:close/>
                  <a:moveTo>
                    <a:pt x="71" y="546"/>
                  </a:moveTo>
                  <a:lnTo>
                    <a:pt x="71" y="536"/>
                  </a:lnTo>
                  <a:lnTo>
                    <a:pt x="81" y="536"/>
                  </a:lnTo>
                  <a:lnTo>
                    <a:pt x="81" y="546"/>
                  </a:lnTo>
                  <a:lnTo>
                    <a:pt x="71" y="546"/>
                  </a:lnTo>
                  <a:close/>
                  <a:moveTo>
                    <a:pt x="92" y="546"/>
                  </a:moveTo>
                  <a:lnTo>
                    <a:pt x="92" y="536"/>
                  </a:lnTo>
                  <a:lnTo>
                    <a:pt x="101" y="536"/>
                  </a:lnTo>
                  <a:lnTo>
                    <a:pt x="101" y="546"/>
                  </a:lnTo>
                  <a:lnTo>
                    <a:pt x="92" y="546"/>
                  </a:lnTo>
                  <a:close/>
                  <a:moveTo>
                    <a:pt x="112" y="546"/>
                  </a:moveTo>
                  <a:lnTo>
                    <a:pt x="112" y="536"/>
                  </a:lnTo>
                  <a:lnTo>
                    <a:pt x="122" y="536"/>
                  </a:lnTo>
                  <a:lnTo>
                    <a:pt x="122" y="546"/>
                  </a:lnTo>
                  <a:lnTo>
                    <a:pt x="112" y="546"/>
                  </a:lnTo>
                  <a:close/>
                  <a:moveTo>
                    <a:pt x="132" y="546"/>
                  </a:moveTo>
                  <a:lnTo>
                    <a:pt x="132" y="536"/>
                  </a:lnTo>
                  <a:lnTo>
                    <a:pt x="141" y="536"/>
                  </a:lnTo>
                  <a:lnTo>
                    <a:pt x="141" y="546"/>
                  </a:lnTo>
                  <a:lnTo>
                    <a:pt x="132" y="546"/>
                  </a:lnTo>
                  <a:close/>
                  <a:moveTo>
                    <a:pt x="152" y="546"/>
                  </a:moveTo>
                  <a:lnTo>
                    <a:pt x="152" y="536"/>
                  </a:lnTo>
                  <a:lnTo>
                    <a:pt x="162" y="536"/>
                  </a:lnTo>
                  <a:lnTo>
                    <a:pt x="162" y="546"/>
                  </a:lnTo>
                  <a:lnTo>
                    <a:pt x="152" y="546"/>
                  </a:lnTo>
                  <a:close/>
                  <a:moveTo>
                    <a:pt x="173" y="546"/>
                  </a:moveTo>
                  <a:lnTo>
                    <a:pt x="173" y="536"/>
                  </a:lnTo>
                  <a:lnTo>
                    <a:pt x="182" y="536"/>
                  </a:lnTo>
                  <a:lnTo>
                    <a:pt x="182" y="546"/>
                  </a:lnTo>
                  <a:lnTo>
                    <a:pt x="173" y="546"/>
                  </a:lnTo>
                  <a:close/>
                  <a:moveTo>
                    <a:pt x="193" y="546"/>
                  </a:moveTo>
                  <a:lnTo>
                    <a:pt x="193" y="536"/>
                  </a:lnTo>
                  <a:lnTo>
                    <a:pt x="203" y="536"/>
                  </a:lnTo>
                  <a:lnTo>
                    <a:pt x="203" y="546"/>
                  </a:lnTo>
                  <a:lnTo>
                    <a:pt x="193" y="546"/>
                  </a:lnTo>
                  <a:close/>
                  <a:moveTo>
                    <a:pt x="213" y="546"/>
                  </a:moveTo>
                  <a:lnTo>
                    <a:pt x="213" y="536"/>
                  </a:lnTo>
                  <a:lnTo>
                    <a:pt x="222" y="536"/>
                  </a:lnTo>
                  <a:lnTo>
                    <a:pt x="222" y="546"/>
                  </a:lnTo>
                  <a:lnTo>
                    <a:pt x="213" y="546"/>
                  </a:lnTo>
                  <a:close/>
                  <a:moveTo>
                    <a:pt x="233" y="546"/>
                  </a:moveTo>
                  <a:lnTo>
                    <a:pt x="233" y="536"/>
                  </a:lnTo>
                  <a:lnTo>
                    <a:pt x="243" y="536"/>
                  </a:lnTo>
                  <a:lnTo>
                    <a:pt x="243" y="546"/>
                  </a:lnTo>
                  <a:lnTo>
                    <a:pt x="233" y="546"/>
                  </a:lnTo>
                  <a:close/>
                  <a:moveTo>
                    <a:pt x="254" y="546"/>
                  </a:moveTo>
                  <a:lnTo>
                    <a:pt x="254" y="536"/>
                  </a:lnTo>
                  <a:lnTo>
                    <a:pt x="263" y="536"/>
                  </a:lnTo>
                  <a:lnTo>
                    <a:pt x="263" y="546"/>
                  </a:lnTo>
                  <a:lnTo>
                    <a:pt x="254" y="546"/>
                  </a:lnTo>
                  <a:close/>
                  <a:moveTo>
                    <a:pt x="274" y="546"/>
                  </a:moveTo>
                  <a:lnTo>
                    <a:pt x="274" y="536"/>
                  </a:lnTo>
                  <a:lnTo>
                    <a:pt x="284" y="536"/>
                  </a:lnTo>
                  <a:lnTo>
                    <a:pt x="284" y="546"/>
                  </a:lnTo>
                  <a:lnTo>
                    <a:pt x="274" y="546"/>
                  </a:lnTo>
                  <a:close/>
                  <a:moveTo>
                    <a:pt x="293" y="546"/>
                  </a:moveTo>
                  <a:lnTo>
                    <a:pt x="293" y="536"/>
                  </a:lnTo>
                  <a:lnTo>
                    <a:pt x="303" y="536"/>
                  </a:lnTo>
                  <a:lnTo>
                    <a:pt x="303" y="546"/>
                  </a:lnTo>
                  <a:lnTo>
                    <a:pt x="293" y="546"/>
                  </a:lnTo>
                  <a:close/>
                  <a:moveTo>
                    <a:pt x="314" y="546"/>
                  </a:moveTo>
                  <a:lnTo>
                    <a:pt x="314" y="536"/>
                  </a:lnTo>
                  <a:lnTo>
                    <a:pt x="324" y="536"/>
                  </a:lnTo>
                  <a:lnTo>
                    <a:pt x="324" y="546"/>
                  </a:lnTo>
                  <a:lnTo>
                    <a:pt x="314" y="546"/>
                  </a:lnTo>
                  <a:close/>
                  <a:moveTo>
                    <a:pt x="335" y="546"/>
                  </a:moveTo>
                  <a:lnTo>
                    <a:pt x="335" y="536"/>
                  </a:lnTo>
                  <a:lnTo>
                    <a:pt x="344" y="536"/>
                  </a:lnTo>
                  <a:lnTo>
                    <a:pt x="344" y="546"/>
                  </a:lnTo>
                  <a:lnTo>
                    <a:pt x="335" y="546"/>
                  </a:lnTo>
                  <a:close/>
                  <a:moveTo>
                    <a:pt x="355" y="546"/>
                  </a:moveTo>
                  <a:lnTo>
                    <a:pt x="355" y="536"/>
                  </a:lnTo>
                  <a:lnTo>
                    <a:pt x="365" y="536"/>
                  </a:lnTo>
                  <a:lnTo>
                    <a:pt x="365" y="546"/>
                  </a:lnTo>
                  <a:lnTo>
                    <a:pt x="355" y="546"/>
                  </a:lnTo>
                  <a:close/>
                  <a:moveTo>
                    <a:pt x="374" y="546"/>
                  </a:moveTo>
                  <a:lnTo>
                    <a:pt x="374" y="536"/>
                  </a:lnTo>
                  <a:lnTo>
                    <a:pt x="384" y="536"/>
                  </a:lnTo>
                  <a:lnTo>
                    <a:pt x="384" y="546"/>
                  </a:lnTo>
                  <a:lnTo>
                    <a:pt x="374" y="546"/>
                  </a:lnTo>
                  <a:close/>
                  <a:moveTo>
                    <a:pt x="395" y="546"/>
                  </a:moveTo>
                  <a:lnTo>
                    <a:pt x="395" y="536"/>
                  </a:lnTo>
                  <a:lnTo>
                    <a:pt x="405" y="536"/>
                  </a:lnTo>
                  <a:lnTo>
                    <a:pt x="405" y="546"/>
                  </a:lnTo>
                  <a:lnTo>
                    <a:pt x="395" y="546"/>
                  </a:lnTo>
                  <a:close/>
                  <a:moveTo>
                    <a:pt x="416" y="546"/>
                  </a:moveTo>
                  <a:lnTo>
                    <a:pt x="416" y="536"/>
                  </a:lnTo>
                  <a:lnTo>
                    <a:pt x="425" y="536"/>
                  </a:lnTo>
                  <a:lnTo>
                    <a:pt x="425" y="546"/>
                  </a:lnTo>
                  <a:lnTo>
                    <a:pt x="416" y="546"/>
                  </a:lnTo>
                  <a:close/>
                  <a:moveTo>
                    <a:pt x="436" y="546"/>
                  </a:moveTo>
                  <a:lnTo>
                    <a:pt x="436" y="536"/>
                  </a:lnTo>
                  <a:lnTo>
                    <a:pt x="446" y="536"/>
                  </a:lnTo>
                  <a:lnTo>
                    <a:pt x="446" y="546"/>
                  </a:lnTo>
                  <a:lnTo>
                    <a:pt x="436" y="546"/>
                  </a:lnTo>
                  <a:close/>
                  <a:moveTo>
                    <a:pt x="455" y="546"/>
                  </a:moveTo>
                  <a:lnTo>
                    <a:pt x="455" y="536"/>
                  </a:lnTo>
                  <a:lnTo>
                    <a:pt x="465" y="536"/>
                  </a:lnTo>
                  <a:lnTo>
                    <a:pt x="465" y="546"/>
                  </a:lnTo>
                  <a:lnTo>
                    <a:pt x="455" y="546"/>
                  </a:lnTo>
                  <a:close/>
                  <a:moveTo>
                    <a:pt x="476" y="546"/>
                  </a:moveTo>
                  <a:lnTo>
                    <a:pt x="476" y="536"/>
                  </a:lnTo>
                  <a:lnTo>
                    <a:pt x="486" y="536"/>
                  </a:lnTo>
                  <a:lnTo>
                    <a:pt x="486" y="546"/>
                  </a:lnTo>
                  <a:lnTo>
                    <a:pt x="476" y="546"/>
                  </a:lnTo>
                  <a:close/>
                  <a:moveTo>
                    <a:pt x="496" y="546"/>
                  </a:moveTo>
                  <a:lnTo>
                    <a:pt x="496" y="536"/>
                  </a:lnTo>
                  <a:lnTo>
                    <a:pt x="506" y="536"/>
                  </a:lnTo>
                  <a:lnTo>
                    <a:pt x="506" y="546"/>
                  </a:lnTo>
                  <a:lnTo>
                    <a:pt x="496" y="546"/>
                  </a:lnTo>
                  <a:close/>
                  <a:moveTo>
                    <a:pt x="517" y="546"/>
                  </a:moveTo>
                  <a:lnTo>
                    <a:pt x="517" y="536"/>
                  </a:lnTo>
                  <a:lnTo>
                    <a:pt x="527" y="536"/>
                  </a:lnTo>
                  <a:lnTo>
                    <a:pt x="527" y="546"/>
                  </a:lnTo>
                  <a:lnTo>
                    <a:pt x="517" y="546"/>
                  </a:lnTo>
                  <a:close/>
                  <a:moveTo>
                    <a:pt x="546" y="546"/>
                  </a:moveTo>
                  <a:lnTo>
                    <a:pt x="536" y="546"/>
                  </a:lnTo>
                  <a:lnTo>
                    <a:pt x="536" y="536"/>
                  </a:lnTo>
                  <a:lnTo>
                    <a:pt x="546" y="536"/>
                  </a:lnTo>
                  <a:lnTo>
                    <a:pt x="546" y="546"/>
                  </a:lnTo>
                  <a:close/>
                  <a:moveTo>
                    <a:pt x="546" y="525"/>
                  </a:moveTo>
                  <a:lnTo>
                    <a:pt x="536" y="525"/>
                  </a:lnTo>
                  <a:lnTo>
                    <a:pt x="536" y="516"/>
                  </a:lnTo>
                  <a:lnTo>
                    <a:pt x="546" y="516"/>
                  </a:lnTo>
                  <a:lnTo>
                    <a:pt x="546" y="525"/>
                  </a:lnTo>
                  <a:close/>
                  <a:moveTo>
                    <a:pt x="546" y="505"/>
                  </a:moveTo>
                  <a:lnTo>
                    <a:pt x="536" y="505"/>
                  </a:lnTo>
                  <a:lnTo>
                    <a:pt x="536" y="495"/>
                  </a:lnTo>
                  <a:lnTo>
                    <a:pt x="546" y="495"/>
                  </a:lnTo>
                  <a:lnTo>
                    <a:pt x="546" y="505"/>
                  </a:lnTo>
                  <a:close/>
                  <a:moveTo>
                    <a:pt x="546" y="486"/>
                  </a:moveTo>
                  <a:lnTo>
                    <a:pt x="536" y="486"/>
                  </a:lnTo>
                  <a:lnTo>
                    <a:pt x="536" y="476"/>
                  </a:lnTo>
                  <a:lnTo>
                    <a:pt x="546" y="476"/>
                  </a:lnTo>
                  <a:lnTo>
                    <a:pt x="546" y="486"/>
                  </a:lnTo>
                  <a:close/>
                  <a:moveTo>
                    <a:pt x="536" y="465"/>
                  </a:moveTo>
                  <a:lnTo>
                    <a:pt x="536" y="455"/>
                  </a:lnTo>
                  <a:lnTo>
                    <a:pt x="546" y="455"/>
                  </a:lnTo>
                  <a:lnTo>
                    <a:pt x="546" y="465"/>
                  </a:lnTo>
                  <a:lnTo>
                    <a:pt x="536" y="46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51" name="直接连接符 50">
            <a:extLst>
              <a:ext uri="{FF2B5EF4-FFF2-40B4-BE49-F238E27FC236}">
                <a16:creationId xmlns:a16="http://schemas.microsoft.com/office/drawing/2014/main" xmlns="" id="{64F0BB10-5593-4990-B773-762DB6075087}"/>
              </a:ext>
            </a:extLst>
          </p:cNvPr>
          <p:cNvCxnSpPr>
            <a:cxnSpLocks/>
          </p:cNvCxnSpPr>
          <p:nvPr/>
        </p:nvCxnSpPr>
        <p:spPr bwMode="auto">
          <a:xfrm>
            <a:off x="2759641" y="2361420"/>
            <a:ext cx="1230554" cy="56550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直接连接符 51">
            <a:extLst>
              <a:ext uri="{FF2B5EF4-FFF2-40B4-BE49-F238E27FC236}">
                <a16:creationId xmlns:a16="http://schemas.microsoft.com/office/drawing/2014/main" xmlns="" id="{CD912DC4-627C-418B-8367-C69B3E6787E3}"/>
              </a:ext>
            </a:extLst>
          </p:cNvPr>
          <p:cNvCxnSpPr>
            <a:cxnSpLocks/>
          </p:cNvCxnSpPr>
          <p:nvPr/>
        </p:nvCxnSpPr>
        <p:spPr bwMode="auto">
          <a:xfrm flipV="1">
            <a:off x="2738598" y="3431151"/>
            <a:ext cx="1251597" cy="99325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xmlns="" id="{A2D3ED78-28AD-47D4-B84C-B963C8A05E19}"/>
              </a:ext>
            </a:extLst>
          </p:cNvPr>
          <p:cNvCxnSpPr>
            <a:cxnSpLocks/>
          </p:cNvCxnSpPr>
          <p:nvPr/>
        </p:nvCxnSpPr>
        <p:spPr bwMode="auto">
          <a:xfrm>
            <a:off x="7327074" y="1958026"/>
            <a:ext cx="597489" cy="53487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5" name="组合 54">
            <a:extLst>
              <a:ext uri="{FF2B5EF4-FFF2-40B4-BE49-F238E27FC236}">
                <a16:creationId xmlns:a16="http://schemas.microsoft.com/office/drawing/2014/main" xmlns="" id="{DE75D88F-BE96-4637-9B89-583E35671B15}"/>
              </a:ext>
            </a:extLst>
          </p:cNvPr>
          <p:cNvGrpSpPr/>
          <p:nvPr/>
        </p:nvGrpSpPr>
        <p:grpSpPr>
          <a:xfrm>
            <a:off x="4087253" y="3884462"/>
            <a:ext cx="599763" cy="379271"/>
            <a:chOff x="3583908" y="4483239"/>
            <a:chExt cx="1578333" cy="971285"/>
          </a:xfrm>
        </p:grpSpPr>
        <p:sp>
          <p:nvSpPr>
            <p:cNvPr id="135" name="ïSḷïḍê">
              <a:extLst>
                <a:ext uri="{FF2B5EF4-FFF2-40B4-BE49-F238E27FC236}">
                  <a16:creationId xmlns:a16="http://schemas.microsoft.com/office/drawing/2014/main" xmlns="" id="{DF7B7BAE-0071-4CFE-8C89-95EE2548ED10}"/>
                </a:ext>
              </a:extLst>
            </p:cNvPr>
            <p:cNvSpPr/>
            <p:nvPr/>
          </p:nvSpPr>
          <p:spPr bwMode="auto">
            <a:xfrm>
              <a:off x="3583908" y="4483239"/>
              <a:ext cx="1578333" cy="479862"/>
            </a:xfrm>
            <a:custGeom>
              <a:avLst/>
              <a:gdLst>
                <a:gd name="T0" fmla="*/ 1149 w 1207"/>
                <a:gd name="T1" fmla="*/ 367 h 367"/>
                <a:gd name="T2" fmla="*/ 57 w 1207"/>
                <a:gd name="T3" fmla="*/ 367 h 367"/>
                <a:gd name="T4" fmla="*/ 0 w 1207"/>
                <a:gd name="T5" fmla="*/ 310 h 367"/>
                <a:gd name="T6" fmla="*/ 0 w 1207"/>
                <a:gd name="T7" fmla="*/ 57 h 367"/>
                <a:gd name="T8" fmla="*/ 57 w 1207"/>
                <a:gd name="T9" fmla="*/ 0 h 367"/>
                <a:gd name="T10" fmla="*/ 1149 w 1207"/>
                <a:gd name="T11" fmla="*/ 0 h 367"/>
                <a:gd name="T12" fmla="*/ 1207 w 1207"/>
                <a:gd name="T13" fmla="*/ 57 h 367"/>
                <a:gd name="T14" fmla="*/ 1207 w 1207"/>
                <a:gd name="T15" fmla="*/ 310 h 367"/>
                <a:gd name="T16" fmla="*/ 1149 w 1207"/>
                <a:gd name="T1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7">
                  <a:moveTo>
                    <a:pt x="1149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1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5"/>
                    <a:pt x="1207" y="57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1"/>
                    <a:pt x="1181" y="367"/>
                    <a:pt x="1149" y="367"/>
                  </a:cubicBez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ïŝļiḍe">
              <a:extLst>
                <a:ext uri="{FF2B5EF4-FFF2-40B4-BE49-F238E27FC236}">
                  <a16:creationId xmlns:a16="http://schemas.microsoft.com/office/drawing/2014/main" xmlns="" id="{F0EC4352-97B9-4FD4-AD5D-FCEF0751DA4B}"/>
                </a:ext>
              </a:extLst>
            </p:cNvPr>
            <p:cNvSpPr/>
            <p:nvPr/>
          </p:nvSpPr>
          <p:spPr bwMode="auto">
            <a:xfrm>
              <a:off x="3583908" y="4483239"/>
              <a:ext cx="792057" cy="479862"/>
            </a:xfrm>
            <a:custGeom>
              <a:avLst/>
              <a:gdLst>
                <a:gd name="T0" fmla="*/ 603 w 603"/>
                <a:gd name="T1" fmla="*/ 367 h 367"/>
                <a:gd name="T2" fmla="*/ 57 w 603"/>
                <a:gd name="T3" fmla="*/ 367 h 367"/>
                <a:gd name="T4" fmla="*/ 0 w 603"/>
                <a:gd name="T5" fmla="*/ 310 h 367"/>
                <a:gd name="T6" fmla="*/ 0 w 603"/>
                <a:gd name="T7" fmla="*/ 57 h 367"/>
                <a:gd name="T8" fmla="*/ 57 w 603"/>
                <a:gd name="T9" fmla="*/ 0 h 367"/>
                <a:gd name="T10" fmla="*/ 603 w 603"/>
                <a:gd name="T11" fmla="*/ 0 h 367"/>
                <a:gd name="T12" fmla="*/ 603 w 603"/>
                <a:gd name="T13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7">
                  <a:moveTo>
                    <a:pt x="603" y="367"/>
                  </a:moveTo>
                  <a:cubicBezTo>
                    <a:pt x="57" y="367"/>
                    <a:pt x="57" y="367"/>
                    <a:pt x="57" y="367"/>
                  </a:cubicBezTo>
                  <a:cubicBezTo>
                    <a:pt x="26" y="367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7"/>
                  </a:ln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7" name="îṥlíďé">
              <a:extLst>
                <a:ext uri="{FF2B5EF4-FFF2-40B4-BE49-F238E27FC236}">
                  <a16:creationId xmlns:a16="http://schemas.microsoft.com/office/drawing/2014/main" xmlns="" id="{4468657E-7934-4245-AE83-3553B8A1401D}"/>
                </a:ext>
              </a:extLst>
            </p:cNvPr>
            <p:cNvSpPr/>
            <p:nvPr/>
          </p:nvSpPr>
          <p:spPr bwMode="auto">
            <a:xfrm>
              <a:off x="3583908" y="4974662"/>
              <a:ext cx="1578333" cy="479862"/>
            </a:xfrm>
            <a:custGeom>
              <a:avLst/>
              <a:gdLst>
                <a:gd name="T0" fmla="*/ 1149 w 1207"/>
                <a:gd name="T1" fmla="*/ 368 h 368"/>
                <a:gd name="T2" fmla="*/ 57 w 1207"/>
                <a:gd name="T3" fmla="*/ 368 h 368"/>
                <a:gd name="T4" fmla="*/ 0 w 1207"/>
                <a:gd name="T5" fmla="*/ 310 h 368"/>
                <a:gd name="T6" fmla="*/ 0 w 1207"/>
                <a:gd name="T7" fmla="*/ 58 h 368"/>
                <a:gd name="T8" fmla="*/ 57 w 1207"/>
                <a:gd name="T9" fmla="*/ 0 h 368"/>
                <a:gd name="T10" fmla="*/ 1149 w 1207"/>
                <a:gd name="T11" fmla="*/ 0 h 368"/>
                <a:gd name="T12" fmla="*/ 1207 w 1207"/>
                <a:gd name="T13" fmla="*/ 58 h 368"/>
                <a:gd name="T14" fmla="*/ 1207 w 1207"/>
                <a:gd name="T15" fmla="*/ 310 h 368"/>
                <a:gd name="T16" fmla="*/ 1149 w 1207"/>
                <a:gd name="T1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7" h="368">
                  <a:moveTo>
                    <a:pt x="1149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1149" y="0"/>
                    <a:pt x="1149" y="0"/>
                    <a:pt x="1149" y="0"/>
                  </a:cubicBezTo>
                  <a:cubicBezTo>
                    <a:pt x="1181" y="0"/>
                    <a:pt x="1207" y="26"/>
                    <a:pt x="1207" y="58"/>
                  </a:cubicBezTo>
                  <a:cubicBezTo>
                    <a:pt x="1207" y="310"/>
                    <a:pt x="1207" y="310"/>
                    <a:pt x="1207" y="310"/>
                  </a:cubicBezTo>
                  <a:cubicBezTo>
                    <a:pt x="1207" y="342"/>
                    <a:pt x="1181" y="368"/>
                    <a:pt x="1149" y="368"/>
                  </a:cubicBezTo>
                  <a:close/>
                </a:path>
              </a:pathLst>
            </a:custGeom>
            <a:solidFill>
              <a:srgbClr val="2F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8" name="îṧļidê">
              <a:extLst>
                <a:ext uri="{FF2B5EF4-FFF2-40B4-BE49-F238E27FC236}">
                  <a16:creationId xmlns:a16="http://schemas.microsoft.com/office/drawing/2014/main" xmlns="" id="{51835A3A-C834-4E30-BA6C-CD87A6969DC5}"/>
                </a:ext>
              </a:extLst>
            </p:cNvPr>
            <p:cNvSpPr/>
            <p:nvPr/>
          </p:nvSpPr>
          <p:spPr bwMode="auto">
            <a:xfrm>
              <a:off x="3583908" y="4974662"/>
              <a:ext cx="792057" cy="479862"/>
            </a:xfrm>
            <a:custGeom>
              <a:avLst/>
              <a:gdLst>
                <a:gd name="T0" fmla="*/ 603 w 603"/>
                <a:gd name="T1" fmla="*/ 368 h 368"/>
                <a:gd name="T2" fmla="*/ 57 w 603"/>
                <a:gd name="T3" fmla="*/ 368 h 368"/>
                <a:gd name="T4" fmla="*/ 0 w 603"/>
                <a:gd name="T5" fmla="*/ 310 h 368"/>
                <a:gd name="T6" fmla="*/ 0 w 603"/>
                <a:gd name="T7" fmla="*/ 57 h 368"/>
                <a:gd name="T8" fmla="*/ 57 w 603"/>
                <a:gd name="T9" fmla="*/ 0 h 368"/>
                <a:gd name="T10" fmla="*/ 603 w 603"/>
                <a:gd name="T11" fmla="*/ 0 h 368"/>
                <a:gd name="T12" fmla="*/ 603 w 603"/>
                <a:gd name="T13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68">
                  <a:moveTo>
                    <a:pt x="603" y="368"/>
                  </a:moveTo>
                  <a:cubicBezTo>
                    <a:pt x="57" y="368"/>
                    <a:pt x="57" y="368"/>
                    <a:pt x="57" y="368"/>
                  </a:cubicBezTo>
                  <a:cubicBezTo>
                    <a:pt x="26" y="368"/>
                    <a:pt x="0" y="342"/>
                    <a:pt x="0" y="31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03" y="0"/>
                    <a:pt x="603" y="0"/>
                    <a:pt x="603" y="0"/>
                  </a:cubicBezTo>
                  <a:lnTo>
                    <a:pt x="603" y="368"/>
                  </a:lnTo>
                  <a:close/>
                </a:path>
              </a:pathLst>
            </a:custGeom>
            <a:solidFill>
              <a:srgbClr val="414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9" name="ïṣļïḓé">
              <a:extLst>
                <a:ext uri="{FF2B5EF4-FFF2-40B4-BE49-F238E27FC236}">
                  <a16:creationId xmlns:a16="http://schemas.microsoft.com/office/drawing/2014/main" xmlns="" id="{5B8AE114-B15B-4F98-A7C7-17F197065170}"/>
                </a:ext>
              </a:extLst>
            </p:cNvPr>
            <p:cNvSpPr/>
            <p:nvPr/>
          </p:nvSpPr>
          <p:spPr bwMode="auto">
            <a:xfrm>
              <a:off x="3711099" y="4598867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1"/>
                    <a:pt x="358" y="26"/>
                  </a:cubicBezTo>
                  <a:cubicBezTo>
                    <a:pt x="358" y="40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0" name="îşļiďè">
              <a:extLst>
                <a:ext uri="{FF2B5EF4-FFF2-40B4-BE49-F238E27FC236}">
                  <a16:creationId xmlns:a16="http://schemas.microsoft.com/office/drawing/2014/main" xmlns="" id="{2AFE6FA3-A62C-489A-A258-0F29ED6B3A17}"/>
                </a:ext>
              </a:extLst>
            </p:cNvPr>
            <p:cNvSpPr/>
            <p:nvPr/>
          </p:nvSpPr>
          <p:spPr bwMode="auto">
            <a:xfrm>
              <a:off x="4994577" y="4581524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1" name="íṣ1îdè">
              <a:extLst>
                <a:ext uri="{FF2B5EF4-FFF2-40B4-BE49-F238E27FC236}">
                  <a16:creationId xmlns:a16="http://schemas.microsoft.com/office/drawing/2014/main" xmlns="" id="{5AFB118E-45B3-4323-9640-F1EBF8935DBA}"/>
                </a:ext>
              </a:extLst>
            </p:cNvPr>
            <p:cNvSpPr/>
            <p:nvPr/>
          </p:nvSpPr>
          <p:spPr bwMode="auto">
            <a:xfrm>
              <a:off x="4994577" y="4679807"/>
              <a:ext cx="63597" cy="6359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4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" name="îŝḻiḋé">
              <a:extLst>
                <a:ext uri="{FF2B5EF4-FFF2-40B4-BE49-F238E27FC236}">
                  <a16:creationId xmlns:a16="http://schemas.microsoft.com/office/drawing/2014/main" xmlns="" id="{E31043D0-D764-4547-99AC-7E173D50B866}"/>
                </a:ext>
              </a:extLst>
            </p:cNvPr>
            <p:cNvSpPr/>
            <p:nvPr/>
          </p:nvSpPr>
          <p:spPr bwMode="auto">
            <a:xfrm>
              <a:off x="4994577" y="4772310"/>
              <a:ext cx="63597" cy="69377"/>
            </a:xfrm>
            <a:custGeom>
              <a:avLst/>
              <a:gdLst>
                <a:gd name="T0" fmla="*/ 42 w 52"/>
                <a:gd name="T1" fmla="*/ 52 h 52"/>
                <a:gd name="T2" fmla="*/ 10 w 52"/>
                <a:gd name="T3" fmla="*/ 52 h 52"/>
                <a:gd name="T4" fmla="*/ 0 w 52"/>
                <a:gd name="T5" fmla="*/ 42 h 52"/>
                <a:gd name="T6" fmla="*/ 0 w 52"/>
                <a:gd name="T7" fmla="*/ 10 h 52"/>
                <a:gd name="T8" fmla="*/ 10 w 52"/>
                <a:gd name="T9" fmla="*/ 0 h 52"/>
                <a:gd name="T10" fmla="*/ 42 w 52"/>
                <a:gd name="T11" fmla="*/ 0 h 52"/>
                <a:gd name="T12" fmla="*/ 52 w 52"/>
                <a:gd name="T13" fmla="*/ 10 h 52"/>
                <a:gd name="T14" fmla="*/ 52 w 52"/>
                <a:gd name="T15" fmla="*/ 42 h 52"/>
                <a:gd name="T16" fmla="*/ 42 w 52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52">
                  <a:moveTo>
                    <a:pt x="42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4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8" y="0"/>
                    <a:pt x="52" y="5"/>
                    <a:pt x="52" y="10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8"/>
                    <a:pt x="48" y="52"/>
                    <a:pt x="42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" name="iṥḷiḓè">
              <a:extLst>
                <a:ext uri="{FF2B5EF4-FFF2-40B4-BE49-F238E27FC236}">
                  <a16:creationId xmlns:a16="http://schemas.microsoft.com/office/drawing/2014/main" xmlns="" id="{645F94D5-42E1-431E-B945-884E939242E2}"/>
                </a:ext>
              </a:extLst>
            </p:cNvPr>
            <p:cNvSpPr/>
            <p:nvPr/>
          </p:nvSpPr>
          <p:spPr bwMode="auto">
            <a:xfrm>
              <a:off x="3711099" y="5090291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4" name="îš1íḓe">
              <a:extLst>
                <a:ext uri="{FF2B5EF4-FFF2-40B4-BE49-F238E27FC236}">
                  <a16:creationId xmlns:a16="http://schemas.microsoft.com/office/drawing/2014/main" xmlns="" id="{120AF90F-BFF7-4AE8-B9F2-DBF171E70220}"/>
                </a:ext>
              </a:extLst>
            </p:cNvPr>
            <p:cNvSpPr/>
            <p:nvPr/>
          </p:nvSpPr>
          <p:spPr bwMode="auto">
            <a:xfrm>
              <a:off x="3711099" y="5188573"/>
              <a:ext cx="69377" cy="6937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4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5" name="íŝlïḑe">
              <a:extLst>
                <a:ext uri="{FF2B5EF4-FFF2-40B4-BE49-F238E27FC236}">
                  <a16:creationId xmlns:a16="http://schemas.microsoft.com/office/drawing/2014/main" xmlns="" id="{FC96681F-CFDD-41B4-8F4B-735784C206B3}"/>
                </a:ext>
              </a:extLst>
            </p:cNvPr>
            <p:cNvSpPr/>
            <p:nvPr/>
          </p:nvSpPr>
          <p:spPr bwMode="auto">
            <a:xfrm>
              <a:off x="3711099" y="5286859"/>
              <a:ext cx="69377" cy="63597"/>
            </a:xfrm>
            <a:custGeom>
              <a:avLst/>
              <a:gdLst>
                <a:gd name="T0" fmla="*/ 43 w 53"/>
                <a:gd name="T1" fmla="*/ 52 h 52"/>
                <a:gd name="T2" fmla="*/ 10 w 53"/>
                <a:gd name="T3" fmla="*/ 52 h 52"/>
                <a:gd name="T4" fmla="*/ 0 w 53"/>
                <a:gd name="T5" fmla="*/ 42 h 52"/>
                <a:gd name="T6" fmla="*/ 0 w 53"/>
                <a:gd name="T7" fmla="*/ 10 h 52"/>
                <a:gd name="T8" fmla="*/ 10 w 53"/>
                <a:gd name="T9" fmla="*/ 0 h 52"/>
                <a:gd name="T10" fmla="*/ 43 w 53"/>
                <a:gd name="T11" fmla="*/ 0 h 52"/>
                <a:gd name="T12" fmla="*/ 53 w 53"/>
                <a:gd name="T13" fmla="*/ 10 h 52"/>
                <a:gd name="T14" fmla="*/ 53 w 53"/>
                <a:gd name="T15" fmla="*/ 42 h 52"/>
                <a:gd name="T16" fmla="*/ 43 w 53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52">
                  <a:moveTo>
                    <a:pt x="43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5" y="52"/>
                    <a:pt x="0" y="48"/>
                    <a:pt x="0" y="4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0"/>
                    <a:pt x="53" y="5"/>
                    <a:pt x="53" y="10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8"/>
                    <a:pt x="48" y="52"/>
                    <a:pt x="43" y="52"/>
                  </a:cubicBezTo>
                  <a:close/>
                </a:path>
              </a:pathLst>
            </a:custGeom>
            <a:solidFill>
              <a:srgbClr val="D67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6" name="ïšlíḍé">
              <a:extLst>
                <a:ext uri="{FF2B5EF4-FFF2-40B4-BE49-F238E27FC236}">
                  <a16:creationId xmlns:a16="http://schemas.microsoft.com/office/drawing/2014/main" xmlns="" id="{AC8DC9E7-8746-4C02-B54D-B49475EA0746}"/>
                </a:ext>
              </a:extLst>
            </p:cNvPr>
            <p:cNvSpPr/>
            <p:nvPr/>
          </p:nvSpPr>
          <p:spPr bwMode="auto">
            <a:xfrm>
              <a:off x="3711099" y="4772310"/>
              <a:ext cx="468298" cy="69377"/>
            </a:xfrm>
            <a:custGeom>
              <a:avLst/>
              <a:gdLst>
                <a:gd name="T0" fmla="*/ 332 w 358"/>
                <a:gd name="T1" fmla="*/ 52 h 52"/>
                <a:gd name="T2" fmla="*/ 27 w 358"/>
                <a:gd name="T3" fmla="*/ 52 h 52"/>
                <a:gd name="T4" fmla="*/ 0 w 358"/>
                <a:gd name="T5" fmla="*/ 26 h 52"/>
                <a:gd name="T6" fmla="*/ 27 w 358"/>
                <a:gd name="T7" fmla="*/ 0 h 52"/>
                <a:gd name="T8" fmla="*/ 332 w 358"/>
                <a:gd name="T9" fmla="*/ 0 h 52"/>
                <a:gd name="T10" fmla="*/ 358 w 358"/>
                <a:gd name="T11" fmla="*/ 26 h 52"/>
                <a:gd name="T12" fmla="*/ 332 w 35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8" h="52">
                  <a:moveTo>
                    <a:pt x="332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12" y="52"/>
                    <a:pt x="0" y="41"/>
                    <a:pt x="0" y="26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46" y="0"/>
                    <a:pt x="358" y="12"/>
                    <a:pt x="358" y="26"/>
                  </a:cubicBezTo>
                  <a:cubicBezTo>
                    <a:pt x="358" y="41"/>
                    <a:pt x="346" y="52"/>
                    <a:pt x="332" y="52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7" name="ï$ḻidê">
              <a:extLst>
                <a:ext uri="{FF2B5EF4-FFF2-40B4-BE49-F238E27FC236}">
                  <a16:creationId xmlns:a16="http://schemas.microsoft.com/office/drawing/2014/main" xmlns="" id="{A33E0D40-89DA-4405-B0BC-BD6252AB9C7D}"/>
                </a:ext>
              </a:extLst>
            </p:cNvPr>
            <p:cNvSpPr/>
            <p:nvPr/>
          </p:nvSpPr>
          <p:spPr bwMode="auto">
            <a:xfrm>
              <a:off x="4560968" y="5090291"/>
              <a:ext cx="468298" cy="69377"/>
            </a:xfrm>
            <a:custGeom>
              <a:avLst/>
              <a:gdLst>
                <a:gd name="T0" fmla="*/ 331 w 357"/>
                <a:gd name="T1" fmla="*/ 52 h 52"/>
                <a:gd name="T2" fmla="*/ 26 w 357"/>
                <a:gd name="T3" fmla="*/ 52 h 52"/>
                <a:gd name="T4" fmla="*/ 0 w 357"/>
                <a:gd name="T5" fmla="*/ 26 h 52"/>
                <a:gd name="T6" fmla="*/ 26 w 357"/>
                <a:gd name="T7" fmla="*/ 0 h 52"/>
                <a:gd name="T8" fmla="*/ 331 w 357"/>
                <a:gd name="T9" fmla="*/ 0 h 52"/>
                <a:gd name="T10" fmla="*/ 357 w 357"/>
                <a:gd name="T11" fmla="*/ 26 h 52"/>
                <a:gd name="T12" fmla="*/ 331 w 3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2">
                  <a:moveTo>
                    <a:pt x="331" y="52"/>
                  </a:moveTo>
                  <a:cubicBezTo>
                    <a:pt x="26" y="52"/>
                    <a:pt x="26" y="52"/>
                    <a:pt x="26" y="52"/>
                  </a:cubicBez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6"/>
                  </a:cubicBezTo>
                  <a:cubicBezTo>
                    <a:pt x="357" y="41"/>
                    <a:pt x="345" y="52"/>
                    <a:pt x="331" y="52"/>
                  </a:cubicBezTo>
                  <a:close/>
                </a:path>
              </a:pathLst>
            </a:custGeom>
            <a:solidFill>
              <a:srgbClr val="73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8" name="iśľîḑê">
              <a:extLst>
                <a:ext uri="{FF2B5EF4-FFF2-40B4-BE49-F238E27FC236}">
                  <a16:creationId xmlns:a16="http://schemas.microsoft.com/office/drawing/2014/main" xmlns="" id="{5F942F2C-FDE3-46AB-BF12-38C42652B7F0}"/>
                </a:ext>
              </a:extLst>
            </p:cNvPr>
            <p:cNvSpPr/>
            <p:nvPr/>
          </p:nvSpPr>
          <p:spPr bwMode="auto">
            <a:xfrm>
              <a:off x="4560968" y="5263734"/>
              <a:ext cx="468298" cy="69377"/>
            </a:xfrm>
            <a:custGeom>
              <a:avLst/>
              <a:gdLst>
                <a:gd name="T0" fmla="*/ 331 w 357"/>
                <a:gd name="T1" fmla="*/ 53 h 53"/>
                <a:gd name="T2" fmla="*/ 26 w 357"/>
                <a:gd name="T3" fmla="*/ 53 h 53"/>
                <a:gd name="T4" fmla="*/ 0 w 357"/>
                <a:gd name="T5" fmla="*/ 27 h 53"/>
                <a:gd name="T6" fmla="*/ 26 w 357"/>
                <a:gd name="T7" fmla="*/ 0 h 53"/>
                <a:gd name="T8" fmla="*/ 331 w 357"/>
                <a:gd name="T9" fmla="*/ 0 h 53"/>
                <a:gd name="T10" fmla="*/ 357 w 357"/>
                <a:gd name="T11" fmla="*/ 27 h 53"/>
                <a:gd name="T12" fmla="*/ 331 w 357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7" h="53">
                  <a:moveTo>
                    <a:pt x="331" y="53"/>
                  </a:moveTo>
                  <a:cubicBezTo>
                    <a:pt x="26" y="53"/>
                    <a:pt x="26" y="53"/>
                    <a:pt x="26" y="53"/>
                  </a:cubicBezTo>
                  <a:cubicBezTo>
                    <a:pt x="11" y="53"/>
                    <a:pt x="0" y="41"/>
                    <a:pt x="0" y="27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345" y="0"/>
                    <a:pt x="357" y="12"/>
                    <a:pt x="357" y="27"/>
                  </a:cubicBezTo>
                  <a:cubicBezTo>
                    <a:pt x="357" y="41"/>
                    <a:pt x="345" y="53"/>
                    <a:pt x="331" y="53"/>
                  </a:cubicBezTo>
                  <a:close/>
                </a:path>
              </a:pathLst>
            </a:custGeom>
            <a:solidFill>
              <a:srgbClr val="5D9C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6" name="文本框 55">
            <a:extLst>
              <a:ext uri="{FF2B5EF4-FFF2-40B4-BE49-F238E27FC236}">
                <a16:creationId xmlns:a16="http://schemas.microsoft.com/office/drawing/2014/main" xmlns="" id="{24B3BB59-AC8B-4D18-A957-C9163CD925C5}"/>
              </a:ext>
            </a:extLst>
          </p:cNvPr>
          <p:cNvSpPr txBox="1"/>
          <p:nvPr/>
        </p:nvSpPr>
        <p:spPr>
          <a:xfrm>
            <a:off x="4477604" y="4335219"/>
            <a:ext cx="13803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loud database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xmlns="" id="{8FF1F3C7-F85D-48D1-A82B-3C951F5DB43B}"/>
              </a:ext>
            </a:extLst>
          </p:cNvPr>
          <p:cNvCxnSpPr>
            <a:cxnSpLocks/>
          </p:cNvCxnSpPr>
          <p:nvPr/>
        </p:nvCxnSpPr>
        <p:spPr bwMode="auto">
          <a:xfrm flipV="1">
            <a:off x="4388233" y="3300274"/>
            <a:ext cx="0" cy="55720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文本框 57">
            <a:extLst>
              <a:ext uri="{FF2B5EF4-FFF2-40B4-BE49-F238E27FC236}">
                <a16:creationId xmlns:a16="http://schemas.microsoft.com/office/drawing/2014/main" xmlns="" id="{584B3E65-89BD-49EF-BAA7-379B2AB7902B}"/>
              </a:ext>
            </a:extLst>
          </p:cNvPr>
          <p:cNvSpPr txBox="1"/>
          <p:nvPr/>
        </p:nvSpPr>
        <p:spPr>
          <a:xfrm>
            <a:off x="1619672" y="2804485"/>
            <a:ext cx="13275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orage Server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xmlns="" id="{0A2470D6-F3C1-4274-A4B5-B4CB46748EE9}"/>
              </a:ext>
            </a:extLst>
          </p:cNvPr>
          <p:cNvSpPr txBox="1"/>
          <p:nvPr/>
        </p:nvSpPr>
        <p:spPr>
          <a:xfrm>
            <a:off x="1619672" y="4817095"/>
            <a:ext cx="13275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torage Server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xmlns="" id="{C92809BA-3D68-49F9-9601-3584BB6918F8}"/>
              </a:ext>
            </a:extLst>
          </p:cNvPr>
          <p:cNvGrpSpPr/>
          <p:nvPr/>
        </p:nvGrpSpPr>
        <p:grpSpPr>
          <a:xfrm>
            <a:off x="5915448" y="1620983"/>
            <a:ext cx="731385" cy="521774"/>
            <a:chOff x="2249229" y="2557668"/>
            <a:chExt cx="3763931" cy="2613102"/>
          </a:xfrm>
        </p:grpSpPr>
        <p:sp>
          <p:nvSpPr>
            <p:cNvPr id="121" name="í$1ïḋè">
              <a:extLst>
                <a:ext uri="{FF2B5EF4-FFF2-40B4-BE49-F238E27FC236}">
                  <a16:creationId xmlns:a16="http://schemas.microsoft.com/office/drawing/2014/main" xmlns="" id="{C15F4A8E-F541-4EA3-95DC-8233B1A72CD8}"/>
                </a:ext>
              </a:extLst>
            </p:cNvPr>
            <p:cNvSpPr/>
            <p:nvPr/>
          </p:nvSpPr>
          <p:spPr bwMode="auto">
            <a:xfrm>
              <a:off x="3524636" y="4637734"/>
              <a:ext cx="1212096" cy="533036"/>
            </a:xfrm>
            <a:custGeom>
              <a:avLst/>
              <a:gdLst>
                <a:gd name="T0" fmla="*/ 289 w 1187"/>
                <a:gd name="T1" fmla="*/ 0 h 522"/>
                <a:gd name="T2" fmla="*/ 898 w 1187"/>
                <a:gd name="T3" fmla="*/ 0 h 522"/>
                <a:gd name="T4" fmla="*/ 1187 w 1187"/>
                <a:gd name="T5" fmla="*/ 522 h 522"/>
                <a:gd name="T6" fmla="*/ 0 w 1187"/>
                <a:gd name="T7" fmla="*/ 522 h 522"/>
                <a:gd name="T8" fmla="*/ 289 w 1187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7" h="522">
                  <a:moveTo>
                    <a:pt x="289" y="0"/>
                  </a:moveTo>
                  <a:lnTo>
                    <a:pt x="898" y="0"/>
                  </a:lnTo>
                  <a:lnTo>
                    <a:pt x="1187" y="522"/>
                  </a:lnTo>
                  <a:lnTo>
                    <a:pt x="0" y="522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ïşliḓe">
              <a:extLst>
                <a:ext uri="{FF2B5EF4-FFF2-40B4-BE49-F238E27FC236}">
                  <a16:creationId xmlns:a16="http://schemas.microsoft.com/office/drawing/2014/main" xmlns="" id="{DE49BC15-1D3F-4C17-876C-6D945CEA5C54}"/>
                </a:ext>
              </a:extLst>
            </p:cNvPr>
            <p:cNvSpPr/>
            <p:nvPr/>
          </p:nvSpPr>
          <p:spPr bwMode="auto">
            <a:xfrm>
              <a:off x="2506557" y="2557668"/>
              <a:ext cx="3249275" cy="2214857"/>
            </a:xfrm>
            <a:custGeom>
              <a:avLst/>
              <a:gdLst>
                <a:gd name="T0" fmla="*/ 28 w 606"/>
                <a:gd name="T1" fmla="*/ 0 h 412"/>
                <a:gd name="T2" fmla="*/ 578 w 606"/>
                <a:gd name="T3" fmla="*/ 0 h 412"/>
                <a:gd name="T4" fmla="*/ 606 w 606"/>
                <a:gd name="T5" fmla="*/ 28 h 412"/>
                <a:gd name="T6" fmla="*/ 606 w 606"/>
                <a:gd name="T7" fmla="*/ 384 h 412"/>
                <a:gd name="T8" fmla="*/ 578 w 606"/>
                <a:gd name="T9" fmla="*/ 412 h 412"/>
                <a:gd name="T10" fmla="*/ 28 w 606"/>
                <a:gd name="T11" fmla="*/ 412 h 412"/>
                <a:gd name="T12" fmla="*/ 0 w 606"/>
                <a:gd name="T13" fmla="*/ 384 h 412"/>
                <a:gd name="T14" fmla="*/ 0 w 606"/>
                <a:gd name="T15" fmla="*/ 28 h 412"/>
                <a:gd name="T16" fmla="*/ 28 w 606"/>
                <a:gd name="T1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412">
                  <a:moveTo>
                    <a:pt x="28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94" y="0"/>
                    <a:pt x="606" y="13"/>
                    <a:pt x="606" y="28"/>
                  </a:cubicBezTo>
                  <a:cubicBezTo>
                    <a:pt x="606" y="384"/>
                    <a:pt x="606" y="384"/>
                    <a:pt x="606" y="384"/>
                  </a:cubicBezTo>
                  <a:cubicBezTo>
                    <a:pt x="606" y="400"/>
                    <a:pt x="594" y="412"/>
                    <a:pt x="578" y="412"/>
                  </a:cubicBezTo>
                  <a:cubicBezTo>
                    <a:pt x="28" y="412"/>
                    <a:pt x="28" y="412"/>
                    <a:pt x="28" y="412"/>
                  </a:cubicBezTo>
                  <a:cubicBezTo>
                    <a:pt x="12" y="412"/>
                    <a:pt x="0" y="400"/>
                    <a:pt x="0" y="38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3" name="íṩ1íḍè">
              <a:extLst>
                <a:ext uri="{FF2B5EF4-FFF2-40B4-BE49-F238E27FC236}">
                  <a16:creationId xmlns:a16="http://schemas.microsoft.com/office/drawing/2014/main" xmlns="" id="{89035BD4-8929-4E98-87B5-768DA799F5E7}"/>
                </a:ext>
              </a:extLst>
            </p:cNvPr>
            <p:cNvSpPr/>
            <p:nvPr/>
          </p:nvSpPr>
          <p:spPr bwMode="auto">
            <a:xfrm>
              <a:off x="5477060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4" name="íṡ1idè">
              <a:extLst>
                <a:ext uri="{FF2B5EF4-FFF2-40B4-BE49-F238E27FC236}">
                  <a16:creationId xmlns:a16="http://schemas.microsoft.com/office/drawing/2014/main" xmlns="" id="{969E06BA-7242-4ED7-BBA6-BF474BE52D3F}"/>
                </a:ext>
              </a:extLst>
            </p:cNvPr>
            <p:cNvSpPr/>
            <p:nvPr/>
          </p:nvSpPr>
          <p:spPr bwMode="auto">
            <a:xfrm>
              <a:off x="5401495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îslîḋé">
              <a:extLst>
                <a:ext uri="{FF2B5EF4-FFF2-40B4-BE49-F238E27FC236}">
                  <a16:creationId xmlns:a16="http://schemas.microsoft.com/office/drawing/2014/main" xmlns="" id="{A63D3DE9-FE91-4484-839F-DDCC3EF6CC84}"/>
                </a:ext>
              </a:extLst>
            </p:cNvPr>
            <p:cNvSpPr/>
            <p:nvPr/>
          </p:nvSpPr>
          <p:spPr bwMode="auto">
            <a:xfrm>
              <a:off x="2249229" y="5009430"/>
              <a:ext cx="3763931" cy="161340"/>
            </a:xfrm>
            <a:custGeom>
              <a:avLst/>
              <a:gdLst>
                <a:gd name="T0" fmla="*/ 15 w 702"/>
                <a:gd name="T1" fmla="*/ 0 h 30"/>
                <a:gd name="T2" fmla="*/ 687 w 702"/>
                <a:gd name="T3" fmla="*/ 0 h 30"/>
                <a:gd name="T4" fmla="*/ 702 w 702"/>
                <a:gd name="T5" fmla="*/ 15 h 30"/>
                <a:gd name="T6" fmla="*/ 702 w 702"/>
                <a:gd name="T7" fmla="*/ 15 h 30"/>
                <a:gd name="T8" fmla="*/ 687 w 702"/>
                <a:gd name="T9" fmla="*/ 30 h 30"/>
                <a:gd name="T10" fmla="*/ 15 w 702"/>
                <a:gd name="T11" fmla="*/ 30 h 30"/>
                <a:gd name="T12" fmla="*/ 0 w 702"/>
                <a:gd name="T13" fmla="*/ 15 h 30"/>
                <a:gd name="T14" fmla="*/ 0 w 702"/>
                <a:gd name="T15" fmla="*/ 15 h 30"/>
                <a:gd name="T16" fmla="*/ 15 w 70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2" h="30">
                  <a:moveTo>
                    <a:pt x="15" y="0"/>
                  </a:moveTo>
                  <a:cubicBezTo>
                    <a:pt x="687" y="0"/>
                    <a:pt x="687" y="0"/>
                    <a:pt x="687" y="0"/>
                  </a:cubicBezTo>
                  <a:cubicBezTo>
                    <a:pt x="695" y="0"/>
                    <a:pt x="702" y="7"/>
                    <a:pt x="702" y="15"/>
                  </a:cubicBezTo>
                  <a:cubicBezTo>
                    <a:pt x="702" y="15"/>
                    <a:pt x="702" y="15"/>
                    <a:pt x="702" y="15"/>
                  </a:cubicBezTo>
                  <a:cubicBezTo>
                    <a:pt x="702" y="24"/>
                    <a:pt x="695" y="30"/>
                    <a:pt x="68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6" name="íşļîḍé">
              <a:extLst>
                <a:ext uri="{FF2B5EF4-FFF2-40B4-BE49-F238E27FC236}">
                  <a16:creationId xmlns:a16="http://schemas.microsoft.com/office/drawing/2014/main" xmlns="" id="{F10EE745-C621-4A11-9530-7B7CFBE0A6F6}"/>
                </a:ext>
              </a:extLst>
            </p:cNvPr>
            <p:cNvSpPr/>
            <p:nvPr/>
          </p:nvSpPr>
          <p:spPr bwMode="auto">
            <a:xfrm>
              <a:off x="2249229" y="5090100"/>
              <a:ext cx="3763931" cy="80670"/>
            </a:xfrm>
            <a:custGeom>
              <a:avLst/>
              <a:gdLst>
                <a:gd name="T0" fmla="*/ 702 w 702"/>
                <a:gd name="T1" fmla="*/ 0 h 15"/>
                <a:gd name="T2" fmla="*/ 687 w 702"/>
                <a:gd name="T3" fmla="*/ 15 h 15"/>
                <a:gd name="T4" fmla="*/ 15 w 702"/>
                <a:gd name="T5" fmla="*/ 15 h 15"/>
                <a:gd name="T6" fmla="*/ 0 w 702"/>
                <a:gd name="T7" fmla="*/ 0 h 15"/>
                <a:gd name="T8" fmla="*/ 702 w 70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2" h="15">
                  <a:moveTo>
                    <a:pt x="702" y="0"/>
                  </a:moveTo>
                  <a:cubicBezTo>
                    <a:pt x="702" y="9"/>
                    <a:pt x="695" y="15"/>
                    <a:pt x="687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7" y="15"/>
                    <a:pt x="0" y="9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7" name="ï$ḻîḓe">
              <a:extLst>
                <a:ext uri="{FF2B5EF4-FFF2-40B4-BE49-F238E27FC236}">
                  <a16:creationId xmlns:a16="http://schemas.microsoft.com/office/drawing/2014/main" xmlns="" id="{57C2133B-D612-46F2-9CDA-AB6D8B6D6EFF}"/>
                </a:ext>
              </a:extLst>
            </p:cNvPr>
            <p:cNvSpPr/>
            <p:nvPr/>
          </p:nvSpPr>
          <p:spPr bwMode="auto">
            <a:xfrm>
              <a:off x="2602544" y="2648549"/>
              <a:ext cx="3056279" cy="18554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8" name="îşľiḑè">
              <a:extLst>
                <a:ext uri="{FF2B5EF4-FFF2-40B4-BE49-F238E27FC236}">
                  <a16:creationId xmlns:a16="http://schemas.microsoft.com/office/drawing/2014/main" xmlns="" id="{C24F98DA-613D-4831-8470-C16BBAFA1B5F}"/>
                </a:ext>
              </a:extLst>
            </p:cNvPr>
            <p:cNvSpPr/>
            <p:nvPr/>
          </p:nvSpPr>
          <p:spPr bwMode="auto">
            <a:xfrm>
              <a:off x="2806773" y="2648549"/>
              <a:ext cx="2648843" cy="15623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9" name="îšḷîḑê">
              <a:extLst>
                <a:ext uri="{FF2B5EF4-FFF2-40B4-BE49-F238E27FC236}">
                  <a16:creationId xmlns:a16="http://schemas.microsoft.com/office/drawing/2014/main" xmlns="" id="{A082EFB1-FF06-4BE1-A46D-012D708F597B}"/>
                </a:ext>
              </a:extLst>
            </p:cNvPr>
            <p:cNvSpPr/>
            <p:nvPr/>
          </p:nvSpPr>
          <p:spPr bwMode="auto">
            <a:xfrm>
              <a:off x="3514424" y="2906899"/>
              <a:ext cx="1233540" cy="242010"/>
            </a:xfrm>
            <a:prstGeom prst="rect">
              <a:avLst/>
            </a:prstGeom>
            <a:solidFill>
              <a:srgbClr val="ED7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0" name="íṣḷïḍé">
              <a:extLst>
                <a:ext uri="{FF2B5EF4-FFF2-40B4-BE49-F238E27FC236}">
                  <a16:creationId xmlns:a16="http://schemas.microsoft.com/office/drawing/2014/main" xmlns="" id="{98F76658-A087-4B8E-B9D8-21ACD8422163}"/>
                </a:ext>
              </a:extLst>
            </p:cNvPr>
            <p:cNvSpPr/>
            <p:nvPr/>
          </p:nvSpPr>
          <p:spPr bwMode="auto">
            <a:xfrm>
              <a:off x="2806773" y="3438913"/>
              <a:ext cx="2648843" cy="671912"/>
            </a:xfrm>
            <a:prstGeom prst="rect">
              <a:avLst/>
            </a:prstGeom>
            <a:solidFill>
              <a:srgbClr val="589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1" name="ïŝḻiḓè">
              <a:extLst>
                <a:ext uri="{FF2B5EF4-FFF2-40B4-BE49-F238E27FC236}">
                  <a16:creationId xmlns:a16="http://schemas.microsoft.com/office/drawing/2014/main" xmlns="" id="{AB232CD2-51D5-4657-BE14-73FB15E0F0E5}"/>
                </a:ext>
              </a:extLst>
            </p:cNvPr>
            <p:cNvSpPr/>
            <p:nvPr/>
          </p:nvSpPr>
          <p:spPr bwMode="auto">
            <a:xfrm>
              <a:off x="3316323" y="3245918"/>
              <a:ext cx="1629743" cy="10211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iŝḻîḑè">
              <a:extLst>
                <a:ext uri="{FF2B5EF4-FFF2-40B4-BE49-F238E27FC236}">
                  <a16:creationId xmlns:a16="http://schemas.microsoft.com/office/drawing/2014/main" xmlns="" id="{8B812930-AA7B-443E-BBFF-3A20DCF6B8ED}"/>
                </a:ext>
              </a:extLst>
            </p:cNvPr>
            <p:cNvSpPr/>
            <p:nvPr/>
          </p:nvSpPr>
          <p:spPr bwMode="auto">
            <a:xfrm>
              <a:off x="2967092" y="4245616"/>
              <a:ext cx="664764" cy="258349"/>
            </a:xfrm>
            <a:prstGeom prst="rect">
              <a:avLst/>
            </a:prstGeom>
            <a:solidFill>
              <a:srgbClr val="FFD4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íṣļiḍe">
              <a:extLst>
                <a:ext uri="{FF2B5EF4-FFF2-40B4-BE49-F238E27FC236}">
                  <a16:creationId xmlns:a16="http://schemas.microsoft.com/office/drawing/2014/main" xmlns="" id="{F4B1179B-98DB-41D0-83F6-746EDAFCFA5A}"/>
                </a:ext>
              </a:extLst>
            </p:cNvPr>
            <p:cNvSpPr/>
            <p:nvPr/>
          </p:nvSpPr>
          <p:spPr bwMode="auto">
            <a:xfrm>
              <a:off x="3798302" y="4245616"/>
              <a:ext cx="664764" cy="258349"/>
            </a:xfrm>
            <a:prstGeom prst="rect">
              <a:avLst/>
            </a:prstGeom>
            <a:solidFill>
              <a:srgbClr val="F0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iṩļïdè">
              <a:extLst>
                <a:ext uri="{FF2B5EF4-FFF2-40B4-BE49-F238E27FC236}">
                  <a16:creationId xmlns:a16="http://schemas.microsoft.com/office/drawing/2014/main" xmlns="" id="{A382B7FC-20A5-4C76-8905-5376A5EABBBB}"/>
                </a:ext>
              </a:extLst>
            </p:cNvPr>
            <p:cNvSpPr/>
            <p:nvPr/>
          </p:nvSpPr>
          <p:spPr bwMode="auto">
            <a:xfrm>
              <a:off x="4629512" y="4245616"/>
              <a:ext cx="664764" cy="258349"/>
            </a:xfrm>
            <a:prstGeom prst="rect">
              <a:avLst/>
            </a:prstGeom>
            <a:solidFill>
              <a:srgbClr val="6A8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1" name="组合 60">
            <a:extLst>
              <a:ext uri="{FF2B5EF4-FFF2-40B4-BE49-F238E27FC236}">
                <a16:creationId xmlns:a16="http://schemas.microsoft.com/office/drawing/2014/main" xmlns="" id="{D85E9E4E-8659-4F82-B19F-21261E92DD24}"/>
              </a:ext>
            </a:extLst>
          </p:cNvPr>
          <p:cNvGrpSpPr/>
          <p:nvPr/>
        </p:nvGrpSpPr>
        <p:grpSpPr>
          <a:xfrm>
            <a:off x="6697580" y="1610089"/>
            <a:ext cx="278979" cy="578677"/>
            <a:chOff x="2655339" y="2859178"/>
            <a:chExt cx="1701798" cy="3470271"/>
          </a:xfrm>
        </p:grpSpPr>
        <p:sp>
          <p:nvSpPr>
            <p:cNvPr id="81" name="ïś1ïḍê">
              <a:extLst>
                <a:ext uri="{FF2B5EF4-FFF2-40B4-BE49-F238E27FC236}">
                  <a16:creationId xmlns:a16="http://schemas.microsoft.com/office/drawing/2014/main" xmlns="" id="{12B17A6B-9433-4652-8F48-4F34C144D57E}"/>
                </a:ext>
              </a:extLst>
            </p:cNvPr>
            <p:cNvSpPr/>
            <p:nvPr/>
          </p:nvSpPr>
          <p:spPr bwMode="auto">
            <a:xfrm>
              <a:off x="2742651" y="2944903"/>
              <a:ext cx="1614486" cy="3384546"/>
            </a:xfrm>
            <a:custGeom>
              <a:avLst/>
              <a:gdLst>
                <a:gd name="T0" fmla="*/ 322 w 741"/>
                <a:gd name="T1" fmla="*/ 1382 h 1555"/>
                <a:gd name="T2" fmla="*/ 455 w 741"/>
                <a:gd name="T3" fmla="*/ 1382 h 1555"/>
                <a:gd name="T4" fmla="*/ 381 w 741"/>
                <a:gd name="T5" fmla="*/ 1367 h 1555"/>
                <a:gd name="T6" fmla="*/ 263 w 741"/>
                <a:gd name="T7" fmla="*/ 1353 h 1555"/>
                <a:gd name="T8" fmla="*/ 396 w 741"/>
                <a:gd name="T9" fmla="*/ 1353 h 1555"/>
                <a:gd name="T10" fmla="*/ 249 w 741"/>
                <a:gd name="T11" fmla="*/ 1338 h 1555"/>
                <a:gd name="T12" fmla="*/ 381 w 741"/>
                <a:gd name="T13" fmla="*/ 1338 h 1555"/>
                <a:gd name="T14" fmla="*/ 514 w 741"/>
                <a:gd name="T15" fmla="*/ 1338 h 1555"/>
                <a:gd name="T16" fmla="*/ 337 w 741"/>
                <a:gd name="T17" fmla="*/ 1323 h 1555"/>
                <a:gd name="T18" fmla="*/ 470 w 741"/>
                <a:gd name="T19" fmla="*/ 1323 h 1555"/>
                <a:gd name="T20" fmla="*/ 278 w 741"/>
                <a:gd name="T21" fmla="*/ 1308 h 1555"/>
                <a:gd name="T22" fmla="*/ 411 w 741"/>
                <a:gd name="T23" fmla="*/ 1308 h 1555"/>
                <a:gd name="T24" fmla="*/ 204 w 741"/>
                <a:gd name="T25" fmla="*/ 1294 h 1555"/>
                <a:gd name="T26" fmla="*/ 337 w 741"/>
                <a:gd name="T27" fmla="*/ 1294 h 1555"/>
                <a:gd name="T28" fmla="*/ 470 w 741"/>
                <a:gd name="T29" fmla="*/ 1294 h 1555"/>
                <a:gd name="T30" fmla="*/ 249 w 741"/>
                <a:gd name="T31" fmla="*/ 1279 h 1555"/>
                <a:gd name="T32" fmla="*/ 381 w 741"/>
                <a:gd name="T33" fmla="*/ 1279 h 1555"/>
                <a:gd name="T34" fmla="*/ 514 w 741"/>
                <a:gd name="T35" fmla="*/ 1279 h 1555"/>
                <a:gd name="T36" fmla="*/ 293 w 741"/>
                <a:gd name="T37" fmla="*/ 1264 h 1555"/>
                <a:gd name="T38" fmla="*/ 426 w 741"/>
                <a:gd name="T39" fmla="*/ 1264 h 1555"/>
                <a:gd name="T40" fmla="*/ 190 w 741"/>
                <a:gd name="T41" fmla="*/ 1249 h 1555"/>
                <a:gd name="T42" fmla="*/ 322 w 741"/>
                <a:gd name="T43" fmla="*/ 1249 h 1555"/>
                <a:gd name="T44" fmla="*/ 455 w 741"/>
                <a:gd name="T45" fmla="*/ 1249 h 1555"/>
                <a:gd name="T46" fmla="*/ 204 w 741"/>
                <a:gd name="T47" fmla="*/ 1235 h 1555"/>
                <a:gd name="T48" fmla="*/ 337 w 741"/>
                <a:gd name="T49" fmla="*/ 1235 h 1555"/>
                <a:gd name="T50" fmla="*/ 470 w 741"/>
                <a:gd name="T51" fmla="*/ 1235 h 1555"/>
                <a:gd name="T52" fmla="*/ 219 w 741"/>
                <a:gd name="T53" fmla="*/ 1220 h 1555"/>
                <a:gd name="T54" fmla="*/ 352 w 741"/>
                <a:gd name="T55" fmla="*/ 1220 h 1555"/>
                <a:gd name="T56" fmla="*/ 485 w 741"/>
                <a:gd name="T57" fmla="*/ 1220 h 1555"/>
                <a:gd name="T58" fmla="*/ 234 w 741"/>
                <a:gd name="T59" fmla="*/ 1205 h 1555"/>
                <a:gd name="T60" fmla="*/ 367 w 741"/>
                <a:gd name="T61" fmla="*/ 1205 h 1555"/>
                <a:gd name="T62" fmla="*/ 499 w 741"/>
                <a:gd name="T63" fmla="*/ 1205 h 1555"/>
                <a:gd name="T64" fmla="*/ 249 w 741"/>
                <a:gd name="T65" fmla="*/ 1190 h 1555"/>
                <a:gd name="T66" fmla="*/ 381 w 741"/>
                <a:gd name="T67" fmla="*/ 1190 h 1555"/>
                <a:gd name="T68" fmla="*/ 514 w 741"/>
                <a:gd name="T69" fmla="*/ 1190 h 1555"/>
                <a:gd name="T70" fmla="*/ 263 w 741"/>
                <a:gd name="T71" fmla="*/ 1176 h 1555"/>
                <a:gd name="T72" fmla="*/ 396 w 741"/>
                <a:gd name="T73" fmla="*/ 1176 h 1555"/>
                <a:gd name="T74" fmla="*/ 529 w 741"/>
                <a:gd name="T75" fmla="*/ 1176 h 1555"/>
                <a:gd name="T76" fmla="*/ 293 w 741"/>
                <a:gd name="T77" fmla="*/ 1161 h 1555"/>
                <a:gd name="T78" fmla="*/ 426 w 741"/>
                <a:gd name="T79" fmla="*/ 1161 h 1555"/>
                <a:gd name="T80" fmla="*/ 204 w 741"/>
                <a:gd name="T81" fmla="*/ 1146 h 1555"/>
                <a:gd name="T82" fmla="*/ 337 w 741"/>
                <a:gd name="T83" fmla="*/ 1146 h 1555"/>
                <a:gd name="T84" fmla="*/ 470 w 741"/>
                <a:gd name="T85" fmla="*/ 1146 h 1555"/>
                <a:gd name="T86" fmla="*/ 249 w 741"/>
                <a:gd name="T87" fmla="*/ 1131 h 1555"/>
                <a:gd name="T88" fmla="*/ 381 w 741"/>
                <a:gd name="T89" fmla="*/ 1131 h 1555"/>
                <a:gd name="T90" fmla="*/ 514 w 741"/>
                <a:gd name="T91" fmla="*/ 1131 h 1555"/>
                <a:gd name="T92" fmla="*/ 308 w 741"/>
                <a:gd name="T93" fmla="*/ 1117 h 1555"/>
                <a:gd name="T94" fmla="*/ 440 w 741"/>
                <a:gd name="T95" fmla="*/ 1117 h 1555"/>
                <a:gd name="T96" fmla="*/ 249 w 741"/>
                <a:gd name="T97" fmla="*/ 1102 h 1555"/>
                <a:gd name="T98" fmla="*/ 381 w 741"/>
                <a:gd name="T99" fmla="*/ 1102 h 1555"/>
                <a:gd name="T100" fmla="*/ 514 w 741"/>
                <a:gd name="T101" fmla="*/ 1102 h 1555"/>
                <a:gd name="T102" fmla="*/ 337 w 741"/>
                <a:gd name="T103" fmla="*/ 1087 h 1555"/>
                <a:gd name="T104" fmla="*/ 470 w 741"/>
                <a:gd name="T105" fmla="*/ 1087 h 1555"/>
                <a:gd name="T106" fmla="*/ 322 w 741"/>
                <a:gd name="T107" fmla="*/ 1072 h 1555"/>
                <a:gd name="T108" fmla="*/ 455 w 741"/>
                <a:gd name="T109" fmla="*/ 1072 h 1555"/>
                <a:gd name="T110" fmla="*/ 337 w 741"/>
                <a:gd name="T111" fmla="*/ 1058 h 1555"/>
                <a:gd name="T112" fmla="*/ 470 w 741"/>
                <a:gd name="T113" fmla="*/ 1058 h 1555"/>
                <a:gd name="T114" fmla="*/ 396 w 741"/>
                <a:gd name="T115" fmla="*/ 1043 h 1555"/>
                <a:gd name="T116" fmla="*/ 396 w 741"/>
                <a:gd name="T117" fmla="*/ 1028 h 1555"/>
                <a:gd name="T118" fmla="*/ 316 w 741"/>
                <a:gd name="T119" fmla="*/ 1028 h 1555"/>
                <a:gd name="T120" fmla="*/ 551 w 741"/>
                <a:gd name="T121" fmla="*/ 1286 h 1555"/>
                <a:gd name="T122" fmla="*/ 234 w 741"/>
                <a:gd name="T123" fmla="*/ 1356 h 1555"/>
                <a:gd name="T124" fmla="*/ 278 w 741"/>
                <a:gd name="T125" fmla="*/ 1044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1" h="1555">
                  <a:moveTo>
                    <a:pt x="337" y="1397"/>
                  </a:moveTo>
                  <a:cubicBezTo>
                    <a:pt x="330" y="1397"/>
                    <a:pt x="330" y="1397"/>
                    <a:pt x="330" y="1397"/>
                  </a:cubicBezTo>
                  <a:cubicBezTo>
                    <a:pt x="330" y="1404"/>
                    <a:pt x="330" y="1404"/>
                    <a:pt x="330" y="1404"/>
                  </a:cubicBezTo>
                  <a:cubicBezTo>
                    <a:pt x="337" y="1404"/>
                    <a:pt x="337" y="1404"/>
                    <a:pt x="337" y="1404"/>
                  </a:cubicBezTo>
                  <a:cubicBezTo>
                    <a:pt x="337" y="1397"/>
                    <a:pt x="337" y="1397"/>
                    <a:pt x="337" y="1397"/>
                  </a:cubicBezTo>
                  <a:moveTo>
                    <a:pt x="352" y="1397"/>
                  </a:moveTo>
                  <a:cubicBezTo>
                    <a:pt x="345" y="1397"/>
                    <a:pt x="345" y="1397"/>
                    <a:pt x="345" y="1397"/>
                  </a:cubicBezTo>
                  <a:cubicBezTo>
                    <a:pt x="345" y="1404"/>
                    <a:pt x="345" y="1404"/>
                    <a:pt x="345" y="1404"/>
                  </a:cubicBezTo>
                  <a:cubicBezTo>
                    <a:pt x="352" y="1404"/>
                    <a:pt x="352" y="1404"/>
                    <a:pt x="352" y="1404"/>
                  </a:cubicBezTo>
                  <a:cubicBezTo>
                    <a:pt x="352" y="1397"/>
                    <a:pt x="352" y="1397"/>
                    <a:pt x="352" y="1397"/>
                  </a:cubicBezTo>
                  <a:moveTo>
                    <a:pt x="367" y="1397"/>
                  </a:moveTo>
                  <a:cubicBezTo>
                    <a:pt x="360" y="1397"/>
                    <a:pt x="360" y="1397"/>
                    <a:pt x="360" y="1397"/>
                  </a:cubicBezTo>
                  <a:cubicBezTo>
                    <a:pt x="360" y="1404"/>
                    <a:pt x="360" y="1404"/>
                    <a:pt x="360" y="1404"/>
                  </a:cubicBezTo>
                  <a:cubicBezTo>
                    <a:pt x="367" y="1404"/>
                    <a:pt x="367" y="1404"/>
                    <a:pt x="367" y="1404"/>
                  </a:cubicBezTo>
                  <a:cubicBezTo>
                    <a:pt x="367" y="1397"/>
                    <a:pt x="367" y="1397"/>
                    <a:pt x="367" y="1397"/>
                  </a:cubicBezTo>
                  <a:moveTo>
                    <a:pt x="381" y="1397"/>
                  </a:moveTo>
                  <a:cubicBezTo>
                    <a:pt x="374" y="1397"/>
                    <a:pt x="374" y="1397"/>
                    <a:pt x="374" y="1397"/>
                  </a:cubicBezTo>
                  <a:cubicBezTo>
                    <a:pt x="374" y="1404"/>
                    <a:pt x="374" y="1404"/>
                    <a:pt x="374" y="1404"/>
                  </a:cubicBezTo>
                  <a:cubicBezTo>
                    <a:pt x="381" y="1404"/>
                    <a:pt x="381" y="1404"/>
                    <a:pt x="381" y="1404"/>
                  </a:cubicBezTo>
                  <a:cubicBezTo>
                    <a:pt x="381" y="1397"/>
                    <a:pt x="381" y="1397"/>
                    <a:pt x="381" y="1397"/>
                  </a:cubicBezTo>
                  <a:moveTo>
                    <a:pt x="396" y="1397"/>
                  </a:moveTo>
                  <a:cubicBezTo>
                    <a:pt x="389" y="1397"/>
                    <a:pt x="389" y="1397"/>
                    <a:pt x="389" y="1397"/>
                  </a:cubicBezTo>
                  <a:cubicBezTo>
                    <a:pt x="389" y="1404"/>
                    <a:pt x="389" y="1404"/>
                    <a:pt x="389" y="1404"/>
                  </a:cubicBezTo>
                  <a:cubicBezTo>
                    <a:pt x="396" y="1404"/>
                    <a:pt x="396" y="1404"/>
                    <a:pt x="396" y="1404"/>
                  </a:cubicBezTo>
                  <a:cubicBezTo>
                    <a:pt x="396" y="1397"/>
                    <a:pt x="396" y="1397"/>
                    <a:pt x="396" y="1397"/>
                  </a:cubicBezTo>
                  <a:moveTo>
                    <a:pt x="411" y="1397"/>
                  </a:moveTo>
                  <a:cubicBezTo>
                    <a:pt x="404" y="1397"/>
                    <a:pt x="404" y="1397"/>
                    <a:pt x="404" y="1397"/>
                  </a:cubicBezTo>
                  <a:cubicBezTo>
                    <a:pt x="404" y="1404"/>
                    <a:pt x="404" y="1404"/>
                    <a:pt x="404" y="1404"/>
                  </a:cubicBezTo>
                  <a:cubicBezTo>
                    <a:pt x="411" y="1404"/>
                    <a:pt x="411" y="1404"/>
                    <a:pt x="411" y="1404"/>
                  </a:cubicBezTo>
                  <a:cubicBezTo>
                    <a:pt x="411" y="1397"/>
                    <a:pt x="411" y="1397"/>
                    <a:pt x="411" y="1397"/>
                  </a:cubicBezTo>
                  <a:moveTo>
                    <a:pt x="293" y="1382"/>
                  </a:moveTo>
                  <a:cubicBezTo>
                    <a:pt x="286" y="1382"/>
                    <a:pt x="286" y="1382"/>
                    <a:pt x="286" y="1382"/>
                  </a:cubicBezTo>
                  <a:cubicBezTo>
                    <a:pt x="286" y="1389"/>
                    <a:pt x="286" y="1389"/>
                    <a:pt x="286" y="1389"/>
                  </a:cubicBezTo>
                  <a:cubicBezTo>
                    <a:pt x="293" y="1389"/>
                    <a:pt x="293" y="1389"/>
                    <a:pt x="293" y="1389"/>
                  </a:cubicBezTo>
                  <a:cubicBezTo>
                    <a:pt x="293" y="1382"/>
                    <a:pt x="293" y="1382"/>
                    <a:pt x="293" y="1382"/>
                  </a:cubicBezTo>
                  <a:moveTo>
                    <a:pt x="308" y="1382"/>
                  </a:moveTo>
                  <a:cubicBezTo>
                    <a:pt x="301" y="1382"/>
                    <a:pt x="301" y="1382"/>
                    <a:pt x="301" y="1382"/>
                  </a:cubicBezTo>
                  <a:cubicBezTo>
                    <a:pt x="301" y="1389"/>
                    <a:pt x="301" y="1389"/>
                    <a:pt x="301" y="1389"/>
                  </a:cubicBezTo>
                  <a:cubicBezTo>
                    <a:pt x="308" y="1389"/>
                    <a:pt x="308" y="1389"/>
                    <a:pt x="308" y="1389"/>
                  </a:cubicBezTo>
                  <a:cubicBezTo>
                    <a:pt x="308" y="1382"/>
                    <a:pt x="308" y="1382"/>
                    <a:pt x="308" y="1382"/>
                  </a:cubicBezTo>
                  <a:moveTo>
                    <a:pt x="322" y="1382"/>
                  </a:moveTo>
                  <a:cubicBezTo>
                    <a:pt x="315" y="1382"/>
                    <a:pt x="315" y="1382"/>
                    <a:pt x="315" y="1382"/>
                  </a:cubicBezTo>
                  <a:cubicBezTo>
                    <a:pt x="315" y="1389"/>
                    <a:pt x="315" y="1389"/>
                    <a:pt x="315" y="1389"/>
                  </a:cubicBezTo>
                  <a:cubicBezTo>
                    <a:pt x="322" y="1389"/>
                    <a:pt x="322" y="1389"/>
                    <a:pt x="322" y="1389"/>
                  </a:cubicBezTo>
                  <a:cubicBezTo>
                    <a:pt x="322" y="1382"/>
                    <a:pt x="322" y="1382"/>
                    <a:pt x="322" y="1382"/>
                  </a:cubicBezTo>
                  <a:moveTo>
                    <a:pt x="337" y="1382"/>
                  </a:moveTo>
                  <a:cubicBezTo>
                    <a:pt x="330" y="1382"/>
                    <a:pt x="330" y="1382"/>
                    <a:pt x="330" y="1382"/>
                  </a:cubicBezTo>
                  <a:cubicBezTo>
                    <a:pt x="330" y="1389"/>
                    <a:pt x="330" y="1389"/>
                    <a:pt x="330" y="1389"/>
                  </a:cubicBezTo>
                  <a:cubicBezTo>
                    <a:pt x="337" y="1389"/>
                    <a:pt x="337" y="1389"/>
                    <a:pt x="337" y="1389"/>
                  </a:cubicBezTo>
                  <a:cubicBezTo>
                    <a:pt x="337" y="1382"/>
                    <a:pt x="337" y="1382"/>
                    <a:pt x="337" y="1382"/>
                  </a:cubicBezTo>
                  <a:moveTo>
                    <a:pt x="352" y="1382"/>
                  </a:moveTo>
                  <a:cubicBezTo>
                    <a:pt x="345" y="1382"/>
                    <a:pt x="345" y="1382"/>
                    <a:pt x="345" y="1382"/>
                  </a:cubicBezTo>
                  <a:cubicBezTo>
                    <a:pt x="345" y="1389"/>
                    <a:pt x="345" y="1389"/>
                    <a:pt x="345" y="1389"/>
                  </a:cubicBezTo>
                  <a:cubicBezTo>
                    <a:pt x="352" y="1389"/>
                    <a:pt x="352" y="1389"/>
                    <a:pt x="352" y="1389"/>
                  </a:cubicBezTo>
                  <a:cubicBezTo>
                    <a:pt x="352" y="1382"/>
                    <a:pt x="352" y="1382"/>
                    <a:pt x="352" y="1382"/>
                  </a:cubicBezTo>
                  <a:moveTo>
                    <a:pt x="367" y="1382"/>
                  </a:moveTo>
                  <a:cubicBezTo>
                    <a:pt x="360" y="1382"/>
                    <a:pt x="360" y="1382"/>
                    <a:pt x="360" y="1382"/>
                  </a:cubicBezTo>
                  <a:cubicBezTo>
                    <a:pt x="360" y="1389"/>
                    <a:pt x="360" y="1389"/>
                    <a:pt x="360" y="1389"/>
                  </a:cubicBezTo>
                  <a:cubicBezTo>
                    <a:pt x="367" y="1389"/>
                    <a:pt x="367" y="1389"/>
                    <a:pt x="367" y="1389"/>
                  </a:cubicBezTo>
                  <a:cubicBezTo>
                    <a:pt x="367" y="1382"/>
                    <a:pt x="367" y="1382"/>
                    <a:pt x="367" y="1382"/>
                  </a:cubicBezTo>
                  <a:moveTo>
                    <a:pt x="381" y="1382"/>
                  </a:moveTo>
                  <a:cubicBezTo>
                    <a:pt x="374" y="1382"/>
                    <a:pt x="374" y="1382"/>
                    <a:pt x="374" y="1382"/>
                  </a:cubicBezTo>
                  <a:cubicBezTo>
                    <a:pt x="374" y="1389"/>
                    <a:pt x="374" y="1389"/>
                    <a:pt x="374" y="1389"/>
                  </a:cubicBezTo>
                  <a:cubicBezTo>
                    <a:pt x="381" y="1389"/>
                    <a:pt x="381" y="1389"/>
                    <a:pt x="381" y="1389"/>
                  </a:cubicBezTo>
                  <a:cubicBezTo>
                    <a:pt x="381" y="1382"/>
                    <a:pt x="381" y="1382"/>
                    <a:pt x="381" y="1382"/>
                  </a:cubicBezTo>
                  <a:moveTo>
                    <a:pt x="396" y="1382"/>
                  </a:moveTo>
                  <a:cubicBezTo>
                    <a:pt x="389" y="1382"/>
                    <a:pt x="389" y="1382"/>
                    <a:pt x="389" y="1382"/>
                  </a:cubicBezTo>
                  <a:cubicBezTo>
                    <a:pt x="389" y="1389"/>
                    <a:pt x="389" y="1389"/>
                    <a:pt x="389" y="1389"/>
                  </a:cubicBezTo>
                  <a:cubicBezTo>
                    <a:pt x="396" y="1389"/>
                    <a:pt x="396" y="1389"/>
                    <a:pt x="396" y="1389"/>
                  </a:cubicBezTo>
                  <a:cubicBezTo>
                    <a:pt x="396" y="1382"/>
                    <a:pt x="396" y="1382"/>
                    <a:pt x="396" y="1382"/>
                  </a:cubicBezTo>
                  <a:moveTo>
                    <a:pt x="411" y="1382"/>
                  </a:moveTo>
                  <a:cubicBezTo>
                    <a:pt x="404" y="1382"/>
                    <a:pt x="404" y="1382"/>
                    <a:pt x="404" y="1382"/>
                  </a:cubicBezTo>
                  <a:cubicBezTo>
                    <a:pt x="404" y="1389"/>
                    <a:pt x="404" y="1389"/>
                    <a:pt x="404" y="1389"/>
                  </a:cubicBezTo>
                  <a:cubicBezTo>
                    <a:pt x="411" y="1389"/>
                    <a:pt x="411" y="1389"/>
                    <a:pt x="411" y="1389"/>
                  </a:cubicBezTo>
                  <a:cubicBezTo>
                    <a:pt x="411" y="1382"/>
                    <a:pt x="411" y="1382"/>
                    <a:pt x="411" y="1382"/>
                  </a:cubicBezTo>
                  <a:moveTo>
                    <a:pt x="426" y="1382"/>
                  </a:moveTo>
                  <a:cubicBezTo>
                    <a:pt x="419" y="1382"/>
                    <a:pt x="419" y="1382"/>
                    <a:pt x="419" y="1382"/>
                  </a:cubicBezTo>
                  <a:cubicBezTo>
                    <a:pt x="419" y="1389"/>
                    <a:pt x="419" y="1389"/>
                    <a:pt x="419" y="1389"/>
                  </a:cubicBezTo>
                  <a:cubicBezTo>
                    <a:pt x="426" y="1389"/>
                    <a:pt x="426" y="1389"/>
                    <a:pt x="426" y="1389"/>
                  </a:cubicBezTo>
                  <a:cubicBezTo>
                    <a:pt x="426" y="1382"/>
                    <a:pt x="426" y="1382"/>
                    <a:pt x="426" y="1382"/>
                  </a:cubicBezTo>
                  <a:moveTo>
                    <a:pt x="440" y="1382"/>
                  </a:moveTo>
                  <a:cubicBezTo>
                    <a:pt x="433" y="1382"/>
                    <a:pt x="433" y="1382"/>
                    <a:pt x="433" y="1382"/>
                  </a:cubicBezTo>
                  <a:cubicBezTo>
                    <a:pt x="433" y="1389"/>
                    <a:pt x="433" y="1389"/>
                    <a:pt x="433" y="1389"/>
                  </a:cubicBezTo>
                  <a:cubicBezTo>
                    <a:pt x="440" y="1389"/>
                    <a:pt x="440" y="1389"/>
                    <a:pt x="440" y="1389"/>
                  </a:cubicBezTo>
                  <a:cubicBezTo>
                    <a:pt x="440" y="1382"/>
                    <a:pt x="440" y="1382"/>
                    <a:pt x="440" y="1382"/>
                  </a:cubicBezTo>
                  <a:moveTo>
                    <a:pt x="455" y="1382"/>
                  </a:moveTo>
                  <a:cubicBezTo>
                    <a:pt x="448" y="1382"/>
                    <a:pt x="448" y="1382"/>
                    <a:pt x="448" y="1382"/>
                  </a:cubicBezTo>
                  <a:cubicBezTo>
                    <a:pt x="448" y="1389"/>
                    <a:pt x="448" y="1389"/>
                    <a:pt x="448" y="1389"/>
                  </a:cubicBezTo>
                  <a:cubicBezTo>
                    <a:pt x="455" y="1389"/>
                    <a:pt x="455" y="1389"/>
                    <a:pt x="455" y="1389"/>
                  </a:cubicBezTo>
                  <a:cubicBezTo>
                    <a:pt x="455" y="1382"/>
                    <a:pt x="455" y="1382"/>
                    <a:pt x="455" y="1382"/>
                  </a:cubicBezTo>
                  <a:moveTo>
                    <a:pt x="263" y="1367"/>
                  </a:moveTo>
                  <a:cubicBezTo>
                    <a:pt x="256" y="1367"/>
                    <a:pt x="256" y="1367"/>
                    <a:pt x="256" y="1367"/>
                  </a:cubicBezTo>
                  <a:cubicBezTo>
                    <a:pt x="256" y="1374"/>
                    <a:pt x="256" y="1374"/>
                    <a:pt x="256" y="1374"/>
                  </a:cubicBezTo>
                  <a:cubicBezTo>
                    <a:pt x="263" y="1374"/>
                    <a:pt x="263" y="1374"/>
                    <a:pt x="263" y="1374"/>
                  </a:cubicBezTo>
                  <a:cubicBezTo>
                    <a:pt x="263" y="1367"/>
                    <a:pt x="263" y="1367"/>
                    <a:pt x="263" y="1367"/>
                  </a:cubicBezTo>
                  <a:moveTo>
                    <a:pt x="278" y="1367"/>
                  </a:moveTo>
                  <a:cubicBezTo>
                    <a:pt x="271" y="1367"/>
                    <a:pt x="271" y="1367"/>
                    <a:pt x="271" y="1367"/>
                  </a:cubicBezTo>
                  <a:cubicBezTo>
                    <a:pt x="271" y="1374"/>
                    <a:pt x="271" y="1374"/>
                    <a:pt x="271" y="1374"/>
                  </a:cubicBezTo>
                  <a:cubicBezTo>
                    <a:pt x="278" y="1374"/>
                    <a:pt x="278" y="1374"/>
                    <a:pt x="278" y="1374"/>
                  </a:cubicBezTo>
                  <a:cubicBezTo>
                    <a:pt x="278" y="1367"/>
                    <a:pt x="278" y="1367"/>
                    <a:pt x="278" y="1367"/>
                  </a:cubicBezTo>
                  <a:moveTo>
                    <a:pt x="293" y="1367"/>
                  </a:moveTo>
                  <a:cubicBezTo>
                    <a:pt x="286" y="1367"/>
                    <a:pt x="286" y="1367"/>
                    <a:pt x="286" y="1367"/>
                  </a:cubicBezTo>
                  <a:cubicBezTo>
                    <a:pt x="286" y="1374"/>
                    <a:pt x="286" y="1374"/>
                    <a:pt x="286" y="1374"/>
                  </a:cubicBezTo>
                  <a:cubicBezTo>
                    <a:pt x="293" y="1374"/>
                    <a:pt x="293" y="1374"/>
                    <a:pt x="293" y="1374"/>
                  </a:cubicBezTo>
                  <a:cubicBezTo>
                    <a:pt x="293" y="1367"/>
                    <a:pt x="293" y="1367"/>
                    <a:pt x="293" y="1367"/>
                  </a:cubicBezTo>
                  <a:moveTo>
                    <a:pt x="308" y="1367"/>
                  </a:moveTo>
                  <a:cubicBezTo>
                    <a:pt x="301" y="1367"/>
                    <a:pt x="301" y="1367"/>
                    <a:pt x="301" y="1367"/>
                  </a:cubicBezTo>
                  <a:cubicBezTo>
                    <a:pt x="301" y="1374"/>
                    <a:pt x="301" y="1374"/>
                    <a:pt x="301" y="1374"/>
                  </a:cubicBezTo>
                  <a:cubicBezTo>
                    <a:pt x="308" y="1374"/>
                    <a:pt x="308" y="1374"/>
                    <a:pt x="308" y="1374"/>
                  </a:cubicBezTo>
                  <a:cubicBezTo>
                    <a:pt x="308" y="1367"/>
                    <a:pt x="308" y="1367"/>
                    <a:pt x="308" y="1367"/>
                  </a:cubicBezTo>
                  <a:moveTo>
                    <a:pt x="322" y="1367"/>
                  </a:moveTo>
                  <a:cubicBezTo>
                    <a:pt x="315" y="1367"/>
                    <a:pt x="315" y="1367"/>
                    <a:pt x="315" y="1367"/>
                  </a:cubicBezTo>
                  <a:cubicBezTo>
                    <a:pt x="315" y="1374"/>
                    <a:pt x="315" y="1374"/>
                    <a:pt x="315" y="1374"/>
                  </a:cubicBezTo>
                  <a:cubicBezTo>
                    <a:pt x="322" y="1374"/>
                    <a:pt x="322" y="1374"/>
                    <a:pt x="322" y="1374"/>
                  </a:cubicBezTo>
                  <a:cubicBezTo>
                    <a:pt x="322" y="1367"/>
                    <a:pt x="322" y="1367"/>
                    <a:pt x="322" y="1367"/>
                  </a:cubicBezTo>
                  <a:moveTo>
                    <a:pt x="337" y="1367"/>
                  </a:moveTo>
                  <a:cubicBezTo>
                    <a:pt x="330" y="1367"/>
                    <a:pt x="330" y="1367"/>
                    <a:pt x="330" y="1367"/>
                  </a:cubicBezTo>
                  <a:cubicBezTo>
                    <a:pt x="330" y="1374"/>
                    <a:pt x="330" y="1374"/>
                    <a:pt x="330" y="1374"/>
                  </a:cubicBezTo>
                  <a:cubicBezTo>
                    <a:pt x="337" y="1374"/>
                    <a:pt x="337" y="1374"/>
                    <a:pt x="337" y="1374"/>
                  </a:cubicBezTo>
                  <a:cubicBezTo>
                    <a:pt x="337" y="1367"/>
                    <a:pt x="337" y="1367"/>
                    <a:pt x="337" y="1367"/>
                  </a:cubicBezTo>
                  <a:moveTo>
                    <a:pt x="352" y="1367"/>
                  </a:moveTo>
                  <a:cubicBezTo>
                    <a:pt x="345" y="1367"/>
                    <a:pt x="345" y="1367"/>
                    <a:pt x="345" y="1367"/>
                  </a:cubicBezTo>
                  <a:cubicBezTo>
                    <a:pt x="345" y="1374"/>
                    <a:pt x="345" y="1374"/>
                    <a:pt x="345" y="1374"/>
                  </a:cubicBezTo>
                  <a:cubicBezTo>
                    <a:pt x="352" y="1374"/>
                    <a:pt x="352" y="1374"/>
                    <a:pt x="352" y="1374"/>
                  </a:cubicBezTo>
                  <a:cubicBezTo>
                    <a:pt x="352" y="1367"/>
                    <a:pt x="352" y="1367"/>
                    <a:pt x="352" y="1367"/>
                  </a:cubicBezTo>
                  <a:moveTo>
                    <a:pt x="367" y="1367"/>
                  </a:moveTo>
                  <a:cubicBezTo>
                    <a:pt x="360" y="1367"/>
                    <a:pt x="360" y="1367"/>
                    <a:pt x="360" y="1367"/>
                  </a:cubicBezTo>
                  <a:cubicBezTo>
                    <a:pt x="360" y="1374"/>
                    <a:pt x="360" y="1374"/>
                    <a:pt x="360" y="1374"/>
                  </a:cubicBezTo>
                  <a:cubicBezTo>
                    <a:pt x="367" y="1374"/>
                    <a:pt x="367" y="1374"/>
                    <a:pt x="367" y="1374"/>
                  </a:cubicBezTo>
                  <a:cubicBezTo>
                    <a:pt x="367" y="1367"/>
                    <a:pt x="367" y="1367"/>
                    <a:pt x="367" y="1367"/>
                  </a:cubicBezTo>
                  <a:moveTo>
                    <a:pt x="381" y="1367"/>
                  </a:moveTo>
                  <a:cubicBezTo>
                    <a:pt x="374" y="1367"/>
                    <a:pt x="374" y="1367"/>
                    <a:pt x="374" y="1367"/>
                  </a:cubicBezTo>
                  <a:cubicBezTo>
                    <a:pt x="374" y="1374"/>
                    <a:pt x="374" y="1374"/>
                    <a:pt x="374" y="1374"/>
                  </a:cubicBezTo>
                  <a:cubicBezTo>
                    <a:pt x="381" y="1374"/>
                    <a:pt x="381" y="1374"/>
                    <a:pt x="381" y="1374"/>
                  </a:cubicBezTo>
                  <a:cubicBezTo>
                    <a:pt x="381" y="1367"/>
                    <a:pt x="381" y="1367"/>
                    <a:pt x="381" y="1367"/>
                  </a:cubicBezTo>
                  <a:moveTo>
                    <a:pt x="396" y="1367"/>
                  </a:moveTo>
                  <a:cubicBezTo>
                    <a:pt x="389" y="1367"/>
                    <a:pt x="389" y="1367"/>
                    <a:pt x="389" y="1367"/>
                  </a:cubicBezTo>
                  <a:cubicBezTo>
                    <a:pt x="389" y="1374"/>
                    <a:pt x="389" y="1374"/>
                    <a:pt x="389" y="1374"/>
                  </a:cubicBezTo>
                  <a:cubicBezTo>
                    <a:pt x="396" y="1374"/>
                    <a:pt x="396" y="1374"/>
                    <a:pt x="396" y="1374"/>
                  </a:cubicBezTo>
                  <a:cubicBezTo>
                    <a:pt x="396" y="1367"/>
                    <a:pt x="396" y="1367"/>
                    <a:pt x="396" y="1367"/>
                  </a:cubicBezTo>
                  <a:moveTo>
                    <a:pt x="411" y="1367"/>
                  </a:moveTo>
                  <a:cubicBezTo>
                    <a:pt x="404" y="1367"/>
                    <a:pt x="404" y="1367"/>
                    <a:pt x="404" y="1367"/>
                  </a:cubicBezTo>
                  <a:cubicBezTo>
                    <a:pt x="404" y="1374"/>
                    <a:pt x="404" y="1374"/>
                    <a:pt x="404" y="1374"/>
                  </a:cubicBezTo>
                  <a:cubicBezTo>
                    <a:pt x="411" y="1374"/>
                    <a:pt x="411" y="1374"/>
                    <a:pt x="411" y="1374"/>
                  </a:cubicBezTo>
                  <a:cubicBezTo>
                    <a:pt x="411" y="1367"/>
                    <a:pt x="411" y="1367"/>
                    <a:pt x="411" y="1367"/>
                  </a:cubicBezTo>
                  <a:moveTo>
                    <a:pt x="426" y="1367"/>
                  </a:moveTo>
                  <a:cubicBezTo>
                    <a:pt x="419" y="1367"/>
                    <a:pt x="419" y="1367"/>
                    <a:pt x="419" y="1367"/>
                  </a:cubicBezTo>
                  <a:cubicBezTo>
                    <a:pt x="419" y="1374"/>
                    <a:pt x="419" y="1374"/>
                    <a:pt x="419" y="1374"/>
                  </a:cubicBezTo>
                  <a:cubicBezTo>
                    <a:pt x="426" y="1374"/>
                    <a:pt x="426" y="1374"/>
                    <a:pt x="426" y="1374"/>
                  </a:cubicBezTo>
                  <a:cubicBezTo>
                    <a:pt x="426" y="1367"/>
                    <a:pt x="426" y="1367"/>
                    <a:pt x="426" y="1367"/>
                  </a:cubicBezTo>
                  <a:moveTo>
                    <a:pt x="440" y="1367"/>
                  </a:moveTo>
                  <a:cubicBezTo>
                    <a:pt x="433" y="1367"/>
                    <a:pt x="433" y="1367"/>
                    <a:pt x="433" y="1367"/>
                  </a:cubicBezTo>
                  <a:cubicBezTo>
                    <a:pt x="433" y="1374"/>
                    <a:pt x="433" y="1374"/>
                    <a:pt x="433" y="1374"/>
                  </a:cubicBezTo>
                  <a:cubicBezTo>
                    <a:pt x="440" y="1374"/>
                    <a:pt x="440" y="1374"/>
                    <a:pt x="440" y="1374"/>
                  </a:cubicBezTo>
                  <a:cubicBezTo>
                    <a:pt x="440" y="1367"/>
                    <a:pt x="440" y="1367"/>
                    <a:pt x="440" y="1367"/>
                  </a:cubicBezTo>
                  <a:moveTo>
                    <a:pt x="455" y="1367"/>
                  </a:moveTo>
                  <a:cubicBezTo>
                    <a:pt x="448" y="1367"/>
                    <a:pt x="448" y="1367"/>
                    <a:pt x="448" y="1367"/>
                  </a:cubicBezTo>
                  <a:cubicBezTo>
                    <a:pt x="448" y="1374"/>
                    <a:pt x="448" y="1374"/>
                    <a:pt x="448" y="1374"/>
                  </a:cubicBezTo>
                  <a:cubicBezTo>
                    <a:pt x="455" y="1374"/>
                    <a:pt x="455" y="1374"/>
                    <a:pt x="455" y="1374"/>
                  </a:cubicBezTo>
                  <a:cubicBezTo>
                    <a:pt x="455" y="1367"/>
                    <a:pt x="455" y="1367"/>
                    <a:pt x="455" y="1367"/>
                  </a:cubicBezTo>
                  <a:moveTo>
                    <a:pt x="470" y="1367"/>
                  </a:moveTo>
                  <a:cubicBezTo>
                    <a:pt x="463" y="1367"/>
                    <a:pt x="463" y="1367"/>
                    <a:pt x="463" y="1367"/>
                  </a:cubicBezTo>
                  <a:cubicBezTo>
                    <a:pt x="463" y="1374"/>
                    <a:pt x="463" y="1374"/>
                    <a:pt x="463" y="1374"/>
                  </a:cubicBezTo>
                  <a:cubicBezTo>
                    <a:pt x="470" y="1374"/>
                    <a:pt x="470" y="1374"/>
                    <a:pt x="470" y="1374"/>
                  </a:cubicBezTo>
                  <a:cubicBezTo>
                    <a:pt x="470" y="1367"/>
                    <a:pt x="470" y="1367"/>
                    <a:pt x="470" y="1367"/>
                  </a:cubicBezTo>
                  <a:moveTo>
                    <a:pt x="485" y="1367"/>
                  </a:moveTo>
                  <a:cubicBezTo>
                    <a:pt x="478" y="1367"/>
                    <a:pt x="478" y="1367"/>
                    <a:pt x="478" y="1367"/>
                  </a:cubicBezTo>
                  <a:cubicBezTo>
                    <a:pt x="478" y="1374"/>
                    <a:pt x="478" y="1374"/>
                    <a:pt x="478" y="1374"/>
                  </a:cubicBezTo>
                  <a:cubicBezTo>
                    <a:pt x="485" y="1374"/>
                    <a:pt x="485" y="1374"/>
                    <a:pt x="485" y="1374"/>
                  </a:cubicBezTo>
                  <a:cubicBezTo>
                    <a:pt x="485" y="1367"/>
                    <a:pt x="485" y="1367"/>
                    <a:pt x="485" y="1367"/>
                  </a:cubicBezTo>
                  <a:moveTo>
                    <a:pt x="249" y="1353"/>
                  </a:moveTo>
                  <a:cubicBezTo>
                    <a:pt x="242" y="1353"/>
                    <a:pt x="242" y="1353"/>
                    <a:pt x="242" y="1353"/>
                  </a:cubicBezTo>
                  <a:cubicBezTo>
                    <a:pt x="242" y="1360"/>
                    <a:pt x="242" y="1360"/>
                    <a:pt x="242" y="1360"/>
                  </a:cubicBezTo>
                  <a:cubicBezTo>
                    <a:pt x="249" y="1360"/>
                    <a:pt x="249" y="1360"/>
                    <a:pt x="249" y="1360"/>
                  </a:cubicBezTo>
                  <a:cubicBezTo>
                    <a:pt x="249" y="1353"/>
                    <a:pt x="249" y="1353"/>
                    <a:pt x="249" y="1353"/>
                  </a:cubicBezTo>
                  <a:moveTo>
                    <a:pt x="263" y="1353"/>
                  </a:moveTo>
                  <a:cubicBezTo>
                    <a:pt x="256" y="1353"/>
                    <a:pt x="256" y="1353"/>
                    <a:pt x="256" y="1353"/>
                  </a:cubicBezTo>
                  <a:cubicBezTo>
                    <a:pt x="256" y="1360"/>
                    <a:pt x="256" y="1360"/>
                    <a:pt x="256" y="1360"/>
                  </a:cubicBezTo>
                  <a:cubicBezTo>
                    <a:pt x="263" y="1360"/>
                    <a:pt x="263" y="1360"/>
                    <a:pt x="263" y="1360"/>
                  </a:cubicBezTo>
                  <a:cubicBezTo>
                    <a:pt x="263" y="1353"/>
                    <a:pt x="263" y="1353"/>
                    <a:pt x="263" y="1353"/>
                  </a:cubicBezTo>
                  <a:moveTo>
                    <a:pt x="278" y="1353"/>
                  </a:moveTo>
                  <a:cubicBezTo>
                    <a:pt x="271" y="1353"/>
                    <a:pt x="271" y="1353"/>
                    <a:pt x="271" y="1353"/>
                  </a:cubicBezTo>
                  <a:cubicBezTo>
                    <a:pt x="271" y="1360"/>
                    <a:pt x="271" y="1360"/>
                    <a:pt x="271" y="1360"/>
                  </a:cubicBezTo>
                  <a:cubicBezTo>
                    <a:pt x="278" y="1360"/>
                    <a:pt x="278" y="1360"/>
                    <a:pt x="278" y="1360"/>
                  </a:cubicBezTo>
                  <a:cubicBezTo>
                    <a:pt x="278" y="1353"/>
                    <a:pt x="278" y="1353"/>
                    <a:pt x="278" y="1353"/>
                  </a:cubicBezTo>
                  <a:moveTo>
                    <a:pt x="293" y="1353"/>
                  </a:moveTo>
                  <a:cubicBezTo>
                    <a:pt x="286" y="1353"/>
                    <a:pt x="286" y="1353"/>
                    <a:pt x="286" y="1353"/>
                  </a:cubicBezTo>
                  <a:cubicBezTo>
                    <a:pt x="286" y="1360"/>
                    <a:pt x="286" y="1360"/>
                    <a:pt x="286" y="1360"/>
                  </a:cubicBezTo>
                  <a:cubicBezTo>
                    <a:pt x="293" y="1360"/>
                    <a:pt x="293" y="1360"/>
                    <a:pt x="293" y="1360"/>
                  </a:cubicBezTo>
                  <a:cubicBezTo>
                    <a:pt x="293" y="1353"/>
                    <a:pt x="293" y="1353"/>
                    <a:pt x="293" y="1353"/>
                  </a:cubicBezTo>
                  <a:moveTo>
                    <a:pt x="308" y="1353"/>
                  </a:moveTo>
                  <a:cubicBezTo>
                    <a:pt x="301" y="1353"/>
                    <a:pt x="301" y="1353"/>
                    <a:pt x="301" y="1353"/>
                  </a:cubicBezTo>
                  <a:cubicBezTo>
                    <a:pt x="301" y="1360"/>
                    <a:pt x="301" y="1360"/>
                    <a:pt x="301" y="1360"/>
                  </a:cubicBezTo>
                  <a:cubicBezTo>
                    <a:pt x="308" y="1360"/>
                    <a:pt x="308" y="1360"/>
                    <a:pt x="308" y="1360"/>
                  </a:cubicBezTo>
                  <a:cubicBezTo>
                    <a:pt x="308" y="1353"/>
                    <a:pt x="308" y="1353"/>
                    <a:pt x="308" y="1353"/>
                  </a:cubicBezTo>
                  <a:moveTo>
                    <a:pt x="322" y="1353"/>
                  </a:moveTo>
                  <a:cubicBezTo>
                    <a:pt x="315" y="1353"/>
                    <a:pt x="315" y="1353"/>
                    <a:pt x="315" y="1353"/>
                  </a:cubicBezTo>
                  <a:cubicBezTo>
                    <a:pt x="315" y="1360"/>
                    <a:pt x="315" y="1360"/>
                    <a:pt x="315" y="1360"/>
                  </a:cubicBezTo>
                  <a:cubicBezTo>
                    <a:pt x="322" y="1360"/>
                    <a:pt x="322" y="1360"/>
                    <a:pt x="322" y="1360"/>
                  </a:cubicBezTo>
                  <a:cubicBezTo>
                    <a:pt x="322" y="1353"/>
                    <a:pt x="322" y="1353"/>
                    <a:pt x="322" y="1353"/>
                  </a:cubicBezTo>
                  <a:moveTo>
                    <a:pt x="337" y="1353"/>
                  </a:moveTo>
                  <a:cubicBezTo>
                    <a:pt x="330" y="1353"/>
                    <a:pt x="330" y="1353"/>
                    <a:pt x="330" y="1353"/>
                  </a:cubicBezTo>
                  <a:cubicBezTo>
                    <a:pt x="330" y="1360"/>
                    <a:pt x="330" y="1360"/>
                    <a:pt x="330" y="1360"/>
                  </a:cubicBezTo>
                  <a:cubicBezTo>
                    <a:pt x="337" y="1360"/>
                    <a:pt x="337" y="1360"/>
                    <a:pt x="337" y="1360"/>
                  </a:cubicBezTo>
                  <a:cubicBezTo>
                    <a:pt x="337" y="1353"/>
                    <a:pt x="337" y="1353"/>
                    <a:pt x="337" y="1353"/>
                  </a:cubicBezTo>
                  <a:moveTo>
                    <a:pt x="352" y="1353"/>
                  </a:moveTo>
                  <a:cubicBezTo>
                    <a:pt x="345" y="1353"/>
                    <a:pt x="345" y="1353"/>
                    <a:pt x="345" y="1353"/>
                  </a:cubicBezTo>
                  <a:cubicBezTo>
                    <a:pt x="345" y="1360"/>
                    <a:pt x="345" y="1360"/>
                    <a:pt x="345" y="1360"/>
                  </a:cubicBezTo>
                  <a:cubicBezTo>
                    <a:pt x="352" y="1360"/>
                    <a:pt x="352" y="1360"/>
                    <a:pt x="352" y="1360"/>
                  </a:cubicBezTo>
                  <a:cubicBezTo>
                    <a:pt x="352" y="1353"/>
                    <a:pt x="352" y="1353"/>
                    <a:pt x="352" y="1353"/>
                  </a:cubicBezTo>
                  <a:moveTo>
                    <a:pt x="367" y="1353"/>
                  </a:moveTo>
                  <a:cubicBezTo>
                    <a:pt x="360" y="1353"/>
                    <a:pt x="360" y="1353"/>
                    <a:pt x="360" y="1353"/>
                  </a:cubicBezTo>
                  <a:cubicBezTo>
                    <a:pt x="360" y="1360"/>
                    <a:pt x="360" y="1360"/>
                    <a:pt x="360" y="1360"/>
                  </a:cubicBezTo>
                  <a:cubicBezTo>
                    <a:pt x="367" y="1360"/>
                    <a:pt x="367" y="1360"/>
                    <a:pt x="367" y="1360"/>
                  </a:cubicBezTo>
                  <a:cubicBezTo>
                    <a:pt x="367" y="1353"/>
                    <a:pt x="367" y="1353"/>
                    <a:pt x="367" y="1353"/>
                  </a:cubicBezTo>
                  <a:moveTo>
                    <a:pt x="381" y="1353"/>
                  </a:moveTo>
                  <a:cubicBezTo>
                    <a:pt x="374" y="1353"/>
                    <a:pt x="374" y="1353"/>
                    <a:pt x="374" y="1353"/>
                  </a:cubicBezTo>
                  <a:cubicBezTo>
                    <a:pt x="374" y="1360"/>
                    <a:pt x="374" y="1360"/>
                    <a:pt x="374" y="1360"/>
                  </a:cubicBezTo>
                  <a:cubicBezTo>
                    <a:pt x="381" y="1360"/>
                    <a:pt x="381" y="1360"/>
                    <a:pt x="381" y="1360"/>
                  </a:cubicBezTo>
                  <a:cubicBezTo>
                    <a:pt x="381" y="1353"/>
                    <a:pt x="381" y="1353"/>
                    <a:pt x="381" y="1353"/>
                  </a:cubicBezTo>
                  <a:moveTo>
                    <a:pt x="396" y="1353"/>
                  </a:moveTo>
                  <a:cubicBezTo>
                    <a:pt x="389" y="1353"/>
                    <a:pt x="389" y="1353"/>
                    <a:pt x="389" y="1353"/>
                  </a:cubicBezTo>
                  <a:cubicBezTo>
                    <a:pt x="389" y="1360"/>
                    <a:pt x="389" y="1360"/>
                    <a:pt x="389" y="1360"/>
                  </a:cubicBezTo>
                  <a:cubicBezTo>
                    <a:pt x="396" y="1360"/>
                    <a:pt x="396" y="1360"/>
                    <a:pt x="396" y="1360"/>
                  </a:cubicBezTo>
                  <a:cubicBezTo>
                    <a:pt x="396" y="1353"/>
                    <a:pt x="396" y="1353"/>
                    <a:pt x="396" y="1353"/>
                  </a:cubicBezTo>
                  <a:moveTo>
                    <a:pt x="411" y="1353"/>
                  </a:moveTo>
                  <a:cubicBezTo>
                    <a:pt x="404" y="1353"/>
                    <a:pt x="404" y="1353"/>
                    <a:pt x="404" y="1353"/>
                  </a:cubicBezTo>
                  <a:cubicBezTo>
                    <a:pt x="404" y="1360"/>
                    <a:pt x="404" y="1360"/>
                    <a:pt x="404" y="1360"/>
                  </a:cubicBezTo>
                  <a:cubicBezTo>
                    <a:pt x="411" y="1360"/>
                    <a:pt x="411" y="1360"/>
                    <a:pt x="411" y="1360"/>
                  </a:cubicBezTo>
                  <a:cubicBezTo>
                    <a:pt x="411" y="1353"/>
                    <a:pt x="411" y="1353"/>
                    <a:pt x="411" y="1353"/>
                  </a:cubicBezTo>
                  <a:moveTo>
                    <a:pt x="426" y="1353"/>
                  </a:moveTo>
                  <a:cubicBezTo>
                    <a:pt x="419" y="1353"/>
                    <a:pt x="419" y="1353"/>
                    <a:pt x="419" y="1353"/>
                  </a:cubicBezTo>
                  <a:cubicBezTo>
                    <a:pt x="419" y="1360"/>
                    <a:pt x="419" y="1360"/>
                    <a:pt x="419" y="1360"/>
                  </a:cubicBezTo>
                  <a:cubicBezTo>
                    <a:pt x="426" y="1360"/>
                    <a:pt x="426" y="1360"/>
                    <a:pt x="426" y="1360"/>
                  </a:cubicBezTo>
                  <a:cubicBezTo>
                    <a:pt x="426" y="1353"/>
                    <a:pt x="426" y="1353"/>
                    <a:pt x="426" y="1353"/>
                  </a:cubicBezTo>
                  <a:moveTo>
                    <a:pt x="440" y="1353"/>
                  </a:moveTo>
                  <a:cubicBezTo>
                    <a:pt x="433" y="1353"/>
                    <a:pt x="433" y="1353"/>
                    <a:pt x="433" y="1353"/>
                  </a:cubicBezTo>
                  <a:cubicBezTo>
                    <a:pt x="433" y="1360"/>
                    <a:pt x="433" y="1360"/>
                    <a:pt x="433" y="1360"/>
                  </a:cubicBezTo>
                  <a:cubicBezTo>
                    <a:pt x="440" y="1360"/>
                    <a:pt x="440" y="1360"/>
                    <a:pt x="440" y="1360"/>
                  </a:cubicBezTo>
                  <a:cubicBezTo>
                    <a:pt x="440" y="1353"/>
                    <a:pt x="440" y="1353"/>
                    <a:pt x="440" y="1353"/>
                  </a:cubicBezTo>
                  <a:moveTo>
                    <a:pt x="455" y="1353"/>
                  </a:moveTo>
                  <a:cubicBezTo>
                    <a:pt x="448" y="1353"/>
                    <a:pt x="448" y="1353"/>
                    <a:pt x="448" y="1353"/>
                  </a:cubicBezTo>
                  <a:cubicBezTo>
                    <a:pt x="448" y="1360"/>
                    <a:pt x="448" y="1360"/>
                    <a:pt x="448" y="1360"/>
                  </a:cubicBezTo>
                  <a:cubicBezTo>
                    <a:pt x="455" y="1360"/>
                    <a:pt x="455" y="1360"/>
                    <a:pt x="455" y="1360"/>
                  </a:cubicBezTo>
                  <a:cubicBezTo>
                    <a:pt x="455" y="1353"/>
                    <a:pt x="455" y="1353"/>
                    <a:pt x="455" y="1353"/>
                  </a:cubicBezTo>
                  <a:moveTo>
                    <a:pt x="470" y="1353"/>
                  </a:moveTo>
                  <a:cubicBezTo>
                    <a:pt x="463" y="1353"/>
                    <a:pt x="463" y="1353"/>
                    <a:pt x="463" y="1353"/>
                  </a:cubicBezTo>
                  <a:cubicBezTo>
                    <a:pt x="463" y="1360"/>
                    <a:pt x="463" y="1360"/>
                    <a:pt x="463" y="1360"/>
                  </a:cubicBezTo>
                  <a:cubicBezTo>
                    <a:pt x="470" y="1360"/>
                    <a:pt x="470" y="1360"/>
                    <a:pt x="470" y="1360"/>
                  </a:cubicBezTo>
                  <a:cubicBezTo>
                    <a:pt x="470" y="1353"/>
                    <a:pt x="470" y="1353"/>
                    <a:pt x="470" y="1353"/>
                  </a:cubicBezTo>
                  <a:moveTo>
                    <a:pt x="485" y="1353"/>
                  </a:moveTo>
                  <a:cubicBezTo>
                    <a:pt x="478" y="1353"/>
                    <a:pt x="478" y="1353"/>
                    <a:pt x="478" y="1353"/>
                  </a:cubicBezTo>
                  <a:cubicBezTo>
                    <a:pt x="478" y="1360"/>
                    <a:pt x="478" y="1360"/>
                    <a:pt x="478" y="1360"/>
                  </a:cubicBezTo>
                  <a:cubicBezTo>
                    <a:pt x="485" y="1360"/>
                    <a:pt x="485" y="1360"/>
                    <a:pt x="485" y="1360"/>
                  </a:cubicBezTo>
                  <a:cubicBezTo>
                    <a:pt x="485" y="1353"/>
                    <a:pt x="485" y="1353"/>
                    <a:pt x="485" y="1353"/>
                  </a:cubicBezTo>
                  <a:moveTo>
                    <a:pt x="499" y="1353"/>
                  </a:moveTo>
                  <a:cubicBezTo>
                    <a:pt x="492" y="1353"/>
                    <a:pt x="492" y="1353"/>
                    <a:pt x="492" y="1353"/>
                  </a:cubicBezTo>
                  <a:cubicBezTo>
                    <a:pt x="492" y="1360"/>
                    <a:pt x="492" y="1360"/>
                    <a:pt x="492" y="1360"/>
                  </a:cubicBezTo>
                  <a:cubicBezTo>
                    <a:pt x="499" y="1360"/>
                    <a:pt x="499" y="1360"/>
                    <a:pt x="499" y="1360"/>
                  </a:cubicBezTo>
                  <a:cubicBezTo>
                    <a:pt x="499" y="1353"/>
                    <a:pt x="499" y="1353"/>
                    <a:pt x="499" y="1353"/>
                  </a:cubicBezTo>
                  <a:moveTo>
                    <a:pt x="234" y="1338"/>
                  </a:moveTo>
                  <a:cubicBezTo>
                    <a:pt x="227" y="1338"/>
                    <a:pt x="227" y="1338"/>
                    <a:pt x="227" y="1338"/>
                  </a:cubicBezTo>
                  <a:cubicBezTo>
                    <a:pt x="227" y="1345"/>
                    <a:pt x="227" y="1345"/>
                    <a:pt x="227" y="1345"/>
                  </a:cubicBezTo>
                  <a:cubicBezTo>
                    <a:pt x="234" y="1345"/>
                    <a:pt x="234" y="1345"/>
                    <a:pt x="234" y="1345"/>
                  </a:cubicBezTo>
                  <a:cubicBezTo>
                    <a:pt x="234" y="1338"/>
                    <a:pt x="234" y="1338"/>
                    <a:pt x="234" y="1338"/>
                  </a:cubicBezTo>
                  <a:moveTo>
                    <a:pt x="249" y="1338"/>
                  </a:moveTo>
                  <a:cubicBezTo>
                    <a:pt x="242" y="1338"/>
                    <a:pt x="242" y="1338"/>
                    <a:pt x="242" y="1338"/>
                  </a:cubicBezTo>
                  <a:cubicBezTo>
                    <a:pt x="242" y="1345"/>
                    <a:pt x="242" y="1345"/>
                    <a:pt x="242" y="1345"/>
                  </a:cubicBezTo>
                  <a:cubicBezTo>
                    <a:pt x="249" y="1345"/>
                    <a:pt x="249" y="1345"/>
                    <a:pt x="249" y="1345"/>
                  </a:cubicBezTo>
                  <a:cubicBezTo>
                    <a:pt x="249" y="1338"/>
                    <a:pt x="249" y="1338"/>
                    <a:pt x="249" y="1338"/>
                  </a:cubicBezTo>
                  <a:moveTo>
                    <a:pt x="263" y="1338"/>
                  </a:moveTo>
                  <a:cubicBezTo>
                    <a:pt x="256" y="1338"/>
                    <a:pt x="256" y="1338"/>
                    <a:pt x="256" y="1338"/>
                  </a:cubicBezTo>
                  <a:cubicBezTo>
                    <a:pt x="256" y="1345"/>
                    <a:pt x="256" y="1345"/>
                    <a:pt x="256" y="1345"/>
                  </a:cubicBezTo>
                  <a:cubicBezTo>
                    <a:pt x="263" y="1345"/>
                    <a:pt x="263" y="1345"/>
                    <a:pt x="263" y="1345"/>
                  </a:cubicBezTo>
                  <a:cubicBezTo>
                    <a:pt x="263" y="1338"/>
                    <a:pt x="263" y="1338"/>
                    <a:pt x="263" y="1338"/>
                  </a:cubicBezTo>
                  <a:moveTo>
                    <a:pt x="278" y="1338"/>
                  </a:moveTo>
                  <a:cubicBezTo>
                    <a:pt x="271" y="1338"/>
                    <a:pt x="271" y="1338"/>
                    <a:pt x="271" y="1338"/>
                  </a:cubicBezTo>
                  <a:cubicBezTo>
                    <a:pt x="271" y="1345"/>
                    <a:pt x="271" y="1345"/>
                    <a:pt x="271" y="1345"/>
                  </a:cubicBezTo>
                  <a:cubicBezTo>
                    <a:pt x="278" y="1345"/>
                    <a:pt x="278" y="1345"/>
                    <a:pt x="278" y="1345"/>
                  </a:cubicBezTo>
                  <a:cubicBezTo>
                    <a:pt x="278" y="1338"/>
                    <a:pt x="278" y="1338"/>
                    <a:pt x="278" y="1338"/>
                  </a:cubicBezTo>
                  <a:moveTo>
                    <a:pt x="293" y="1338"/>
                  </a:moveTo>
                  <a:cubicBezTo>
                    <a:pt x="286" y="1338"/>
                    <a:pt x="286" y="1338"/>
                    <a:pt x="286" y="1338"/>
                  </a:cubicBezTo>
                  <a:cubicBezTo>
                    <a:pt x="286" y="1345"/>
                    <a:pt x="286" y="1345"/>
                    <a:pt x="286" y="1345"/>
                  </a:cubicBezTo>
                  <a:cubicBezTo>
                    <a:pt x="293" y="1345"/>
                    <a:pt x="293" y="1345"/>
                    <a:pt x="293" y="1345"/>
                  </a:cubicBezTo>
                  <a:cubicBezTo>
                    <a:pt x="293" y="1338"/>
                    <a:pt x="293" y="1338"/>
                    <a:pt x="293" y="1338"/>
                  </a:cubicBezTo>
                  <a:moveTo>
                    <a:pt x="308" y="1338"/>
                  </a:moveTo>
                  <a:cubicBezTo>
                    <a:pt x="301" y="1338"/>
                    <a:pt x="301" y="1338"/>
                    <a:pt x="301" y="1338"/>
                  </a:cubicBezTo>
                  <a:cubicBezTo>
                    <a:pt x="301" y="1345"/>
                    <a:pt x="301" y="1345"/>
                    <a:pt x="301" y="1345"/>
                  </a:cubicBezTo>
                  <a:cubicBezTo>
                    <a:pt x="308" y="1345"/>
                    <a:pt x="308" y="1345"/>
                    <a:pt x="308" y="1345"/>
                  </a:cubicBezTo>
                  <a:cubicBezTo>
                    <a:pt x="308" y="1338"/>
                    <a:pt x="308" y="1338"/>
                    <a:pt x="308" y="1338"/>
                  </a:cubicBezTo>
                  <a:moveTo>
                    <a:pt x="322" y="1338"/>
                  </a:moveTo>
                  <a:cubicBezTo>
                    <a:pt x="315" y="1338"/>
                    <a:pt x="315" y="1338"/>
                    <a:pt x="315" y="1338"/>
                  </a:cubicBezTo>
                  <a:cubicBezTo>
                    <a:pt x="315" y="1345"/>
                    <a:pt x="315" y="1345"/>
                    <a:pt x="315" y="1345"/>
                  </a:cubicBezTo>
                  <a:cubicBezTo>
                    <a:pt x="322" y="1345"/>
                    <a:pt x="322" y="1345"/>
                    <a:pt x="322" y="1345"/>
                  </a:cubicBezTo>
                  <a:cubicBezTo>
                    <a:pt x="322" y="1338"/>
                    <a:pt x="322" y="1338"/>
                    <a:pt x="322" y="1338"/>
                  </a:cubicBezTo>
                  <a:moveTo>
                    <a:pt x="337" y="1338"/>
                  </a:moveTo>
                  <a:cubicBezTo>
                    <a:pt x="330" y="1338"/>
                    <a:pt x="330" y="1338"/>
                    <a:pt x="330" y="1338"/>
                  </a:cubicBezTo>
                  <a:cubicBezTo>
                    <a:pt x="330" y="1345"/>
                    <a:pt x="330" y="1345"/>
                    <a:pt x="330" y="1345"/>
                  </a:cubicBezTo>
                  <a:cubicBezTo>
                    <a:pt x="337" y="1345"/>
                    <a:pt x="337" y="1345"/>
                    <a:pt x="337" y="1345"/>
                  </a:cubicBezTo>
                  <a:cubicBezTo>
                    <a:pt x="337" y="1338"/>
                    <a:pt x="337" y="1338"/>
                    <a:pt x="337" y="1338"/>
                  </a:cubicBezTo>
                  <a:moveTo>
                    <a:pt x="352" y="1338"/>
                  </a:moveTo>
                  <a:cubicBezTo>
                    <a:pt x="345" y="1338"/>
                    <a:pt x="345" y="1338"/>
                    <a:pt x="345" y="1338"/>
                  </a:cubicBezTo>
                  <a:cubicBezTo>
                    <a:pt x="345" y="1345"/>
                    <a:pt x="345" y="1345"/>
                    <a:pt x="345" y="1345"/>
                  </a:cubicBezTo>
                  <a:cubicBezTo>
                    <a:pt x="352" y="1345"/>
                    <a:pt x="352" y="1345"/>
                    <a:pt x="352" y="1345"/>
                  </a:cubicBezTo>
                  <a:cubicBezTo>
                    <a:pt x="352" y="1338"/>
                    <a:pt x="352" y="1338"/>
                    <a:pt x="352" y="1338"/>
                  </a:cubicBezTo>
                  <a:moveTo>
                    <a:pt x="367" y="1338"/>
                  </a:moveTo>
                  <a:cubicBezTo>
                    <a:pt x="360" y="1338"/>
                    <a:pt x="360" y="1338"/>
                    <a:pt x="360" y="1338"/>
                  </a:cubicBezTo>
                  <a:cubicBezTo>
                    <a:pt x="360" y="1345"/>
                    <a:pt x="360" y="1345"/>
                    <a:pt x="360" y="1345"/>
                  </a:cubicBezTo>
                  <a:cubicBezTo>
                    <a:pt x="367" y="1345"/>
                    <a:pt x="367" y="1345"/>
                    <a:pt x="367" y="1345"/>
                  </a:cubicBezTo>
                  <a:cubicBezTo>
                    <a:pt x="367" y="1338"/>
                    <a:pt x="367" y="1338"/>
                    <a:pt x="367" y="1338"/>
                  </a:cubicBezTo>
                  <a:moveTo>
                    <a:pt x="381" y="1338"/>
                  </a:moveTo>
                  <a:cubicBezTo>
                    <a:pt x="374" y="1338"/>
                    <a:pt x="374" y="1338"/>
                    <a:pt x="374" y="1338"/>
                  </a:cubicBezTo>
                  <a:cubicBezTo>
                    <a:pt x="374" y="1345"/>
                    <a:pt x="374" y="1345"/>
                    <a:pt x="374" y="1345"/>
                  </a:cubicBezTo>
                  <a:cubicBezTo>
                    <a:pt x="381" y="1345"/>
                    <a:pt x="381" y="1345"/>
                    <a:pt x="381" y="1345"/>
                  </a:cubicBezTo>
                  <a:cubicBezTo>
                    <a:pt x="381" y="1338"/>
                    <a:pt x="381" y="1338"/>
                    <a:pt x="381" y="1338"/>
                  </a:cubicBezTo>
                  <a:moveTo>
                    <a:pt x="396" y="1338"/>
                  </a:moveTo>
                  <a:cubicBezTo>
                    <a:pt x="389" y="1338"/>
                    <a:pt x="389" y="1338"/>
                    <a:pt x="389" y="1338"/>
                  </a:cubicBezTo>
                  <a:cubicBezTo>
                    <a:pt x="389" y="1345"/>
                    <a:pt x="389" y="1345"/>
                    <a:pt x="389" y="1345"/>
                  </a:cubicBezTo>
                  <a:cubicBezTo>
                    <a:pt x="396" y="1345"/>
                    <a:pt x="396" y="1345"/>
                    <a:pt x="396" y="1345"/>
                  </a:cubicBezTo>
                  <a:cubicBezTo>
                    <a:pt x="396" y="1338"/>
                    <a:pt x="396" y="1338"/>
                    <a:pt x="396" y="1338"/>
                  </a:cubicBezTo>
                  <a:moveTo>
                    <a:pt x="411" y="1338"/>
                  </a:moveTo>
                  <a:cubicBezTo>
                    <a:pt x="404" y="1338"/>
                    <a:pt x="404" y="1338"/>
                    <a:pt x="404" y="1338"/>
                  </a:cubicBezTo>
                  <a:cubicBezTo>
                    <a:pt x="404" y="1345"/>
                    <a:pt x="404" y="1345"/>
                    <a:pt x="404" y="1345"/>
                  </a:cubicBezTo>
                  <a:cubicBezTo>
                    <a:pt x="411" y="1345"/>
                    <a:pt x="411" y="1345"/>
                    <a:pt x="411" y="1345"/>
                  </a:cubicBezTo>
                  <a:cubicBezTo>
                    <a:pt x="411" y="1338"/>
                    <a:pt x="411" y="1338"/>
                    <a:pt x="411" y="1338"/>
                  </a:cubicBezTo>
                  <a:moveTo>
                    <a:pt x="426" y="1338"/>
                  </a:moveTo>
                  <a:cubicBezTo>
                    <a:pt x="419" y="1338"/>
                    <a:pt x="419" y="1338"/>
                    <a:pt x="419" y="1338"/>
                  </a:cubicBezTo>
                  <a:cubicBezTo>
                    <a:pt x="419" y="1345"/>
                    <a:pt x="419" y="1345"/>
                    <a:pt x="419" y="1345"/>
                  </a:cubicBezTo>
                  <a:cubicBezTo>
                    <a:pt x="426" y="1345"/>
                    <a:pt x="426" y="1345"/>
                    <a:pt x="426" y="1345"/>
                  </a:cubicBezTo>
                  <a:cubicBezTo>
                    <a:pt x="426" y="1338"/>
                    <a:pt x="426" y="1338"/>
                    <a:pt x="426" y="1338"/>
                  </a:cubicBezTo>
                  <a:moveTo>
                    <a:pt x="440" y="1338"/>
                  </a:moveTo>
                  <a:cubicBezTo>
                    <a:pt x="433" y="1338"/>
                    <a:pt x="433" y="1338"/>
                    <a:pt x="433" y="1338"/>
                  </a:cubicBezTo>
                  <a:cubicBezTo>
                    <a:pt x="433" y="1345"/>
                    <a:pt x="433" y="1345"/>
                    <a:pt x="433" y="1345"/>
                  </a:cubicBezTo>
                  <a:cubicBezTo>
                    <a:pt x="440" y="1345"/>
                    <a:pt x="440" y="1345"/>
                    <a:pt x="440" y="1345"/>
                  </a:cubicBezTo>
                  <a:cubicBezTo>
                    <a:pt x="440" y="1338"/>
                    <a:pt x="440" y="1338"/>
                    <a:pt x="440" y="1338"/>
                  </a:cubicBezTo>
                  <a:moveTo>
                    <a:pt x="455" y="1338"/>
                  </a:moveTo>
                  <a:cubicBezTo>
                    <a:pt x="448" y="1338"/>
                    <a:pt x="448" y="1338"/>
                    <a:pt x="448" y="1338"/>
                  </a:cubicBezTo>
                  <a:cubicBezTo>
                    <a:pt x="448" y="1345"/>
                    <a:pt x="448" y="1345"/>
                    <a:pt x="448" y="1345"/>
                  </a:cubicBezTo>
                  <a:cubicBezTo>
                    <a:pt x="455" y="1345"/>
                    <a:pt x="455" y="1345"/>
                    <a:pt x="455" y="1345"/>
                  </a:cubicBezTo>
                  <a:cubicBezTo>
                    <a:pt x="455" y="1338"/>
                    <a:pt x="455" y="1338"/>
                    <a:pt x="455" y="1338"/>
                  </a:cubicBezTo>
                  <a:moveTo>
                    <a:pt x="470" y="1338"/>
                  </a:moveTo>
                  <a:cubicBezTo>
                    <a:pt x="463" y="1338"/>
                    <a:pt x="463" y="1338"/>
                    <a:pt x="463" y="1338"/>
                  </a:cubicBezTo>
                  <a:cubicBezTo>
                    <a:pt x="463" y="1345"/>
                    <a:pt x="463" y="1345"/>
                    <a:pt x="463" y="1345"/>
                  </a:cubicBezTo>
                  <a:cubicBezTo>
                    <a:pt x="470" y="1345"/>
                    <a:pt x="470" y="1345"/>
                    <a:pt x="470" y="1345"/>
                  </a:cubicBezTo>
                  <a:cubicBezTo>
                    <a:pt x="470" y="1338"/>
                    <a:pt x="470" y="1338"/>
                    <a:pt x="470" y="1338"/>
                  </a:cubicBezTo>
                  <a:moveTo>
                    <a:pt x="485" y="1338"/>
                  </a:moveTo>
                  <a:cubicBezTo>
                    <a:pt x="478" y="1338"/>
                    <a:pt x="478" y="1338"/>
                    <a:pt x="478" y="1338"/>
                  </a:cubicBezTo>
                  <a:cubicBezTo>
                    <a:pt x="478" y="1345"/>
                    <a:pt x="478" y="1345"/>
                    <a:pt x="478" y="1345"/>
                  </a:cubicBezTo>
                  <a:cubicBezTo>
                    <a:pt x="485" y="1345"/>
                    <a:pt x="485" y="1345"/>
                    <a:pt x="485" y="1345"/>
                  </a:cubicBezTo>
                  <a:cubicBezTo>
                    <a:pt x="485" y="1338"/>
                    <a:pt x="485" y="1338"/>
                    <a:pt x="485" y="1338"/>
                  </a:cubicBezTo>
                  <a:moveTo>
                    <a:pt x="499" y="1338"/>
                  </a:moveTo>
                  <a:cubicBezTo>
                    <a:pt x="492" y="1338"/>
                    <a:pt x="492" y="1338"/>
                    <a:pt x="492" y="1338"/>
                  </a:cubicBezTo>
                  <a:cubicBezTo>
                    <a:pt x="492" y="1345"/>
                    <a:pt x="492" y="1345"/>
                    <a:pt x="492" y="1345"/>
                  </a:cubicBezTo>
                  <a:cubicBezTo>
                    <a:pt x="499" y="1345"/>
                    <a:pt x="499" y="1345"/>
                    <a:pt x="499" y="1345"/>
                  </a:cubicBezTo>
                  <a:cubicBezTo>
                    <a:pt x="499" y="1338"/>
                    <a:pt x="499" y="1338"/>
                    <a:pt x="499" y="1338"/>
                  </a:cubicBezTo>
                  <a:moveTo>
                    <a:pt x="514" y="1338"/>
                  </a:moveTo>
                  <a:cubicBezTo>
                    <a:pt x="507" y="1338"/>
                    <a:pt x="507" y="1338"/>
                    <a:pt x="507" y="1338"/>
                  </a:cubicBezTo>
                  <a:cubicBezTo>
                    <a:pt x="507" y="1345"/>
                    <a:pt x="507" y="1345"/>
                    <a:pt x="507" y="1345"/>
                  </a:cubicBezTo>
                  <a:cubicBezTo>
                    <a:pt x="514" y="1345"/>
                    <a:pt x="514" y="1345"/>
                    <a:pt x="514" y="1345"/>
                  </a:cubicBezTo>
                  <a:cubicBezTo>
                    <a:pt x="514" y="1338"/>
                    <a:pt x="514" y="1338"/>
                    <a:pt x="514" y="1338"/>
                  </a:cubicBezTo>
                  <a:moveTo>
                    <a:pt x="219" y="1323"/>
                  </a:moveTo>
                  <a:cubicBezTo>
                    <a:pt x="212" y="1323"/>
                    <a:pt x="212" y="1323"/>
                    <a:pt x="212" y="1323"/>
                  </a:cubicBezTo>
                  <a:cubicBezTo>
                    <a:pt x="212" y="1330"/>
                    <a:pt x="212" y="1330"/>
                    <a:pt x="212" y="1330"/>
                  </a:cubicBezTo>
                  <a:cubicBezTo>
                    <a:pt x="219" y="1330"/>
                    <a:pt x="219" y="1330"/>
                    <a:pt x="219" y="1330"/>
                  </a:cubicBezTo>
                  <a:cubicBezTo>
                    <a:pt x="219" y="1323"/>
                    <a:pt x="219" y="1323"/>
                    <a:pt x="219" y="1323"/>
                  </a:cubicBezTo>
                  <a:moveTo>
                    <a:pt x="234" y="1323"/>
                  </a:moveTo>
                  <a:cubicBezTo>
                    <a:pt x="227" y="1323"/>
                    <a:pt x="227" y="1323"/>
                    <a:pt x="227" y="1323"/>
                  </a:cubicBezTo>
                  <a:cubicBezTo>
                    <a:pt x="227" y="1330"/>
                    <a:pt x="227" y="1330"/>
                    <a:pt x="227" y="1330"/>
                  </a:cubicBezTo>
                  <a:cubicBezTo>
                    <a:pt x="234" y="1330"/>
                    <a:pt x="234" y="1330"/>
                    <a:pt x="234" y="1330"/>
                  </a:cubicBezTo>
                  <a:cubicBezTo>
                    <a:pt x="234" y="1323"/>
                    <a:pt x="234" y="1323"/>
                    <a:pt x="234" y="1323"/>
                  </a:cubicBezTo>
                  <a:moveTo>
                    <a:pt x="249" y="1323"/>
                  </a:moveTo>
                  <a:cubicBezTo>
                    <a:pt x="242" y="1323"/>
                    <a:pt x="242" y="1323"/>
                    <a:pt x="242" y="1323"/>
                  </a:cubicBezTo>
                  <a:cubicBezTo>
                    <a:pt x="242" y="1330"/>
                    <a:pt x="242" y="1330"/>
                    <a:pt x="242" y="1330"/>
                  </a:cubicBezTo>
                  <a:cubicBezTo>
                    <a:pt x="249" y="1330"/>
                    <a:pt x="249" y="1330"/>
                    <a:pt x="249" y="1330"/>
                  </a:cubicBezTo>
                  <a:cubicBezTo>
                    <a:pt x="249" y="1323"/>
                    <a:pt x="249" y="1323"/>
                    <a:pt x="249" y="1323"/>
                  </a:cubicBezTo>
                  <a:moveTo>
                    <a:pt x="263" y="1323"/>
                  </a:moveTo>
                  <a:cubicBezTo>
                    <a:pt x="256" y="1323"/>
                    <a:pt x="256" y="1323"/>
                    <a:pt x="256" y="1323"/>
                  </a:cubicBezTo>
                  <a:cubicBezTo>
                    <a:pt x="256" y="1330"/>
                    <a:pt x="256" y="1330"/>
                    <a:pt x="256" y="1330"/>
                  </a:cubicBezTo>
                  <a:cubicBezTo>
                    <a:pt x="263" y="1330"/>
                    <a:pt x="263" y="1330"/>
                    <a:pt x="263" y="1330"/>
                  </a:cubicBezTo>
                  <a:cubicBezTo>
                    <a:pt x="263" y="1323"/>
                    <a:pt x="263" y="1323"/>
                    <a:pt x="263" y="1323"/>
                  </a:cubicBezTo>
                  <a:moveTo>
                    <a:pt x="278" y="1323"/>
                  </a:moveTo>
                  <a:cubicBezTo>
                    <a:pt x="271" y="1323"/>
                    <a:pt x="271" y="1323"/>
                    <a:pt x="271" y="1323"/>
                  </a:cubicBezTo>
                  <a:cubicBezTo>
                    <a:pt x="271" y="1330"/>
                    <a:pt x="271" y="1330"/>
                    <a:pt x="271" y="1330"/>
                  </a:cubicBezTo>
                  <a:cubicBezTo>
                    <a:pt x="278" y="1330"/>
                    <a:pt x="278" y="1330"/>
                    <a:pt x="278" y="1330"/>
                  </a:cubicBezTo>
                  <a:cubicBezTo>
                    <a:pt x="278" y="1323"/>
                    <a:pt x="278" y="1323"/>
                    <a:pt x="278" y="1323"/>
                  </a:cubicBezTo>
                  <a:moveTo>
                    <a:pt x="293" y="1323"/>
                  </a:moveTo>
                  <a:cubicBezTo>
                    <a:pt x="286" y="1323"/>
                    <a:pt x="286" y="1323"/>
                    <a:pt x="286" y="1323"/>
                  </a:cubicBezTo>
                  <a:cubicBezTo>
                    <a:pt x="286" y="1330"/>
                    <a:pt x="286" y="1330"/>
                    <a:pt x="286" y="1330"/>
                  </a:cubicBezTo>
                  <a:cubicBezTo>
                    <a:pt x="293" y="1330"/>
                    <a:pt x="293" y="1330"/>
                    <a:pt x="293" y="1330"/>
                  </a:cubicBezTo>
                  <a:cubicBezTo>
                    <a:pt x="293" y="1323"/>
                    <a:pt x="293" y="1323"/>
                    <a:pt x="293" y="1323"/>
                  </a:cubicBezTo>
                  <a:moveTo>
                    <a:pt x="308" y="1323"/>
                  </a:moveTo>
                  <a:cubicBezTo>
                    <a:pt x="301" y="1323"/>
                    <a:pt x="301" y="1323"/>
                    <a:pt x="301" y="1323"/>
                  </a:cubicBezTo>
                  <a:cubicBezTo>
                    <a:pt x="301" y="1330"/>
                    <a:pt x="301" y="1330"/>
                    <a:pt x="301" y="1330"/>
                  </a:cubicBezTo>
                  <a:cubicBezTo>
                    <a:pt x="308" y="1330"/>
                    <a:pt x="308" y="1330"/>
                    <a:pt x="308" y="1330"/>
                  </a:cubicBezTo>
                  <a:cubicBezTo>
                    <a:pt x="308" y="1323"/>
                    <a:pt x="308" y="1323"/>
                    <a:pt x="308" y="1323"/>
                  </a:cubicBezTo>
                  <a:moveTo>
                    <a:pt x="322" y="1323"/>
                  </a:moveTo>
                  <a:cubicBezTo>
                    <a:pt x="315" y="1323"/>
                    <a:pt x="315" y="1323"/>
                    <a:pt x="315" y="1323"/>
                  </a:cubicBezTo>
                  <a:cubicBezTo>
                    <a:pt x="315" y="1330"/>
                    <a:pt x="315" y="1330"/>
                    <a:pt x="315" y="1330"/>
                  </a:cubicBezTo>
                  <a:cubicBezTo>
                    <a:pt x="322" y="1330"/>
                    <a:pt x="322" y="1330"/>
                    <a:pt x="322" y="1330"/>
                  </a:cubicBezTo>
                  <a:cubicBezTo>
                    <a:pt x="322" y="1323"/>
                    <a:pt x="322" y="1323"/>
                    <a:pt x="322" y="1323"/>
                  </a:cubicBezTo>
                  <a:moveTo>
                    <a:pt x="337" y="1323"/>
                  </a:moveTo>
                  <a:cubicBezTo>
                    <a:pt x="330" y="1323"/>
                    <a:pt x="330" y="1323"/>
                    <a:pt x="330" y="1323"/>
                  </a:cubicBezTo>
                  <a:cubicBezTo>
                    <a:pt x="330" y="1330"/>
                    <a:pt x="330" y="1330"/>
                    <a:pt x="330" y="1330"/>
                  </a:cubicBezTo>
                  <a:cubicBezTo>
                    <a:pt x="337" y="1330"/>
                    <a:pt x="337" y="1330"/>
                    <a:pt x="337" y="1330"/>
                  </a:cubicBezTo>
                  <a:cubicBezTo>
                    <a:pt x="337" y="1323"/>
                    <a:pt x="337" y="1323"/>
                    <a:pt x="337" y="1323"/>
                  </a:cubicBezTo>
                  <a:moveTo>
                    <a:pt x="352" y="1323"/>
                  </a:moveTo>
                  <a:cubicBezTo>
                    <a:pt x="345" y="1323"/>
                    <a:pt x="345" y="1323"/>
                    <a:pt x="345" y="1323"/>
                  </a:cubicBezTo>
                  <a:cubicBezTo>
                    <a:pt x="345" y="1330"/>
                    <a:pt x="345" y="1330"/>
                    <a:pt x="345" y="1330"/>
                  </a:cubicBezTo>
                  <a:cubicBezTo>
                    <a:pt x="352" y="1330"/>
                    <a:pt x="352" y="1330"/>
                    <a:pt x="352" y="1330"/>
                  </a:cubicBezTo>
                  <a:cubicBezTo>
                    <a:pt x="352" y="1323"/>
                    <a:pt x="352" y="1323"/>
                    <a:pt x="352" y="1323"/>
                  </a:cubicBezTo>
                  <a:moveTo>
                    <a:pt x="367" y="1323"/>
                  </a:moveTo>
                  <a:cubicBezTo>
                    <a:pt x="360" y="1323"/>
                    <a:pt x="360" y="1323"/>
                    <a:pt x="360" y="1323"/>
                  </a:cubicBezTo>
                  <a:cubicBezTo>
                    <a:pt x="360" y="1330"/>
                    <a:pt x="360" y="1330"/>
                    <a:pt x="360" y="1330"/>
                  </a:cubicBezTo>
                  <a:cubicBezTo>
                    <a:pt x="367" y="1330"/>
                    <a:pt x="367" y="1330"/>
                    <a:pt x="367" y="1330"/>
                  </a:cubicBezTo>
                  <a:cubicBezTo>
                    <a:pt x="367" y="1323"/>
                    <a:pt x="367" y="1323"/>
                    <a:pt x="367" y="1323"/>
                  </a:cubicBezTo>
                  <a:moveTo>
                    <a:pt x="381" y="1323"/>
                  </a:moveTo>
                  <a:cubicBezTo>
                    <a:pt x="374" y="1323"/>
                    <a:pt x="374" y="1323"/>
                    <a:pt x="374" y="1323"/>
                  </a:cubicBezTo>
                  <a:cubicBezTo>
                    <a:pt x="374" y="1330"/>
                    <a:pt x="374" y="1330"/>
                    <a:pt x="374" y="1330"/>
                  </a:cubicBezTo>
                  <a:cubicBezTo>
                    <a:pt x="381" y="1330"/>
                    <a:pt x="381" y="1330"/>
                    <a:pt x="381" y="1330"/>
                  </a:cubicBezTo>
                  <a:cubicBezTo>
                    <a:pt x="381" y="1323"/>
                    <a:pt x="381" y="1323"/>
                    <a:pt x="381" y="1323"/>
                  </a:cubicBezTo>
                  <a:moveTo>
                    <a:pt x="396" y="1323"/>
                  </a:moveTo>
                  <a:cubicBezTo>
                    <a:pt x="389" y="1323"/>
                    <a:pt x="389" y="1323"/>
                    <a:pt x="389" y="1323"/>
                  </a:cubicBezTo>
                  <a:cubicBezTo>
                    <a:pt x="389" y="1330"/>
                    <a:pt x="389" y="1330"/>
                    <a:pt x="389" y="1330"/>
                  </a:cubicBezTo>
                  <a:cubicBezTo>
                    <a:pt x="396" y="1330"/>
                    <a:pt x="396" y="1330"/>
                    <a:pt x="396" y="1330"/>
                  </a:cubicBezTo>
                  <a:cubicBezTo>
                    <a:pt x="396" y="1323"/>
                    <a:pt x="396" y="1323"/>
                    <a:pt x="396" y="1323"/>
                  </a:cubicBezTo>
                  <a:moveTo>
                    <a:pt x="411" y="1323"/>
                  </a:moveTo>
                  <a:cubicBezTo>
                    <a:pt x="404" y="1323"/>
                    <a:pt x="404" y="1323"/>
                    <a:pt x="404" y="1323"/>
                  </a:cubicBezTo>
                  <a:cubicBezTo>
                    <a:pt x="404" y="1330"/>
                    <a:pt x="404" y="1330"/>
                    <a:pt x="404" y="1330"/>
                  </a:cubicBezTo>
                  <a:cubicBezTo>
                    <a:pt x="411" y="1330"/>
                    <a:pt x="411" y="1330"/>
                    <a:pt x="411" y="1330"/>
                  </a:cubicBezTo>
                  <a:cubicBezTo>
                    <a:pt x="411" y="1323"/>
                    <a:pt x="411" y="1323"/>
                    <a:pt x="411" y="1323"/>
                  </a:cubicBezTo>
                  <a:moveTo>
                    <a:pt x="426" y="1323"/>
                  </a:moveTo>
                  <a:cubicBezTo>
                    <a:pt x="419" y="1323"/>
                    <a:pt x="419" y="1323"/>
                    <a:pt x="419" y="1323"/>
                  </a:cubicBezTo>
                  <a:cubicBezTo>
                    <a:pt x="419" y="1330"/>
                    <a:pt x="419" y="1330"/>
                    <a:pt x="419" y="1330"/>
                  </a:cubicBezTo>
                  <a:cubicBezTo>
                    <a:pt x="426" y="1330"/>
                    <a:pt x="426" y="1330"/>
                    <a:pt x="426" y="1330"/>
                  </a:cubicBezTo>
                  <a:cubicBezTo>
                    <a:pt x="426" y="1323"/>
                    <a:pt x="426" y="1323"/>
                    <a:pt x="426" y="1323"/>
                  </a:cubicBezTo>
                  <a:moveTo>
                    <a:pt x="440" y="1323"/>
                  </a:moveTo>
                  <a:cubicBezTo>
                    <a:pt x="433" y="1323"/>
                    <a:pt x="433" y="1323"/>
                    <a:pt x="433" y="1323"/>
                  </a:cubicBezTo>
                  <a:cubicBezTo>
                    <a:pt x="433" y="1330"/>
                    <a:pt x="433" y="1330"/>
                    <a:pt x="433" y="1330"/>
                  </a:cubicBezTo>
                  <a:cubicBezTo>
                    <a:pt x="440" y="1330"/>
                    <a:pt x="440" y="1330"/>
                    <a:pt x="440" y="1330"/>
                  </a:cubicBezTo>
                  <a:cubicBezTo>
                    <a:pt x="440" y="1323"/>
                    <a:pt x="440" y="1323"/>
                    <a:pt x="440" y="1323"/>
                  </a:cubicBezTo>
                  <a:moveTo>
                    <a:pt x="455" y="1323"/>
                  </a:moveTo>
                  <a:cubicBezTo>
                    <a:pt x="448" y="1323"/>
                    <a:pt x="448" y="1323"/>
                    <a:pt x="448" y="1323"/>
                  </a:cubicBezTo>
                  <a:cubicBezTo>
                    <a:pt x="448" y="1330"/>
                    <a:pt x="448" y="1330"/>
                    <a:pt x="448" y="1330"/>
                  </a:cubicBezTo>
                  <a:cubicBezTo>
                    <a:pt x="455" y="1330"/>
                    <a:pt x="455" y="1330"/>
                    <a:pt x="455" y="1330"/>
                  </a:cubicBezTo>
                  <a:cubicBezTo>
                    <a:pt x="455" y="1323"/>
                    <a:pt x="455" y="1323"/>
                    <a:pt x="455" y="1323"/>
                  </a:cubicBezTo>
                  <a:moveTo>
                    <a:pt x="470" y="1323"/>
                  </a:moveTo>
                  <a:cubicBezTo>
                    <a:pt x="463" y="1323"/>
                    <a:pt x="463" y="1323"/>
                    <a:pt x="463" y="1323"/>
                  </a:cubicBezTo>
                  <a:cubicBezTo>
                    <a:pt x="463" y="1330"/>
                    <a:pt x="463" y="1330"/>
                    <a:pt x="463" y="1330"/>
                  </a:cubicBezTo>
                  <a:cubicBezTo>
                    <a:pt x="470" y="1330"/>
                    <a:pt x="470" y="1330"/>
                    <a:pt x="470" y="1330"/>
                  </a:cubicBezTo>
                  <a:cubicBezTo>
                    <a:pt x="470" y="1323"/>
                    <a:pt x="470" y="1323"/>
                    <a:pt x="470" y="1323"/>
                  </a:cubicBezTo>
                  <a:moveTo>
                    <a:pt x="485" y="1323"/>
                  </a:moveTo>
                  <a:cubicBezTo>
                    <a:pt x="478" y="1323"/>
                    <a:pt x="478" y="1323"/>
                    <a:pt x="478" y="1323"/>
                  </a:cubicBezTo>
                  <a:cubicBezTo>
                    <a:pt x="478" y="1330"/>
                    <a:pt x="478" y="1330"/>
                    <a:pt x="478" y="1330"/>
                  </a:cubicBezTo>
                  <a:cubicBezTo>
                    <a:pt x="485" y="1330"/>
                    <a:pt x="485" y="1330"/>
                    <a:pt x="485" y="1330"/>
                  </a:cubicBezTo>
                  <a:cubicBezTo>
                    <a:pt x="485" y="1323"/>
                    <a:pt x="485" y="1323"/>
                    <a:pt x="485" y="1323"/>
                  </a:cubicBezTo>
                  <a:moveTo>
                    <a:pt x="499" y="1323"/>
                  </a:moveTo>
                  <a:cubicBezTo>
                    <a:pt x="492" y="1323"/>
                    <a:pt x="492" y="1323"/>
                    <a:pt x="492" y="1323"/>
                  </a:cubicBezTo>
                  <a:cubicBezTo>
                    <a:pt x="492" y="1330"/>
                    <a:pt x="492" y="1330"/>
                    <a:pt x="492" y="1330"/>
                  </a:cubicBezTo>
                  <a:cubicBezTo>
                    <a:pt x="499" y="1330"/>
                    <a:pt x="499" y="1330"/>
                    <a:pt x="499" y="1330"/>
                  </a:cubicBezTo>
                  <a:cubicBezTo>
                    <a:pt x="499" y="1323"/>
                    <a:pt x="499" y="1323"/>
                    <a:pt x="499" y="1323"/>
                  </a:cubicBezTo>
                  <a:moveTo>
                    <a:pt x="514" y="1323"/>
                  </a:moveTo>
                  <a:cubicBezTo>
                    <a:pt x="507" y="1323"/>
                    <a:pt x="507" y="1323"/>
                    <a:pt x="507" y="1323"/>
                  </a:cubicBezTo>
                  <a:cubicBezTo>
                    <a:pt x="507" y="1330"/>
                    <a:pt x="507" y="1330"/>
                    <a:pt x="507" y="1330"/>
                  </a:cubicBezTo>
                  <a:cubicBezTo>
                    <a:pt x="514" y="1330"/>
                    <a:pt x="514" y="1330"/>
                    <a:pt x="514" y="1330"/>
                  </a:cubicBezTo>
                  <a:cubicBezTo>
                    <a:pt x="514" y="1323"/>
                    <a:pt x="514" y="1323"/>
                    <a:pt x="514" y="1323"/>
                  </a:cubicBezTo>
                  <a:moveTo>
                    <a:pt x="529" y="1323"/>
                  </a:moveTo>
                  <a:cubicBezTo>
                    <a:pt x="522" y="1323"/>
                    <a:pt x="522" y="1323"/>
                    <a:pt x="522" y="1323"/>
                  </a:cubicBezTo>
                  <a:cubicBezTo>
                    <a:pt x="522" y="1330"/>
                    <a:pt x="522" y="1330"/>
                    <a:pt x="522" y="1330"/>
                  </a:cubicBezTo>
                  <a:cubicBezTo>
                    <a:pt x="529" y="1330"/>
                    <a:pt x="529" y="1330"/>
                    <a:pt x="529" y="1330"/>
                  </a:cubicBezTo>
                  <a:cubicBezTo>
                    <a:pt x="529" y="1323"/>
                    <a:pt x="529" y="1323"/>
                    <a:pt x="529" y="1323"/>
                  </a:cubicBezTo>
                  <a:moveTo>
                    <a:pt x="219" y="1308"/>
                  </a:moveTo>
                  <a:cubicBezTo>
                    <a:pt x="212" y="1308"/>
                    <a:pt x="212" y="1308"/>
                    <a:pt x="212" y="1308"/>
                  </a:cubicBezTo>
                  <a:cubicBezTo>
                    <a:pt x="212" y="1315"/>
                    <a:pt x="212" y="1315"/>
                    <a:pt x="212" y="1315"/>
                  </a:cubicBezTo>
                  <a:cubicBezTo>
                    <a:pt x="219" y="1315"/>
                    <a:pt x="219" y="1315"/>
                    <a:pt x="219" y="1315"/>
                  </a:cubicBezTo>
                  <a:cubicBezTo>
                    <a:pt x="219" y="1308"/>
                    <a:pt x="219" y="1308"/>
                    <a:pt x="219" y="1308"/>
                  </a:cubicBezTo>
                  <a:moveTo>
                    <a:pt x="234" y="1308"/>
                  </a:moveTo>
                  <a:cubicBezTo>
                    <a:pt x="227" y="1308"/>
                    <a:pt x="227" y="1308"/>
                    <a:pt x="227" y="1308"/>
                  </a:cubicBezTo>
                  <a:cubicBezTo>
                    <a:pt x="227" y="1315"/>
                    <a:pt x="227" y="1315"/>
                    <a:pt x="227" y="1315"/>
                  </a:cubicBezTo>
                  <a:cubicBezTo>
                    <a:pt x="234" y="1315"/>
                    <a:pt x="234" y="1315"/>
                    <a:pt x="234" y="1315"/>
                  </a:cubicBezTo>
                  <a:cubicBezTo>
                    <a:pt x="234" y="1308"/>
                    <a:pt x="234" y="1308"/>
                    <a:pt x="234" y="1308"/>
                  </a:cubicBezTo>
                  <a:moveTo>
                    <a:pt x="249" y="1308"/>
                  </a:moveTo>
                  <a:cubicBezTo>
                    <a:pt x="242" y="1308"/>
                    <a:pt x="242" y="1308"/>
                    <a:pt x="242" y="1308"/>
                  </a:cubicBezTo>
                  <a:cubicBezTo>
                    <a:pt x="242" y="1315"/>
                    <a:pt x="242" y="1315"/>
                    <a:pt x="242" y="1315"/>
                  </a:cubicBezTo>
                  <a:cubicBezTo>
                    <a:pt x="249" y="1315"/>
                    <a:pt x="249" y="1315"/>
                    <a:pt x="249" y="1315"/>
                  </a:cubicBezTo>
                  <a:cubicBezTo>
                    <a:pt x="249" y="1308"/>
                    <a:pt x="249" y="1308"/>
                    <a:pt x="249" y="1308"/>
                  </a:cubicBezTo>
                  <a:moveTo>
                    <a:pt x="263" y="1308"/>
                  </a:moveTo>
                  <a:cubicBezTo>
                    <a:pt x="256" y="1308"/>
                    <a:pt x="256" y="1308"/>
                    <a:pt x="256" y="1308"/>
                  </a:cubicBezTo>
                  <a:cubicBezTo>
                    <a:pt x="256" y="1315"/>
                    <a:pt x="256" y="1315"/>
                    <a:pt x="256" y="1315"/>
                  </a:cubicBezTo>
                  <a:cubicBezTo>
                    <a:pt x="263" y="1315"/>
                    <a:pt x="263" y="1315"/>
                    <a:pt x="263" y="1315"/>
                  </a:cubicBezTo>
                  <a:cubicBezTo>
                    <a:pt x="263" y="1308"/>
                    <a:pt x="263" y="1308"/>
                    <a:pt x="263" y="1308"/>
                  </a:cubicBezTo>
                  <a:moveTo>
                    <a:pt x="278" y="1308"/>
                  </a:moveTo>
                  <a:cubicBezTo>
                    <a:pt x="271" y="1308"/>
                    <a:pt x="271" y="1308"/>
                    <a:pt x="271" y="1308"/>
                  </a:cubicBezTo>
                  <a:cubicBezTo>
                    <a:pt x="271" y="1315"/>
                    <a:pt x="271" y="1315"/>
                    <a:pt x="271" y="1315"/>
                  </a:cubicBezTo>
                  <a:cubicBezTo>
                    <a:pt x="278" y="1315"/>
                    <a:pt x="278" y="1315"/>
                    <a:pt x="278" y="1315"/>
                  </a:cubicBezTo>
                  <a:cubicBezTo>
                    <a:pt x="278" y="1308"/>
                    <a:pt x="278" y="1308"/>
                    <a:pt x="278" y="1308"/>
                  </a:cubicBezTo>
                  <a:moveTo>
                    <a:pt x="293" y="1308"/>
                  </a:moveTo>
                  <a:cubicBezTo>
                    <a:pt x="286" y="1308"/>
                    <a:pt x="286" y="1308"/>
                    <a:pt x="286" y="1308"/>
                  </a:cubicBezTo>
                  <a:cubicBezTo>
                    <a:pt x="286" y="1315"/>
                    <a:pt x="286" y="1315"/>
                    <a:pt x="286" y="1315"/>
                  </a:cubicBezTo>
                  <a:cubicBezTo>
                    <a:pt x="293" y="1315"/>
                    <a:pt x="293" y="1315"/>
                    <a:pt x="293" y="1315"/>
                  </a:cubicBezTo>
                  <a:cubicBezTo>
                    <a:pt x="293" y="1308"/>
                    <a:pt x="293" y="1308"/>
                    <a:pt x="293" y="1308"/>
                  </a:cubicBezTo>
                  <a:moveTo>
                    <a:pt x="308" y="1308"/>
                  </a:moveTo>
                  <a:cubicBezTo>
                    <a:pt x="301" y="1308"/>
                    <a:pt x="301" y="1308"/>
                    <a:pt x="301" y="1308"/>
                  </a:cubicBezTo>
                  <a:cubicBezTo>
                    <a:pt x="301" y="1315"/>
                    <a:pt x="301" y="1315"/>
                    <a:pt x="301" y="1315"/>
                  </a:cubicBezTo>
                  <a:cubicBezTo>
                    <a:pt x="308" y="1315"/>
                    <a:pt x="308" y="1315"/>
                    <a:pt x="308" y="1315"/>
                  </a:cubicBezTo>
                  <a:cubicBezTo>
                    <a:pt x="308" y="1308"/>
                    <a:pt x="308" y="1308"/>
                    <a:pt x="308" y="1308"/>
                  </a:cubicBezTo>
                  <a:moveTo>
                    <a:pt x="322" y="1308"/>
                  </a:moveTo>
                  <a:cubicBezTo>
                    <a:pt x="315" y="1308"/>
                    <a:pt x="315" y="1308"/>
                    <a:pt x="315" y="1308"/>
                  </a:cubicBezTo>
                  <a:cubicBezTo>
                    <a:pt x="315" y="1315"/>
                    <a:pt x="315" y="1315"/>
                    <a:pt x="315" y="1315"/>
                  </a:cubicBezTo>
                  <a:cubicBezTo>
                    <a:pt x="322" y="1315"/>
                    <a:pt x="322" y="1315"/>
                    <a:pt x="322" y="1315"/>
                  </a:cubicBezTo>
                  <a:cubicBezTo>
                    <a:pt x="322" y="1308"/>
                    <a:pt x="322" y="1308"/>
                    <a:pt x="322" y="1308"/>
                  </a:cubicBezTo>
                  <a:moveTo>
                    <a:pt x="337" y="1308"/>
                  </a:moveTo>
                  <a:cubicBezTo>
                    <a:pt x="330" y="1308"/>
                    <a:pt x="330" y="1308"/>
                    <a:pt x="330" y="1308"/>
                  </a:cubicBezTo>
                  <a:cubicBezTo>
                    <a:pt x="330" y="1315"/>
                    <a:pt x="330" y="1315"/>
                    <a:pt x="330" y="1315"/>
                  </a:cubicBezTo>
                  <a:cubicBezTo>
                    <a:pt x="337" y="1315"/>
                    <a:pt x="337" y="1315"/>
                    <a:pt x="337" y="1315"/>
                  </a:cubicBezTo>
                  <a:cubicBezTo>
                    <a:pt x="337" y="1308"/>
                    <a:pt x="337" y="1308"/>
                    <a:pt x="337" y="1308"/>
                  </a:cubicBezTo>
                  <a:moveTo>
                    <a:pt x="352" y="1308"/>
                  </a:moveTo>
                  <a:cubicBezTo>
                    <a:pt x="345" y="1308"/>
                    <a:pt x="345" y="1308"/>
                    <a:pt x="345" y="1308"/>
                  </a:cubicBezTo>
                  <a:cubicBezTo>
                    <a:pt x="345" y="1315"/>
                    <a:pt x="345" y="1315"/>
                    <a:pt x="345" y="1315"/>
                  </a:cubicBezTo>
                  <a:cubicBezTo>
                    <a:pt x="352" y="1315"/>
                    <a:pt x="352" y="1315"/>
                    <a:pt x="352" y="1315"/>
                  </a:cubicBezTo>
                  <a:cubicBezTo>
                    <a:pt x="352" y="1308"/>
                    <a:pt x="352" y="1308"/>
                    <a:pt x="352" y="1308"/>
                  </a:cubicBezTo>
                  <a:moveTo>
                    <a:pt x="367" y="1308"/>
                  </a:moveTo>
                  <a:cubicBezTo>
                    <a:pt x="360" y="1308"/>
                    <a:pt x="360" y="1308"/>
                    <a:pt x="360" y="1308"/>
                  </a:cubicBezTo>
                  <a:cubicBezTo>
                    <a:pt x="360" y="1315"/>
                    <a:pt x="360" y="1315"/>
                    <a:pt x="360" y="1315"/>
                  </a:cubicBezTo>
                  <a:cubicBezTo>
                    <a:pt x="367" y="1315"/>
                    <a:pt x="367" y="1315"/>
                    <a:pt x="367" y="1315"/>
                  </a:cubicBezTo>
                  <a:cubicBezTo>
                    <a:pt x="367" y="1308"/>
                    <a:pt x="367" y="1308"/>
                    <a:pt x="367" y="1308"/>
                  </a:cubicBezTo>
                  <a:moveTo>
                    <a:pt x="381" y="1308"/>
                  </a:moveTo>
                  <a:cubicBezTo>
                    <a:pt x="374" y="1308"/>
                    <a:pt x="374" y="1308"/>
                    <a:pt x="374" y="1308"/>
                  </a:cubicBezTo>
                  <a:cubicBezTo>
                    <a:pt x="374" y="1315"/>
                    <a:pt x="374" y="1315"/>
                    <a:pt x="374" y="1315"/>
                  </a:cubicBezTo>
                  <a:cubicBezTo>
                    <a:pt x="381" y="1315"/>
                    <a:pt x="381" y="1315"/>
                    <a:pt x="381" y="1315"/>
                  </a:cubicBezTo>
                  <a:cubicBezTo>
                    <a:pt x="381" y="1308"/>
                    <a:pt x="381" y="1308"/>
                    <a:pt x="381" y="1308"/>
                  </a:cubicBezTo>
                  <a:moveTo>
                    <a:pt x="396" y="1308"/>
                  </a:moveTo>
                  <a:cubicBezTo>
                    <a:pt x="389" y="1308"/>
                    <a:pt x="389" y="1308"/>
                    <a:pt x="389" y="1308"/>
                  </a:cubicBezTo>
                  <a:cubicBezTo>
                    <a:pt x="389" y="1315"/>
                    <a:pt x="389" y="1315"/>
                    <a:pt x="389" y="1315"/>
                  </a:cubicBezTo>
                  <a:cubicBezTo>
                    <a:pt x="396" y="1315"/>
                    <a:pt x="396" y="1315"/>
                    <a:pt x="396" y="1315"/>
                  </a:cubicBezTo>
                  <a:cubicBezTo>
                    <a:pt x="396" y="1308"/>
                    <a:pt x="396" y="1308"/>
                    <a:pt x="396" y="1308"/>
                  </a:cubicBezTo>
                  <a:moveTo>
                    <a:pt x="411" y="1308"/>
                  </a:moveTo>
                  <a:cubicBezTo>
                    <a:pt x="404" y="1308"/>
                    <a:pt x="404" y="1308"/>
                    <a:pt x="404" y="1308"/>
                  </a:cubicBezTo>
                  <a:cubicBezTo>
                    <a:pt x="404" y="1315"/>
                    <a:pt x="404" y="1315"/>
                    <a:pt x="404" y="1315"/>
                  </a:cubicBezTo>
                  <a:cubicBezTo>
                    <a:pt x="411" y="1315"/>
                    <a:pt x="411" y="1315"/>
                    <a:pt x="411" y="1315"/>
                  </a:cubicBezTo>
                  <a:cubicBezTo>
                    <a:pt x="411" y="1308"/>
                    <a:pt x="411" y="1308"/>
                    <a:pt x="411" y="1308"/>
                  </a:cubicBezTo>
                  <a:moveTo>
                    <a:pt x="426" y="1308"/>
                  </a:moveTo>
                  <a:cubicBezTo>
                    <a:pt x="419" y="1308"/>
                    <a:pt x="419" y="1308"/>
                    <a:pt x="419" y="1308"/>
                  </a:cubicBezTo>
                  <a:cubicBezTo>
                    <a:pt x="419" y="1315"/>
                    <a:pt x="419" y="1315"/>
                    <a:pt x="419" y="1315"/>
                  </a:cubicBezTo>
                  <a:cubicBezTo>
                    <a:pt x="426" y="1315"/>
                    <a:pt x="426" y="1315"/>
                    <a:pt x="426" y="1315"/>
                  </a:cubicBezTo>
                  <a:cubicBezTo>
                    <a:pt x="426" y="1308"/>
                    <a:pt x="426" y="1308"/>
                    <a:pt x="426" y="1308"/>
                  </a:cubicBezTo>
                  <a:moveTo>
                    <a:pt x="440" y="1308"/>
                  </a:moveTo>
                  <a:cubicBezTo>
                    <a:pt x="433" y="1308"/>
                    <a:pt x="433" y="1308"/>
                    <a:pt x="433" y="1308"/>
                  </a:cubicBezTo>
                  <a:cubicBezTo>
                    <a:pt x="433" y="1315"/>
                    <a:pt x="433" y="1315"/>
                    <a:pt x="433" y="1315"/>
                  </a:cubicBezTo>
                  <a:cubicBezTo>
                    <a:pt x="440" y="1315"/>
                    <a:pt x="440" y="1315"/>
                    <a:pt x="440" y="1315"/>
                  </a:cubicBezTo>
                  <a:cubicBezTo>
                    <a:pt x="440" y="1308"/>
                    <a:pt x="440" y="1308"/>
                    <a:pt x="440" y="1308"/>
                  </a:cubicBezTo>
                  <a:moveTo>
                    <a:pt x="455" y="1308"/>
                  </a:moveTo>
                  <a:cubicBezTo>
                    <a:pt x="448" y="1308"/>
                    <a:pt x="448" y="1308"/>
                    <a:pt x="448" y="1308"/>
                  </a:cubicBezTo>
                  <a:cubicBezTo>
                    <a:pt x="448" y="1315"/>
                    <a:pt x="448" y="1315"/>
                    <a:pt x="448" y="1315"/>
                  </a:cubicBezTo>
                  <a:cubicBezTo>
                    <a:pt x="455" y="1315"/>
                    <a:pt x="455" y="1315"/>
                    <a:pt x="455" y="1315"/>
                  </a:cubicBezTo>
                  <a:cubicBezTo>
                    <a:pt x="455" y="1308"/>
                    <a:pt x="455" y="1308"/>
                    <a:pt x="455" y="1308"/>
                  </a:cubicBezTo>
                  <a:moveTo>
                    <a:pt x="470" y="1308"/>
                  </a:moveTo>
                  <a:cubicBezTo>
                    <a:pt x="463" y="1308"/>
                    <a:pt x="463" y="1308"/>
                    <a:pt x="463" y="1308"/>
                  </a:cubicBezTo>
                  <a:cubicBezTo>
                    <a:pt x="463" y="1315"/>
                    <a:pt x="463" y="1315"/>
                    <a:pt x="463" y="1315"/>
                  </a:cubicBezTo>
                  <a:cubicBezTo>
                    <a:pt x="470" y="1315"/>
                    <a:pt x="470" y="1315"/>
                    <a:pt x="470" y="1315"/>
                  </a:cubicBezTo>
                  <a:cubicBezTo>
                    <a:pt x="470" y="1308"/>
                    <a:pt x="470" y="1308"/>
                    <a:pt x="470" y="1308"/>
                  </a:cubicBezTo>
                  <a:moveTo>
                    <a:pt x="485" y="1308"/>
                  </a:moveTo>
                  <a:cubicBezTo>
                    <a:pt x="478" y="1308"/>
                    <a:pt x="478" y="1308"/>
                    <a:pt x="478" y="1308"/>
                  </a:cubicBezTo>
                  <a:cubicBezTo>
                    <a:pt x="478" y="1315"/>
                    <a:pt x="478" y="1315"/>
                    <a:pt x="478" y="1315"/>
                  </a:cubicBezTo>
                  <a:cubicBezTo>
                    <a:pt x="485" y="1315"/>
                    <a:pt x="485" y="1315"/>
                    <a:pt x="485" y="1315"/>
                  </a:cubicBezTo>
                  <a:cubicBezTo>
                    <a:pt x="485" y="1308"/>
                    <a:pt x="485" y="1308"/>
                    <a:pt x="485" y="1308"/>
                  </a:cubicBezTo>
                  <a:moveTo>
                    <a:pt x="499" y="1308"/>
                  </a:moveTo>
                  <a:cubicBezTo>
                    <a:pt x="492" y="1308"/>
                    <a:pt x="492" y="1308"/>
                    <a:pt x="492" y="1308"/>
                  </a:cubicBezTo>
                  <a:cubicBezTo>
                    <a:pt x="492" y="1315"/>
                    <a:pt x="492" y="1315"/>
                    <a:pt x="492" y="1315"/>
                  </a:cubicBezTo>
                  <a:cubicBezTo>
                    <a:pt x="499" y="1315"/>
                    <a:pt x="499" y="1315"/>
                    <a:pt x="499" y="1315"/>
                  </a:cubicBezTo>
                  <a:cubicBezTo>
                    <a:pt x="499" y="1308"/>
                    <a:pt x="499" y="1308"/>
                    <a:pt x="499" y="1308"/>
                  </a:cubicBezTo>
                  <a:moveTo>
                    <a:pt x="514" y="1308"/>
                  </a:moveTo>
                  <a:cubicBezTo>
                    <a:pt x="507" y="1308"/>
                    <a:pt x="507" y="1308"/>
                    <a:pt x="507" y="1308"/>
                  </a:cubicBezTo>
                  <a:cubicBezTo>
                    <a:pt x="507" y="1315"/>
                    <a:pt x="507" y="1315"/>
                    <a:pt x="507" y="1315"/>
                  </a:cubicBezTo>
                  <a:cubicBezTo>
                    <a:pt x="514" y="1315"/>
                    <a:pt x="514" y="1315"/>
                    <a:pt x="514" y="1315"/>
                  </a:cubicBezTo>
                  <a:cubicBezTo>
                    <a:pt x="514" y="1308"/>
                    <a:pt x="514" y="1308"/>
                    <a:pt x="514" y="1308"/>
                  </a:cubicBezTo>
                  <a:moveTo>
                    <a:pt x="529" y="1308"/>
                  </a:moveTo>
                  <a:cubicBezTo>
                    <a:pt x="522" y="1308"/>
                    <a:pt x="522" y="1308"/>
                    <a:pt x="522" y="1308"/>
                  </a:cubicBezTo>
                  <a:cubicBezTo>
                    <a:pt x="522" y="1315"/>
                    <a:pt x="522" y="1315"/>
                    <a:pt x="522" y="1315"/>
                  </a:cubicBezTo>
                  <a:cubicBezTo>
                    <a:pt x="529" y="1315"/>
                    <a:pt x="529" y="1315"/>
                    <a:pt x="529" y="1315"/>
                  </a:cubicBezTo>
                  <a:cubicBezTo>
                    <a:pt x="529" y="1308"/>
                    <a:pt x="529" y="1308"/>
                    <a:pt x="529" y="1308"/>
                  </a:cubicBezTo>
                  <a:moveTo>
                    <a:pt x="204" y="1294"/>
                  </a:moveTo>
                  <a:cubicBezTo>
                    <a:pt x="197" y="1294"/>
                    <a:pt x="197" y="1294"/>
                    <a:pt x="197" y="1294"/>
                  </a:cubicBezTo>
                  <a:cubicBezTo>
                    <a:pt x="197" y="1301"/>
                    <a:pt x="197" y="1301"/>
                    <a:pt x="197" y="1301"/>
                  </a:cubicBezTo>
                  <a:cubicBezTo>
                    <a:pt x="204" y="1301"/>
                    <a:pt x="204" y="1301"/>
                    <a:pt x="204" y="1301"/>
                  </a:cubicBezTo>
                  <a:cubicBezTo>
                    <a:pt x="204" y="1294"/>
                    <a:pt x="204" y="1294"/>
                    <a:pt x="204" y="1294"/>
                  </a:cubicBezTo>
                  <a:moveTo>
                    <a:pt x="219" y="1294"/>
                  </a:moveTo>
                  <a:cubicBezTo>
                    <a:pt x="212" y="1294"/>
                    <a:pt x="212" y="1294"/>
                    <a:pt x="212" y="1294"/>
                  </a:cubicBezTo>
                  <a:cubicBezTo>
                    <a:pt x="212" y="1301"/>
                    <a:pt x="212" y="1301"/>
                    <a:pt x="212" y="1301"/>
                  </a:cubicBezTo>
                  <a:cubicBezTo>
                    <a:pt x="219" y="1301"/>
                    <a:pt x="219" y="1301"/>
                    <a:pt x="219" y="1301"/>
                  </a:cubicBezTo>
                  <a:cubicBezTo>
                    <a:pt x="219" y="1294"/>
                    <a:pt x="219" y="1294"/>
                    <a:pt x="219" y="1294"/>
                  </a:cubicBezTo>
                  <a:moveTo>
                    <a:pt x="234" y="1294"/>
                  </a:moveTo>
                  <a:cubicBezTo>
                    <a:pt x="227" y="1294"/>
                    <a:pt x="227" y="1294"/>
                    <a:pt x="227" y="1294"/>
                  </a:cubicBezTo>
                  <a:cubicBezTo>
                    <a:pt x="227" y="1301"/>
                    <a:pt x="227" y="1301"/>
                    <a:pt x="227" y="1301"/>
                  </a:cubicBezTo>
                  <a:cubicBezTo>
                    <a:pt x="234" y="1301"/>
                    <a:pt x="234" y="1301"/>
                    <a:pt x="234" y="1301"/>
                  </a:cubicBezTo>
                  <a:cubicBezTo>
                    <a:pt x="234" y="1294"/>
                    <a:pt x="234" y="1294"/>
                    <a:pt x="234" y="1294"/>
                  </a:cubicBezTo>
                  <a:moveTo>
                    <a:pt x="249" y="1294"/>
                  </a:moveTo>
                  <a:cubicBezTo>
                    <a:pt x="242" y="1294"/>
                    <a:pt x="242" y="1294"/>
                    <a:pt x="242" y="1294"/>
                  </a:cubicBezTo>
                  <a:cubicBezTo>
                    <a:pt x="242" y="1301"/>
                    <a:pt x="242" y="1301"/>
                    <a:pt x="242" y="1301"/>
                  </a:cubicBezTo>
                  <a:cubicBezTo>
                    <a:pt x="249" y="1301"/>
                    <a:pt x="249" y="1301"/>
                    <a:pt x="249" y="1301"/>
                  </a:cubicBezTo>
                  <a:cubicBezTo>
                    <a:pt x="249" y="1294"/>
                    <a:pt x="249" y="1294"/>
                    <a:pt x="249" y="1294"/>
                  </a:cubicBezTo>
                  <a:moveTo>
                    <a:pt x="263" y="1294"/>
                  </a:moveTo>
                  <a:cubicBezTo>
                    <a:pt x="256" y="1294"/>
                    <a:pt x="256" y="1294"/>
                    <a:pt x="256" y="1294"/>
                  </a:cubicBezTo>
                  <a:cubicBezTo>
                    <a:pt x="256" y="1301"/>
                    <a:pt x="256" y="1301"/>
                    <a:pt x="256" y="1301"/>
                  </a:cubicBezTo>
                  <a:cubicBezTo>
                    <a:pt x="263" y="1301"/>
                    <a:pt x="263" y="1301"/>
                    <a:pt x="263" y="1301"/>
                  </a:cubicBezTo>
                  <a:cubicBezTo>
                    <a:pt x="263" y="1294"/>
                    <a:pt x="263" y="1294"/>
                    <a:pt x="263" y="1294"/>
                  </a:cubicBezTo>
                  <a:moveTo>
                    <a:pt x="278" y="1294"/>
                  </a:moveTo>
                  <a:cubicBezTo>
                    <a:pt x="271" y="1294"/>
                    <a:pt x="271" y="1294"/>
                    <a:pt x="271" y="1294"/>
                  </a:cubicBezTo>
                  <a:cubicBezTo>
                    <a:pt x="271" y="1301"/>
                    <a:pt x="271" y="1301"/>
                    <a:pt x="271" y="1301"/>
                  </a:cubicBezTo>
                  <a:cubicBezTo>
                    <a:pt x="278" y="1301"/>
                    <a:pt x="278" y="1301"/>
                    <a:pt x="278" y="1301"/>
                  </a:cubicBezTo>
                  <a:cubicBezTo>
                    <a:pt x="278" y="1294"/>
                    <a:pt x="278" y="1294"/>
                    <a:pt x="278" y="1294"/>
                  </a:cubicBezTo>
                  <a:moveTo>
                    <a:pt x="293" y="1294"/>
                  </a:moveTo>
                  <a:cubicBezTo>
                    <a:pt x="286" y="1294"/>
                    <a:pt x="286" y="1294"/>
                    <a:pt x="286" y="1294"/>
                  </a:cubicBezTo>
                  <a:cubicBezTo>
                    <a:pt x="286" y="1301"/>
                    <a:pt x="286" y="1301"/>
                    <a:pt x="286" y="1301"/>
                  </a:cubicBezTo>
                  <a:cubicBezTo>
                    <a:pt x="293" y="1301"/>
                    <a:pt x="293" y="1301"/>
                    <a:pt x="293" y="1301"/>
                  </a:cubicBezTo>
                  <a:cubicBezTo>
                    <a:pt x="293" y="1294"/>
                    <a:pt x="293" y="1294"/>
                    <a:pt x="293" y="1294"/>
                  </a:cubicBezTo>
                  <a:moveTo>
                    <a:pt x="308" y="1294"/>
                  </a:moveTo>
                  <a:cubicBezTo>
                    <a:pt x="301" y="1294"/>
                    <a:pt x="301" y="1294"/>
                    <a:pt x="301" y="1294"/>
                  </a:cubicBezTo>
                  <a:cubicBezTo>
                    <a:pt x="301" y="1301"/>
                    <a:pt x="301" y="1301"/>
                    <a:pt x="301" y="1301"/>
                  </a:cubicBezTo>
                  <a:cubicBezTo>
                    <a:pt x="308" y="1301"/>
                    <a:pt x="308" y="1301"/>
                    <a:pt x="308" y="1301"/>
                  </a:cubicBezTo>
                  <a:cubicBezTo>
                    <a:pt x="308" y="1294"/>
                    <a:pt x="308" y="1294"/>
                    <a:pt x="308" y="1294"/>
                  </a:cubicBezTo>
                  <a:moveTo>
                    <a:pt x="322" y="1294"/>
                  </a:moveTo>
                  <a:cubicBezTo>
                    <a:pt x="315" y="1294"/>
                    <a:pt x="315" y="1294"/>
                    <a:pt x="315" y="1294"/>
                  </a:cubicBezTo>
                  <a:cubicBezTo>
                    <a:pt x="315" y="1301"/>
                    <a:pt x="315" y="1301"/>
                    <a:pt x="315" y="1301"/>
                  </a:cubicBezTo>
                  <a:cubicBezTo>
                    <a:pt x="322" y="1301"/>
                    <a:pt x="322" y="1301"/>
                    <a:pt x="322" y="1301"/>
                  </a:cubicBezTo>
                  <a:cubicBezTo>
                    <a:pt x="322" y="1294"/>
                    <a:pt x="322" y="1294"/>
                    <a:pt x="322" y="1294"/>
                  </a:cubicBezTo>
                  <a:moveTo>
                    <a:pt x="337" y="1294"/>
                  </a:moveTo>
                  <a:cubicBezTo>
                    <a:pt x="330" y="1294"/>
                    <a:pt x="330" y="1294"/>
                    <a:pt x="330" y="1294"/>
                  </a:cubicBezTo>
                  <a:cubicBezTo>
                    <a:pt x="330" y="1301"/>
                    <a:pt x="330" y="1301"/>
                    <a:pt x="330" y="1301"/>
                  </a:cubicBezTo>
                  <a:cubicBezTo>
                    <a:pt x="337" y="1301"/>
                    <a:pt x="337" y="1301"/>
                    <a:pt x="337" y="1301"/>
                  </a:cubicBezTo>
                  <a:cubicBezTo>
                    <a:pt x="337" y="1294"/>
                    <a:pt x="337" y="1294"/>
                    <a:pt x="337" y="1294"/>
                  </a:cubicBezTo>
                  <a:moveTo>
                    <a:pt x="352" y="1294"/>
                  </a:moveTo>
                  <a:cubicBezTo>
                    <a:pt x="345" y="1294"/>
                    <a:pt x="345" y="1294"/>
                    <a:pt x="345" y="1294"/>
                  </a:cubicBezTo>
                  <a:cubicBezTo>
                    <a:pt x="345" y="1301"/>
                    <a:pt x="345" y="1301"/>
                    <a:pt x="345" y="1301"/>
                  </a:cubicBezTo>
                  <a:cubicBezTo>
                    <a:pt x="352" y="1301"/>
                    <a:pt x="352" y="1301"/>
                    <a:pt x="352" y="1301"/>
                  </a:cubicBezTo>
                  <a:cubicBezTo>
                    <a:pt x="352" y="1294"/>
                    <a:pt x="352" y="1294"/>
                    <a:pt x="352" y="1294"/>
                  </a:cubicBezTo>
                  <a:moveTo>
                    <a:pt x="367" y="1294"/>
                  </a:moveTo>
                  <a:cubicBezTo>
                    <a:pt x="360" y="1294"/>
                    <a:pt x="360" y="1294"/>
                    <a:pt x="360" y="1294"/>
                  </a:cubicBezTo>
                  <a:cubicBezTo>
                    <a:pt x="360" y="1301"/>
                    <a:pt x="360" y="1301"/>
                    <a:pt x="360" y="1301"/>
                  </a:cubicBezTo>
                  <a:cubicBezTo>
                    <a:pt x="367" y="1301"/>
                    <a:pt x="367" y="1301"/>
                    <a:pt x="367" y="1301"/>
                  </a:cubicBezTo>
                  <a:cubicBezTo>
                    <a:pt x="367" y="1294"/>
                    <a:pt x="367" y="1294"/>
                    <a:pt x="367" y="1294"/>
                  </a:cubicBezTo>
                  <a:moveTo>
                    <a:pt x="381" y="1294"/>
                  </a:moveTo>
                  <a:cubicBezTo>
                    <a:pt x="374" y="1294"/>
                    <a:pt x="374" y="1294"/>
                    <a:pt x="374" y="1294"/>
                  </a:cubicBezTo>
                  <a:cubicBezTo>
                    <a:pt x="374" y="1301"/>
                    <a:pt x="374" y="1301"/>
                    <a:pt x="374" y="1301"/>
                  </a:cubicBezTo>
                  <a:cubicBezTo>
                    <a:pt x="381" y="1301"/>
                    <a:pt x="381" y="1301"/>
                    <a:pt x="381" y="1301"/>
                  </a:cubicBezTo>
                  <a:cubicBezTo>
                    <a:pt x="381" y="1294"/>
                    <a:pt x="381" y="1294"/>
                    <a:pt x="381" y="1294"/>
                  </a:cubicBezTo>
                  <a:moveTo>
                    <a:pt x="396" y="1294"/>
                  </a:moveTo>
                  <a:cubicBezTo>
                    <a:pt x="389" y="1294"/>
                    <a:pt x="389" y="1294"/>
                    <a:pt x="389" y="1294"/>
                  </a:cubicBezTo>
                  <a:cubicBezTo>
                    <a:pt x="389" y="1301"/>
                    <a:pt x="389" y="1301"/>
                    <a:pt x="389" y="1301"/>
                  </a:cubicBezTo>
                  <a:cubicBezTo>
                    <a:pt x="396" y="1301"/>
                    <a:pt x="396" y="1301"/>
                    <a:pt x="396" y="1301"/>
                  </a:cubicBezTo>
                  <a:cubicBezTo>
                    <a:pt x="396" y="1294"/>
                    <a:pt x="396" y="1294"/>
                    <a:pt x="396" y="1294"/>
                  </a:cubicBezTo>
                  <a:moveTo>
                    <a:pt x="411" y="1294"/>
                  </a:moveTo>
                  <a:cubicBezTo>
                    <a:pt x="404" y="1294"/>
                    <a:pt x="404" y="1294"/>
                    <a:pt x="404" y="1294"/>
                  </a:cubicBezTo>
                  <a:cubicBezTo>
                    <a:pt x="404" y="1301"/>
                    <a:pt x="404" y="1301"/>
                    <a:pt x="404" y="1301"/>
                  </a:cubicBezTo>
                  <a:cubicBezTo>
                    <a:pt x="411" y="1301"/>
                    <a:pt x="411" y="1301"/>
                    <a:pt x="411" y="1301"/>
                  </a:cubicBezTo>
                  <a:cubicBezTo>
                    <a:pt x="411" y="1294"/>
                    <a:pt x="411" y="1294"/>
                    <a:pt x="411" y="1294"/>
                  </a:cubicBezTo>
                  <a:moveTo>
                    <a:pt x="426" y="1294"/>
                  </a:moveTo>
                  <a:cubicBezTo>
                    <a:pt x="419" y="1294"/>
                    <a:pt x="419" y="1294"/>
                    <a:pt x="419" y="1294"/>
                  </a:cubicBezTo>
                  <a:cubicBezTo>
                    <a:pt x="419" y="1301"/>
                    <a:pt x="419" y="1301"/>
                    <a:pt x="419" y="1301"/>
                  </a:cubicBezTo>
                  <a:cubicBezTo>
                    <a:pt x="426" y="1301"/>
                    <a:pt x="426" y="1301"/>
                    <a:pt x="426" y="1301"/>
                  </a:cubicBezTo>
                  <a:cubicBezTo>
                    <a:pt x="426" y="1294"/>
                    <a:pt x="426" y="1294"/>
                    <a:pt x="426" y="1294"/>
                  </a:cubicBezTo>
                  <a:moveTo>
                    <a:pt x="440" y="1294"/>
                  </a:moveTo>
                  <a:cubicBezTo>
                    <a:pt x="433" y="1294"/>
                    <a:pt x="433" y="1294"/>
                    <a:pt x="433" y="1294"/>
                  </a:cubicBezTo>
                  <a:cubicBezTo>
                    <a:pt x="433" y="1301"/>
                    <a:pt x="433" y="1301"/>
                    <a:pt x="433" y="1301"/>
                  </a:cubicBezTo>
                  <a:cubicBezTo>
                    <a:pt x="440" y="1301"/>
                    <a:pt x="440" y="1301"/>
                    <a:pt x="440" y="1301"/>
                  </a:cubicBezTo>
                  <a:cubicBezTo>
                    <a:pt x="440" y="1294"/>
                    <a:pt x="440" y="1294"/>
                    <a:pt x="440" y="1294"/>
                  </a:cubicBezTo>
                  <a:moveTo>
                    <a:pt x="455" y="1294"/>
                  </a:moveTo>
                  <a:cubicBezTo>
                    <a:pt x="448" y="1294"/>
                    <a:pt x="448" y="1294"/>
                    <a:pt x="448" y="1294"/>
                  </a:cubicBezTo>
                  <a:cubicBezTo>
                    <a:pt x="448" y="1301"/>
                    <a:pt x="448" y="1301"/>
                    <a:pt x="448" y="1301"/>
                  </a:cubicBezTo>
                  <a:cubicBezTo>
                    <a:pt x="455" y="1301"/>
                    <a:pt x="455" y="1301"/>
                    <a:pt x="455" y="1301"/>
                  </a:cubicBezTo>
                  <a:cubicBezTo>
                    <a:pt x="455" y="1294"/>
                    <a:pt x="455" y="1294"/>
                    <a:pt x="455" y="1294"/>
                  </a:cubicBezTo>
                  <a:moveTo>
                    <a:pt x="470" y="1294"/>
                  </a:moveTo>
                  <a:cubicBezTo>
                    <a:pt x="463" y="1294"/>
                    <a:pt x="463" y="1294"/>
                    <a:pt x="463" y="1294"/>
                  </a:cubicBezTo>
                  <a:cubicBezTo>
                    <a:pt x="463" y="1301"/>
                    <a:pt x="463" y="1301"/>
                    <a:pt x="463" y="1301"/>
                  </a:cubicBezTo>
                  <a:cubicBezTo>
                    <a:pt x="470" y="1301"/>
                    <a:pt x="470" y="1301"/>
                    <a:pt x="470" y="1301"/>
                  </a:cubicBezTo>
                  <a:cubicBezTo>
                    <a:pt x="470" y="1294"/>
                    <a:pt x="470" y="1294"/>
                    <a:pt x="470" y="1294"/>
                  </a:cubicBezTo>
                  <a:moveTo>
                    <a:pt x="485" y="1294"/>
                  </a:moveTo>
                  <a:cubicBezTo>
                    <a:pt x="478" y="1294"/>
                    <a:pt x="478" y="1294"/>
                    <a:pt x="478" y="1294"/>
                  </a:cubicBezTo>
                  <a:cubicBezTo>
                    <a:pt x="478" y="1301"/>
                    <a:pt x="478" y="1301"/>
                    <a:pt x="478" y="1301"/>
                  </a:cubicBezTo>
                  <a:cubicBezTo>
                    <a:pt x="485" y="1301"/>
                    <a:pt x="485" y="1301"/>
                    <a:pt x="485" y="1301"/>
                  </a:cubicBezTo>
                  <a:cubicBezTo>
                    <a:pt x="485" y="1294"/>
                    <a:pt x="485" y="1294"/>
                    <a:pt x="485" y="1294"/>
                  </a:cubicBezTo>
                  <a:moveTo>
                    <a:pt x="499" y="1294"/>
                  </a:moveTo>
                  <a:cubicBezTo>
                    <a:pt x="492" y="1294"/>
                    <a:pt x="492" y="1294"/>
                    <a:pt x="492" y="1294"/>
                  </a:cubicBezTo>
                  <a:cubicBezTo>
                    <a:pt x="492" y="1301"/>
                    <a:pt x="492" y="1301"/>
                    <a:pt x="492" y="1301"/>
                  </a:cubicBezTo>
                  <a:cubicBezTo>
                    <a:pt x="499" y="1301"/>
                    <a:pt x="499" y="1301"/>
                    <a:pt x="499" y="1301"/>
                  </a:cubicBezTo>
                  <a:cubicBezTo>
                    <a:pt x="499" y="1294"/>
                    <a:pt x="499" y="1294"/>
                    <a:pt x="499" y="1294"/>
                  </a:cubicBezTo>
                  <a:moveTo>
                    <a:pt x="514" y="1294"/>
                  </a:moveTo>
                  <a:cubicBezTo>
                    <a:pt x="507" y="1294"/>
                    <a:pt x="507" y="1294"/>
                    <a:pt x="507" y="1294"/>
                  </a:cubicBezTo>
                  <a:cubicBezTo>
                    <a:pt x="507" y="1301"/>
                    <a:pt x="507" y="1301"/>
                    <a:pt x="507" y="1301"/>
                  </a:cubicBezTo>
                  <a:cubicBezTo>
                    <a:pt x="514" y="1301"/>
                    <a:pt x="514" y="1301"/>
                    <a:pt x="514" y="1301"/>
                  </a:cubicBezTo>
                  <a:cubicBezTo>
                    <a:pt x="514" y="1294"/>
                    <a:pt x="514" y="1294"/>
                    <a:pt x="514" y="1294"/>
                  </a:cubicBezTo>
                  <a:moveTo>
                    <a:pt x="529" y="1294"/>
                  </a:moveTo>
                  <a:cubicBezTo>
                    <a:pt x="522" y="1294"/>
                    <a:pt x="522" y="1294"/>
                    <a:pt x="522" y="1294"/>
                  </a:cubicBezTo>
                  <a:cubicBezTo>
                    <a:pt x="522" y="1301"/>
                    <a:pt x="522" y="1301"/>
                    <a:pt x="522" y="1301"/>
                  </a:cubicBezTo>
                  <a:cubicBezTo>
                    <a:pt x="529" y="1301"/>
                    <a:pt x="529" y="1301"/>
                    <a:pt x="529" y="1301"/>
                  </a:cubicBezTo>
                  <a:cubicBezTo>
                    <a:pt x="529" y="1294"/>
                    <a:pt x="529" y="1294"/>
                    <a:pt x="529" y="1294"/>
                  </a:cubicBezTo>
                  <a:moveTo>
                    <a:pt x="544" y="1294"/>
                  </a:moveTo>
                  <a:cubicBezTo>
                    <a:pt x="537" y="1294"/>
                    <a:pt x="537" y="1294"/>
                    <a:pt x="537" y="1294"/>
                  </a:cubicBezTo>
                  <a:cubicBezTo>
                    <a:pt x="537" y="1301"/>
                    <a:pt x="537" y="1301"/>
                    <a:pt x="537" y="1301"/>
                  </a:cubicBezTo>
                  <a:cubicBezTo>
                    <a:pt x="544" y="1301"/>
                    <a:pt x="544" y="1301"/>
                    <a:pt x="544" y="1301"/>
                  </a:cubicBezTo>
                  <a:cubicBezTo>
                    <a:pt x="544" y="1294"/>
                    <a:pt x="544" y="1294"/>
                    <a:pt x="544" y="1294"/>
                  </a:cubicBezTo>
                  <a:moveTo>
                    <a:pt x="204" y="1279"/>
                  </a:moveTo>
                  <a:cubicBezTo>
                    <a:pt x="197" y="1279"/>
                    <a:pt x="197" y="1279"/>
                    <a:pt x="197" y="1279"/>
                  </a:cubicBezTo>
                  <a:cubicBezTo>
                    <a:pt x="197" y="1286"/>
                    <a:pt x="197" y="1286"/>
                    <a:pt x="197" y="1286"/>
                  </a:cubicBezTo>
                  <a:cubicBezTo>
                    <a:pt x="204" y="1286"/>
                    <a:pt x="204" y="1286"/>
                    <a:pt x="204" y="1286"/>
                  </a:cubicBezTo>
                  <a:cubicBezTo>
                    <a:pt x="204" y="1279"/>
                    <a:pt x="204" y="1279"/>
                    <a:pt x="204" y="1279"/>
                  </a:cubicBezTo>
                  <a:moveTo>
                    <a:pt x="219" y="1279"/>
                  </a:moveTo>
                  <a:cubicBezTo>
                    <a:pt x="212" y="1279"/>
                    <a:pt x="212" y="1279"/>
                    <a:pt x="212" y="1279"/>
                  </a:cubicBezTo>
                  <a:cubicBezTo>
                    <a:pt x="212" y="1286"/>
                    <a:pt x="212" y="1286"/>
                    <a:pt x="212" y="1286"/>
                  </a:cubicBezTo>
                  <a:cubicBezTo>
                    <a:pt x="219" y="1286"/>
                    <a:pt x="219" y="1286"/>
                    <a:pt x="219" y="1286"/>
                  </a:cubicBezTo>
                  <a:cubicBezTo>
                    <a:pt x="219" y="1279"/>
                    <a:pt x="219" y="1279"/>
                    <a:pt x="219" y="1279"/>
                  </a:cubicBezTo>
                  <a:moveTo>
                    <a:pt x="234" y="1279"/>
                  </a:moveTo>
                  <a:cubicBezTo>
                    <a:pt x="227" y="1279"/>
                    <a:pt x="227" y="1279"/>
                    <a:pt x="227" y="1279"/>
                  </a:cubicBezTo>
                  <a:cubicBezTo>
                    <a:pt x="227" y="1286"/>
                    <a:pt x="227" y="1286"/>
                    <a:pt x="227" y="1286"/>
                  </a:cubicBezTo>
                  <a:cubicBezTo>
                    <a:pt x="234" y="1286"/>
                    <a:pt x="234" y="1286"/>
                    <a:pt x="234" y="1286"/>
                  </a:cubicBezTo>
                  <a:cubicBezTo>
                    <a:pt x="234" y="1279"/>
                    <a:pt x="234" y="1279"/>
                    <a:pt x="234" y="1279"/>
                  </a:cubicBezTo>
                  <a:moveTo>
                    <a:pt x="249" y="1279"/>
                  </a:moveTo>
                  <a:cubicBezTo>
                    <a:pt x="242" y="1279"/>
                    <a:pt x="242" y="1279"/>
                    <a:pt x="242" y="1279"/>
                  </a:cubicBezTo>
                  <a:cubicBezTo>
                    <a:pt x="242" y="1286"/>
                    <a:pt x="242" y="1286"/>
                    <a:pt x="242" y="1286"/>
                  </a:cubicBezTo>
                  <a:cubicBezTo>
                    <a:pt x="249" y="1286"/>
                    <a:pt x="249" y="1286"/>
                    <a:pt x="249" y="1286"/>
                  </a:cubicBezTo>
                  <a:cubicBezTo>
                    <a:pt x="249" y="1279"/>
                    <a:pt x="249" y="1279"/>
                    <a:pt x="249" y="1279"/>
                  </a:cubicBezTo>
                  <a:moveTo>
                    <a:pt x="263" y="1279"/>
                  </a:moveTo>
                  <a:cubicBezTo>
                    <a:pt x="256" y="1279"/>
                    <a:pt x="256" y="1279"/>
                    <a:pt x="256" y="1279"/>
                  </a:cubicBezTo>
                  <a:cubicBezTo>
                    <a:pt x="256" y="1286"/>
                    <a:pt x="256" y="1286"/>
                    <a:pt x="256" y="1286"/>
                  </a:cubicBezTo>
                  <a:cubicBezTo>
                    <a:pt x="263" y="1286"/>
                    <a:pt x="263" y="1286"/>
                    <a:pt x="263" y="1286"/>
                  </a:cubicBezTo>
                  <a:cubicBezTo>
                    <a:pt x="263" y="1279"/>
                    <a:pt x="263" y="1279"/>
                    <a:pt x="263" y="1279"/>
                  </a:cubicBezTo>
                  <a:moveTo>
                    <a:pt x="278" y="1279"/>
                  </a:moveTo>
                  <a:cubicBezTo>
                    <a:pt x="271" y="1279"/>
                    <a:pt x="271" y="1279"/>
                    <a:pt x="271" y="1279"/>
                  </a:cubicBezTo>
                  <a:cubicBezTo>
                    <a:pt x="271" y="1286"/>
                    <a:pt x="271" y="1286"/>
                    <a:pt x="271" y="1286"/>
                  </a:cubicBezTo>
                  <a:cubicBezTo>
                    <a:pt x="278" y="1286"/>
                    <a:pt x="278" y="1286"/>
                    <a:pt x="278" y="1286"/>
                  </a:cubicBezTo>
                  <a:cubicBezTo>
                    <a:pt x="278" y="1279"/>
                    <a:pt x="278" y="1279"/>
                    <a:pt x="278" y="1279"/>
                  </a:cubicBezTo>
                  <a:moveTo>
                    <a:pt x="293" y="1279"/>
                  </a:moveTo>
                  <a:cubicBezTo>
                    <a:pt x="286" y="1279"/>
                    <a:pt x="286" y="1279"/>
                    <a:pt x="286" y="1279"/>
                  </a:cubicBezTo>
                  <a:cubicBezTo>
                    <a:pt x="286" y="1286"/>
                    <a:pt x="286" y="1286"/>
                    <a:pt x="286" y="1286"/>
                  </a:cubicBezTo>
                  <a:cubicBezTo>
                    <a:pt x="293" y="1286"/>
                    <a:pt x="293" y="1286"/>
                    <a:pt x="293" y="1286"/>
                  </a:cubicBezTo>
                  <a:cubicBezTo>
                    <a:pt x="293" y="1279"/>
                    <a:pt x="293" y="1279"/>
                    <a:pt x="293" y="1279"/>
                  </a:cubicBezTo>
                  <a:moveTo>
                    <a:pt x="308" y="1279"/>
                  </a:moveTo>
                  <a:cubicBezTo>
                    <a:pt x="301" y="1279"/>
                    <a:pt x="301" y="1279"/>
                    <a:pt x="301" y="1279"/>
                  </a:cubicBezTo>
                  <a:cubicBezTo>
                    <a:pt x="301" y="1286"/>
                    <a:pt x="301" y="1286"/>
                    <a:pt x="301" y="1286"/>
                  </a:cubicBezTo>
                  <a:cubicBezTo>
                    <a:pt x="308" y="1286"/>
                    <a:pt x="308" y="1286"/>
                    <a:pt x="308" y="1286"/>
                  </a:cubicBezTo>
                  <a:cubicBezTo>
                    <a:pt x="308" y="1279"/>
                    <a:pt x="308" y="1279"/>
                    <a:pt x="308" y="1279"/>
                  </a:cubicBezTo>
                  <a:moveTo>
                    <a:pt x="322" y="1279"/>
                  </a:moveTo>
                  <a:cubicBezTo>
                    <a:pt x="315" y="1279"/>
                    <a:pt x="315" y="1279"/>
                    <a:pt x="315" y="1279"/>
                  </a:cubicBezTo>
                  <a:cubicBezTo>
                    <a:pt x="315" y="1286"/>
                    <a:pt x="315" y="1286"/>
                    <a:pt x="315" y="1286"/>
                  </a:cubicBezTo>
                  <a:cubicBezTo>
                    <a:pt x="322" y="1286"/>
                    <a:pt x="322" y="1286"/>
                    <a:pt x="322" y="1286"/>
                  </a:cubicBezTo>
                  <a:cubicBezTo>
                    <a:pt x="322" y="1279"/>
                    <a:pt x="322" y="1279"/>
                    <a:pt x="322" y="1279"/>
                  </a:cubicBezTo>
                  <a:moveTo>
                    <a:pt x="337" y="1279"/>
                  </a:moveTo>
                  <a:cubicBezTo>
                    <a:pt x="330" y="1279"/>
                    <a:pt x="330" y="1279"/>
                    <a:pt x="330" y="1279"/>
                  </a:cubicBezTo>
                  <a:cubicBezTo>
                    <a:pt x="330" y="1286"/>
                    <a:pt x="330" y="1286"/>
                    <a:pt x="330" y="1286"/>
                  </a:cubicBezTo>
                  <a:cubicBezTo>
                    <a:pt x="337" y="1286"/>
                    <a:pt x="337" y="1286"/>
                    <a:pt x="337" y="1286"/>
                  </a:cubicBezTo>
                  <a:cubicBezTo>
                    <a:pt x="337" y="1279"/>
                    <a:pt x="337" y="1279"/>
                    <a:pt x="337" y="1279"/>
                  </a:cubicBezTo>
                  <a:moveTo>
                    <a:pt x="352" y="1279"/>
                  </a:moveTo>
                  <a:cubicBezTo>
                    <a:pt x="345" y="1279"/>
                    <a:pt x="345" y="1279"/>
                    <a:pt x="345" y="1279"/>
                  </a:cubicBezTo>
                  <a:cubicBezTo>
                    <a:pt x="345" y="1286"/>
                    <a:pt x="345" y="1286"/>
                    <a:pt x="345" y="1286"/>
                  </a:cubicBezTo>
                  <a:cubicBezTo>
                    <a:pt x="352" y="1286"/>
                    <a:pt x="352" y="1286"/>
                    <a:pt x="352" y="1286"/>
                  </a:cubicBezTo>
                  <a:cubicBezTo>
                    <a:pt x="352" y="1279"/>
                    <a:pt x="352" y="1279"/>
                    <a:pt x="352" y="1279"/>
                  </a:cubicBezTo>
                  <a:moveTo>
                    <a:pt x="367" y="1279"/>
                  </a:moveTo>
                  <a:cubicBezTo>
                    <a:pt x="360" y="1279"/>
                    <a:pt x="360" y="1279"/>
                    <a:pt x="360" y="1279"/>
                  </a:cubicBezTo>
                  <a:cubicBezTo>
                    <a:pt x="360" y="1286"/>
                    <a:pt x="360" y="1286"/>
                    <a:pt x="360" y="1286"/>
                  </a:cubicBezTo>
                  <a:cubicBezTo>
                    <a:pt x="367" y="1286"/>
                    <a:pt x="367" y="1286"/>
                    <a:pt x="367" y="1286"/>
                  </a:cubicBezTo>
                  <a:cubicBezTo>
                    <a:pt x="367" y="1279"/>
                    <a:pt x="367" y="1279"/>
                    <a:pt x="367" y="1279"/>
                  </a:cubicBezTo>
                  <a:moveTo>
                    <a:pt x="381" y="1279"/>
                  </a:moveTo>
                  <a:cubicBezTo>
                    <a:pt x="374" y="1279"/>
                    <a:pt x="374" y="1279"/>
                    <a:pt x="374" y="1279"/>
                  </a:cubicBezTo>
                  <a:cubicBezTo>
                    <a:pt x="374" y="1286"/>
                    <a:pt x="374" y="1286"/>
                    <a:pt x="374" y="1286"/>
                  </a:cubicBezTo>
                  <a:cubicBezTo>
                    <a:pt x="381" y="1286"/>
                    <a:pt x="381" y="1286"/>
                    <a:pt x="381" y="1286"/>
                  </a:cubicBezTo>
                  <a:cubicBezTo>
                    <a:pt x="381" y="1279"/>
                    <a:pt x="381" y="1279"/>
                    <a:pt x="381" y="1279"/>
                  </a:cubicBezTo>
                  <a:moveTo>
                    <a:pt x="396" y="1279"/>
                  </a:moveTo>
                  <a:cubicBezTo>
                    <a:pt x="389" y="1279"/>
                    <a:pt x="389" y="1279"/>
                    <a:pt x="389" y="1279"/>
                  </a:cubicBezTo>
                  <a:cubicBezTo>
                    <a:pt x="389" y="1286"/>
                    <a:pt x="389" y="1286"/>
                    <a:pt x="389" y="1286"/>
                  </a:cubicBezTo>
                  <a:cubicBezTo>
                    <a:pt x="396" y="1286"/>
                    <a:pt x="396" y="1286"/>
                    <a:pt x="396" y="1286"/>
                  </a:cubicBezTo>
                  <a:cubicBezTo>
                    <a:pt x="396" y="1279"/>
                    <a:pt x="396" y="1279"/>
                    <a:pt x="396" y="1279"/>
                  </a:cubicBezTo>
                  <a:moveTo>
                    <a:pt x="411" y="1279"/>
                  </a:moveTo>
                  <a:cubicBezTo>
                    <a:pt x="404" y="1279"/>
                    <a:pt x="404" y="1279"/>
                    <a:pt x="404" y="1279"/>
                  </a:cubicBezTo>
                  <a:cubicBezTo>
                    <a:pt x="404" y="1286"/>
                    <a:pt x="404" y="1286"/>
                    <a:pt x="404" y="1286"/>
                  </a:cubicBezTo>
                  <a:cubicBezTo>
                    <a:pt x="411" y="1286"/>
                    <a:pt x="411" y="1286"/>
                    <a:pt x="411" y="1286"/>
                  </a:cubicBezTo>
                  <a:cubicBezTo>
                    <a:pt x="411" y="1279"/>
                    <a:pt x="411" y="1279"/>
                    <a:pt x="411" y="1279"/>
                  </a:cubicBezTo>
                  <a:moveTo>
                    <a:pt x="426" y="1279"/>
                  </a:moveTo>
                  <a:cubicBezTo>
                    <a:pt x="419" y="1279"/>
                    <a:pt x="419" y="1279"/>
                    <a:pt x="419" y="1279"/>
                  </a:cubicBezTo>
                  <a:cubicBezTo>
                    <a:pt x="419" y="1286"/>
                    <a:pt x="419" y="1286"/>
                    <a:pt x="419" y="1286"/>
                  </a:cubicBezTo>
                  <a:cubicBezTo>
                    <a:pt x="426" y="1286"/>
                    <a:pt x="426" y="1286"/>
                    <a:pt x="426" y="1286"/>
                  </a:cubicBezTo>
                  <a:cubicBezTo>
                    <a:pt x="426" y="1279"/>
                    <a:pt x="426" y="1279"/>
                    <a:pt x="426" y="1279"/>
                  </a:cubicBezTo>
                  <a:moveTo>
                    <a:pt x="440" y="1279"/>
                  </a:moveTo>
                  <a:cubicBezTo>
                    <a:pt x="433" y="1279"/>
                    <a:pt x="433" y="1279"/>
                    <a:pt x="433" y="1279"/>
                  </a:cubicBezTo>
                  <a:cubicBezTo>
                    <a:pt x="433" y="1286"/>
                    <a:pt x="433" y="1286"/>
                    <a:pt x="433" y="1286"/>
                  </a:cubicBezTo>
                  <a:cubicBezTo>
                    <a:pt x="440" y="1286"/>
                    <a:pt x="440" y="1286"/>
                    <a:pt x="440" y="1286"/>
                  </a:cubicBezTo>
                  <a:cubicBezTo>
                    <a:pt x="440" y="1279"/>
                    <a:pt x="440" y="1279"/>
                    <a:pt x="440" y="1279"/>
                  </a:cubicBezTo>
                  <a:moveTo>
                    <a:pt x="455" y="1279"/>
                  </a:moveTo>
                  <a:cubicBezTo>
                    <a:pt x="448" y="1279"/>
                    <a:pt x="448" y="1279"/>
                    <a:pt x="448" y="1279"/>
                  </a:cubicBezTo>
                  <a:cubicBezTo>
                    <a:pt x="448" y="1286"/>
                    <a:pt x="448" y="1286"/>
                    <a:pt x="448" y="1286"/>
                  </a:cubicBezTo>
                  <a:cubicBezTo>
                    <a:pt x="455" y="1286"/>
                    <a:pt x="455" y="1286"/>
                    <a:pt x="455" y="1286"/>
                  </a:cubicBezTo>
                  <a:cubicBezTo>
                    <a:pt x="455" y="1279"/>
                    <a:pt x="455" y="1279"/>
                    <a:pt x="455" y="1279"/>
                  </a:cubicBezTo>
                  <a:moveTo>
                    <a:pt x="470" y="1279"/>
                  </a:moveTo>
                  <a:cubicBezTo>
                    <a:pt x="463" y="1279"/>
                    <a:pt x="463" y="1279"/>
                    <a:pt x="463" y="1279"/>
                  </a:cubicBezTo>
                  <a:cubicBezTo>
                    <a:pt x="463" y="1286"/>
                    <a:pt x="463" y="1286"/>
                    <a:pt x="463" y="1286"/>
                  </a:cubicBezTo>
                  <a:cubicBezTo>
                    <a:pt x="470" y="1286"/>
                    <a:pt x="470" y="1286"/>
                    <a:pt x="470" y="1286"/>
                  </a:cubicBezTo>
                  <a:cubicBezTo>
                    <a:pt x="470" y="1279"/>
                    <a:pt x="470" y="1279"/>
                    <a:pt x="470" y="1279"/>
                  </a:cubicBezTo>
                  <a:moveTo>
                    <a:pt x="485" y="1279"/>
                  </a:moveTo>
                  <a:cubicBezTo>
                    <a:pt x="478" y="1279"/>
                    <a:pt x="478" y="1279"/>
                    <a:pt x="478" y="1279"/>
                  </a:cubicBezTo>
                  <a:cubicBezTo>
                    <a:pt x="478" y="1286"/>
                    <a:pt x="478" y="1286"/>
                    <a:pt x="478" y="1286"/>
                  </a:cubicBezTo>
                  <a:cubicBezTo>
                    <a:pt x="485" y="1286"/>
                    <a:pt x="485" y="1286"/>
                    <a:pt x="485" y="1286"/>
                  </a:cubicBezTo>
                  <a:cubicBezTo>
                    <a:pt x="485" y="1279"/>
                    <a:pt x="485" y="1279"/>
                    <a:pt x="485" y="1279"/>
                  </a:cubicBezTo>
                  <a:moveTo>
                    <a:pt x="499" y="1279"/>
                  </a:moveTo>
                  <a:cubicBezTo>
                    <a:pt x="492" y="1279"/>
                    <a:pt x="492" y="1279"/>
                    <a:pt x="492" y="1279"/>
                  </a:cubicBezTo>
                  <a:cubicBezTo>
                    <a:pt x="492" y="1286"/>
                    <a:pt x="492" y="1286"/>
                    <a:pt x="492" y="1286"/>
                  </a:cubicBezTo>
                  <a:cubicBezTo>
                    <a:pt x="499" y="1286"/>
                    <a:pt x="499" y="1286"/>
                    <a:pt x="499" y="1286"/>
                  </a:cubicBezTo>
                  <a:cubicBezTo>
                    <a:pt x="499" y="1279"/>
                    <a:pt x="499" y="1279"/>
                    <a:pt x="499" y="1279"/>
                  </a:cubicBezTo>
                  <a:moveTo>
                    <a:pt x="514" y="1279"/>
                  </a:moveTo>
                  <a:cubicBezTo>
                    <a:pt x="507" y="1279"/>
                    <a:pt x="507" y="1279"/>
                    <a:pt x="507" y="1279"/>
                  </a:cubicBezTo>
                  <a:cubicBezTo>
                    <a:pt x="507" y="1286"/>
                    <a:pt x="507" y="1286"/>
                    <a:pt x="507" y="1286"/>
                  </a:cubicBezTo>
                  <a:cubicBezTo>
                    <a:pt x="514" y="1286"/>
                    <a:pt x="514" y="1286"/>
                    <a:pt x="514" y="1286"/>
                  </a:cubicBezTo>
                  <a:cubicBezTo>
                    <a:pt x="514" y="1279"/>
                    <a:pt x="514" y="1279"/>
                    <a:pt x="514" y="1279"/>
                  </a:cubicBezTo>
                  <a:moveTo>
                    <a:pt x="529" y="1279"/>
                  </a:moveTo>
                  <a:cubicBezTo>
                    <a:pt x="522" y="1279"/>
                    <a:pt x="522" y="1279"/>
                    <a:pt x="522" y="1279"/>
                  </a:cubicBezTo>
                  <a:cubicBezTo>
                    <a:pt x="522" y="1286"/>
                    <a:pt x="522" y="1286"/>
                    <a:pt x="522" y="1286"/>
                  </a:cubicBezTo>
                  <a:cubicBezTo>
                    <a:pt x="529" y="1286"/>
                    <a:pt x="529" y="1286"/>
                    <a:pt x="529" y="1286"/>
                  </a:cubicBezTo>
                  <a:cubicBezTo>
                    <a:pt x="529" y="1279"/>
                    <a:pt x="529" y="1279"/>
                    <a:pt x="529" y="1279"/>
                  </a:cubicBezTo>
                  <a:moveTo>
                    <a:pt x="544" y="1279"/>
                  </a:moveTo>
                  <a:cubicBezTo>
                    <a:pt x="537" y="1279"/>
                    <a:pt x="537" y="1279"/>
                    <a:pt x="537" y="1279"/>
                  </a:cubicBezTo>
                  <a:cubicBezTo>
                    <a:pt x="537" y="1286"/>
                    <a:pt x="537" y="1286"/>
                    <a:pt x="537" y="1286"/>
                  </a:cubicBezTo>
                  <a:cubicBezTo>
                    <a:pt x="544" y="1286"/>
                    <a:pt x="544" y="1286"/>
                    <a:pt x="544" y="1286"/>
                  </a:cubicBezTo>
                  <a:cubicBezTo>
                    <a:pt x="544" y="1279"/>
                    <a:pt x="544" y="1279"/>
                    <a:pt x="544" y="1279"/>
                  </a:cubicBezTo>
                  <a:moveTo>
                    <a:pt x="204" y="1264"/>
                  </a:moveTo>
                  <a:cubicBezTo>
                    <a:pt x="197" y="1264"/>
                    <a:pt x="197" y="1264"/>
                    <a:pt x="197" y="1264"/>
                  </a:cubicBezTo>
                  <a:cubicBezTo>
                    <a:pt x="197" y="1271"/>
                    <a:pt x="197" y="1271"/>
                    <a:pt x="197" y="1271"/>
                  </a:cubicBezTo>
                  <a:cubicBezTo>
                    <a:pt x="204" y="1271"/>
                    <a:pt x="204" y="1271"/>
                    <a:pt x="204" y="1271"/>
                  </a:cubicBezTo>
                  <a:cubicBezTo>
                    <a:pt x="204" y="1264"/>
                    <a:pt x="204" y="1264"/>
                    <a:pt x="204" y="1264"/>
                  </a:cubicBezTo>
                  <a:moveTo>
                    <a:pt x="219" y="1264"/>
                  </a:moveTo>
                  <a:cubicBezTo>
                    <a:pt x="212" y="1264"/>
                    <a:pt x="212" y="1264"/>
                    <a:pt x="212" y="1264"/>
                  </a:cubicBezTo>
                  <a:cubicBezTo>
                    <a:pt x="212" y="1271"/>
                    <a:pt x="212" y="1271"/>
                    <a:pt x="212" y="1271"/>
                  </a:cubicBezTo>
                  <a:cubicBezTo>
                    <a:pt x="219" y="1271"/>
                    <a:pt x="219" y="1271"/>
                    <a:pt x="219" y="1271"/>
                  </a:cubicBezTo>
                  <a:cubicBezTo>
                    <a:pt x="219" y="1264"/>
                    <a:pt x="219" y="1264"/>
                    <a:pt x="219" y="1264"/>
                  </a:cubicBezTo>
                  <a:moveTo>
                    <a:pt x="234" y="1264"/>
                  </a:moveTo>
                  <a:cubicBezTo>
                    <a:pt x="227" y="1264"/>
                    <a:pt x="227" y="1264"/>
                    <a:pt x="227" y="1264"/>
                  </a:cubicBezTo>
                  <a:cubicBezTo>
                    <a:pt x="227" y="1271"/>
                    <a:pt x="227" y="1271"/>
                    <a:pt x="227" y="1271"/>
                  </a:cubicBezTo>
                  <a:cubicBezTo>
                    <a:pt x="234" y="1271"/>
                    <a:pt x="234" y="1271"/>
                    <a:pt x="234" y="1271"/>
                  </a:cubicBezTo>
                  <a:cubicBezTo>
                    <a:pt x="234" y="1264"/>
                    <a:pt x="234" y="1264"/>
                    <a:pt x="234" y="1264"/>
                  </a:cubicBezTo>
                  <a:moveTo>
                    <a:pt x="249" y="1264"/>
                  </a:moveTo>
                  <a:cubicBezTo>
                    <a:pt x="242" y="1264"/>
                    <a:pt x="242" y="1264"/>
                    <a:pt x="242" y="1264"/>
                  </a:cubicBezTo>
                  <a:cubicBezTo>
                    <a:pt x="242" y="1271"/>
                    <a:pt x="242" y="1271"/>
                    <a:pt x="242" y="1271"/>
                  </a:cubicBezTo>
                  <a:cubicBezTo>
                    <a:pt x="249" y="1271"/>
                    <a:pt x="249" y="1271"/>
                    <a:pt x="249" y="1271"/>
                  </a:cubicBezTo>
                  <a:cubicBezTo>
                    <a:pt x="249" y="1264"/>
                    <a:pt x="249" y="1264"/>
                    <a:pt x="249" y="1264"/>
                  </a:cubicBezTo>
                  <a:moveTo>
                    <a:pt x="263" y="1264"/>
                  </a:moveTo>
                  <a:cubicBezTo>
                    <a:pt x="256" y="1264"/>
                    <a:pt x="256" y="1264"/>
                    <a:pt x="256" y="1264"/>
                  </a:cubicBezTo>
                  <a:cubicBezTo>
                    <a:pt x="256" y="1271"/>
                    <a:pt x="256" y="1271"/>
                    <a:pt x="256" y="1271"/>
                  </a:cubicBezTo>
                  <a:cubicBezTo>
                    <a:pt x="263" y="1271"/>
                    <a:pt x="263" y="1271"/>
                    <a:pt x="263" y="1271"/>
                  </a:cubicBezTo>
                  <a:cubicBezTo>
                    <a:pt x="263" y="1264"/>
                    <a:pt x="263" y="1264"/>
                    <a:pt x="263" y="1264"/>
                  </a:cubicBezTo>
                  <a:moveTo>
                    <a:pt x="278" y="1264"/>
                  </a:moveTo>
                  <a:cubicBezTo>
                    <a:pt x="271" y="1264"/>
                    <a:pt x="271" y="1264"/>
                    <a:pt x="271" y="1264"/>
                  </a:cubicBezTo>
                  <a:cubicBezTo>
                    <a:pt x="271" y="1271"/>
                    <a:pt x="271" y="1271"/>
                    <a:pt x="271" y="1271"/>
                  </a:cubicBezTo>
                  <a:cubicBezTo>
                    <a:pt x="278" y="1271"/>
                    <a:pt x="278" y="1271"/>
                    <a:pt x="278" y="1271"/>
                  </a:cubicBezTo>
                  <a:cubicBezTo>
                    <a:pt x="278" y="1264"/>
                    <a:pt x="278" y="1264"/>
                    <a:pt x="278" y="1264"/>
                  </a:cubicBezTo>
                  <a:moveTo>
                    <a:pt x="293" y="1264"/>
                  </a:moveTo>
                  <a:cubicBezTo>
                    <a:pt x="286" y="1264"/>
                    <a:pt x="286" y="1264"/>
                    <a:pt x="286" y="1264"/>
                  </a:cubicBezTo>
                  <a:cubicBezTo>
                    <a:pt x="286" y="1271"/>
                    <a:pt x="286" y="1271"/>
                    <a:pt x="286" y="1271"/>
                  </a:cubicBezTo>
                  <a:cubicBezTo>
                    <a:pt x="293" y="1271"/>
                    <a:pt x="293" y="1271"/>
                    <a:pt x="293" y="1271"/>
                  </a:cubicBezTo>
                  <a:cubicBezTo>
                    <a:pt x="293" y="1264"/>
                    <a:pt x="293" y="1264"/>
                    <a:pt x="293" y="1264"/>
                  </a:cubicBezTo>
                  <a:moveTo>
                    <a:pt x="308" y="1264"/>
                  </a:moveTo>
                  <a:cubicBezTo>
                    <a:pt x="301" y="1264"/>
                    <a:pt x="301" y="1264"/>
                    <a:pt x="301" y="1264"/>
                  </a:cubicBezTo>
                  <a:cubicBezTo>
                    <a:pt x="301" y="1271"/>
                    <a:pt x="301" y="1271"/>
                    <a:pt x="301" y="1271"/>
                  </a:cubicBezTo>
                  <a:cubicBezTo>
                    <a:pt x="308" y="1271"/>
                    <a:pt x="308" y="1271"/>
                    <a:pt x="308" y="1271"/>
                  </a:cubicBezTo>
                  <a:cubicBezTo>
                    <a:pt x="308" y="1264"/>
                    <a:pt x="308" y="1264"/>
                    <a:pt x="308" y="1264"/>
                  </a:cubicBezTo>
                  <a:moveTo>
                    <a:pt x="322" y="1264"/>
                  </a:moveTo>
                  <a:cubicBezTo>
                    <a:pt x="315" y="1264"/>
                    <a:pt x="315" y="1264"/>
                    <a:pt x="315" y="1264"/>
                  </a:cubicBezTo>
                  <a:cubicBezTo>
                    <a:pt x="315" y="1271"/>
                    <a:pt x="315" y="1271"/>
                    <a:pt x="315" y="1271"/>
                  </a:cubicBezTo>
                  <a:cubicBezTo>
                    <a:pt x="322" y="1271"/>
                    <a:pt x="322" y="1271"/>
                    <a:pt x="322" y="1271"/>
                  </a:cubicBezTo>
                  <a:cubicBezTo>
                    <a:pt x="322" y="1264"/>
                    <a:pt x="322" y="1264"/>
                    <a:pt x="322" y="1264"/>
                  </a:cubicBezTo>
                  <a:moveTo>
                    <a:pt x="337" y="1264"/>
                  </a:moveTo>
                  <a:cubicBezTo>
                    <a:pt x="330" y="1264"/>
                    <a:pt x="330" y="1264"/>
                    <a:pt x="330" y="1264"/>
                  </a:cubicBezTo>
                  <a:cubicBezTo>
                    <a:pt x="330" y="1271"/>
                    <a:pt x="330" y="1271"/>
                    <a:pt x="330" y="1271"/>
                  </a:cubicBezTo>
                  <a:cubicBezTo>
                    <a:pt x="337" y="1271"/>
                    <a:pt x="337" y="1271"/>
                    <a:pt x="337" y="1271"/>
                  </a:cubicBezTo>
                  <a:cubicBezTo>
                    <a:pt x="337" y="1264"/>
                    <a:pt x="337" y="1264"/>
                    <a:pt x="337" y="1264"/>
                  </a:cubicBezTo>
                  <a:moveTo>
                    <a:pt x="352" y="1264"/>
                  </a:moveTo>
                  <a:cubicBezTo>
                    <a:pt x="345" y="1264"/>
                    <a:pt x="345" y="1264"/>
                    <a:pt x="345" y="1264"/>
                  </a:cubicBezTo>
                  <a:cubicBezTo>
                    <a:pt x="345" y="1271"/>
                    <a:pt x="345" y="1271"/>
                    <a:pt x="345" y="1271"/>
                  </a:cubicBezTo>
                  <a:cubicBezTo>
                    <a:pt x="352" y="1271"/>
                    <a:pt x="352" y="1271"/>
                    <a:pt x="352" y="1271"/>
                  </a:cubicBezTo>
                  <a:cubicBezTo>
                    <a:pt x="352" y="1264"/>
                    <a:pt x="352" y="1264"/>
                    <a:pt x="352" y="1264"/>
                  </a:cubicBezTo>
                  <a:moveTo>
                    <a:pt x="367" y="1264"/>
                  </a:moveTo>
                  <a:cubicBezTo>
                    <a:pt x="360" y="1264"/>
                    <a:pt x="360" y="1264"/>
                    <a:pt x="360" y="1264"/>
                  </a:cubicBezTo>
                  <a:cubicBezTo>
                    <a:pt x="360" y="1271"/>
                    <a:pt x="360" y="1271"/>
                    <a:pt x="360" y="1271"/>
                  </a:cubicBezTo>
                  <a:cubicBezTo>
                    <a:pt x="367" y="1271"/>
                    <a:pt x="367" y="1271"/>
                    <a:pt x="367" y="1271"/>
                  </a:cubicBezTo>
                  <a:cubicBezTo>
                    <a:pt x="367" y="1264"/>
                    <a:pt x="367" y="1264"/>
                    <a:pt x="367" y="1264"/>
                  </a:cubicBezTo>
                  <a:moveTo>
                    <a:pt x="381" y="1264"/>
                  </a:moveTo>
                  <a:cubicBezTo>
                    <a:pt x="374" y="1264"/>
                    <a:pt x="374" y="1264"/>
                    <a:pt x="374" y="1264"/>
                  </a:cubicBezTo>
                  <a:cubicBezTo>
                    <a:pt x="374" y="1271"/>
                    <a:pt x="374" y="1271"/>
                    <a:pt x="374" y="1271"/>
                  </a:cubicBezTo>
                  <a:cubicBezTo>
                    <a:pt x="381" y="1271"/>
                    <a:pt x="381" y="1271"/>
                    <a:pt x="381" y="1271"/>
                  </a:cubicBezTo>
                  <a:cubicBezTo>
                    <a:pt x="381" y="1264"/>
                    <a:pt x="381" y="1264"/>
                    <a:pt x="381" y="1264"/>
                  </a:cubicBezTo>
                  <a:moveTo>
                    <a:pt x="396" y="1264"/>
                  </a:moveTo>
                  <a:cubicBezTo>
                    <a:pt x="389" y="1264"/>
                    <a:pt x="389" y="1264"/>
                    <a:pt x="389" y="1264"/>
                  </a:cubicBezTo>
                  <a:cubicBezTo>
                    <a:pt x="389" y="1271"/>
                    <a:pt x="389" y="1271"/>
                    <a:pt x="389" y="1271"/>
                  </a:cubicBezTo>
                  <a:cubicBezTo>
                    <a:pt x="396" y="1271"/>
                    <a:pt x="396" y="1271"/>
                    <a:pt x="396" y="1271"/>
                  </a:cubicBezTo>
                  <a:cubicBezTo>
                    <a:pt x="396" y="1264"/>
                    <a:pt x="396" y="1264"/>
                    <a:pt x="396" y="1264"/>
                  </a:cubicBezTo>
                  <a:moveTo>
                    <a:pt x="411" y="1264"/>
                  </a:moveTo>
                  <a:cubicBezTo>
                    <a:pt x="404" y="1264"/>
                    <a:pt x="404" y="1264"/>
                    <a:pt x="404" y="1264"/>
                  </a:cubicBezTo>
                  <a:cubicBezTo>
                    <a:pt x="404" y="1271"/>
                    <a:pt x="404" y="1271"/>
                    <a:pt x="404" y="1271"/>
                  </a:cubicBezTo>
                  <a:cubicBezTo>
                    <a:pt x="411" y="1271"/>
                    <a:pt x="411" y="1271"/>
                    <a:pt x="411" y="1271"/>
                  </a:cubicBezTo>
                  <a:cubicBezTo>
                    <a:pt x="411" y="1264"/>
                    <a:pt x="411" y="1264"/>
                    <a:pt x="411" y="1264"/>
                  </a:cubicBezTo>
                  <a:moveTo>
                    <a:pt x="426" y="1264"/>
                  </a:moveTo>
                  <a:cubicBezTo>
                    <a:pt x="419" y="1264"/>
                    <a:pt x="419" y="1264"/>
                    <a:pt x="419" y="1264"/>
                  </a:cubicBezTo>
                  <a:cubicBezTo>
                    <a:pt x="419" y="1271"/>
                    <a:pt x="419" y="1271"/>
                    <a:pt x="419" y="1271"/>
                  </a:cubicBezTo>
                  <a:cubicBezTo>
                    <a:pt x="426" y="1271"/>
                    <a:pt x="426" y="1271"/>
                    <a:pt x="426" y="1271"/>
                  </a:cubicBezTo>
                  <a:cubicBezTo>
                    <a:pt x="426" y="1264"/>
                    <a:pt x="426" y="1264"/>
                    <a:pt x="426" y="1264"/>
                  </a:cubicBezTo>
                  <a:moveTo>
                    <a:pt x="440" y="1264"/>
                  </a:moveTo>
                  <a:cubicBezTo>
                    <a:pt x="433" y="1264"/>
                    <a:pt x="433" y="1264"/>
                    <a:pt x="433" y="1264"/>
                  </a:cubicBezTo>
                  <a:cubicBezTo>
                    <a:pt x="433" y="1271"/>
                    <a:pt x="433" y="1271"/>
                    <a:pt x="433" y="1271"/>
                  </a:cubicBezTo>
                  <a:cubicBezTo>
                    <a:pt x="440" y="1271"/>
                    <a:pt x="440" y="1271"/>
                    <a:pt x="440" y="1271"/>
                  </a:cubicBezTo>
                  <a:cubicBezTo>
                    <a:pt x="440" y="1264"/>
                    <a:pt x="440" y="1264"/>
                    <a:pt x="440" y="1264"/>
                  </a:cubicBezTo>
                  <a:moveTo>
                    <a:pt x="455" y="1264"/>
                  </a:moveTo>
                  <a:cubicBezTo>
                    <a:pt x="448" y="1264"/>
                    <a:pt x="448" y="1264"/>
                    <a:pt x="448" y="1264"/>
                  </a:cubicBezTo>
                  <a:cubicBezTo>
                    <a:pt x="448" y="1271"/>
                    <a:pt x="448" y="1271"/>
                    <a:pt x="448" y="1271"/>
                  </a:cubicBezTo>
                  <a:cubicBezTo>
                    <a:pt x="455" y="1271"/>
                    <a:pt x="455" y="1271"/>
                    <a:pt x="455" y="1271"/>
                  </a:cubicBezTo>
                  <a:cubicBezTo>
                    <a:pt x="455" y="1264"/>
                    <a:pt x="455" y="1264"/>
                    <a:pt x="455" y="1264"/>
                  </a:cubicBezTo>
                  <a:moveTo>
                    <a:pt x="470" y="1264"/>
                  </a:moveTo>
                  <a:cubicBezTo>
                    <a:pt x="463" y="1264"/>
                    <a:pt x="463" y="1264"/>
                    <a:pt x="463" y="1264"/>
                  </a:cubicBezTo>
                  <a:cubicBezTo>
                    <a:pt x="463" y="1271"/>
                    <a:pt x="463" y="1271"/>
                    <a:pt x="463" y="1271"/>
                  </a:cubicBezTo>
                  <a:cubicBezTo>
                    <a:pt x="470" y="1271"/>
                    <a:pt x="470" y="1271"/>
                    <a:pt x="470" y="1271"/>
                  </a:cubicBezTo>
                  <a:cubicBezTo>
                    <a:pt x="470" y="1264"/>
                    <a:pt x="470" y="1264"/>
                    <a:pt x="470" y="1264"/>
                  </a:cubicBezTo>
                  <a:moveTo>
                    <a:pt x="485" y="1264"/>
                  </a:moveTo>
                  <a:cubicBezTo>
                    <a:pt x="478" y="1264"/>
                    <a:pt x="478" y="1264"/>
                    <a:pt x="478" y="1264"/>
                  </a:cubicBezTo>
                  <a:cubicBezTo>
                    <a:pt x="478" y="1271"/>
                    <a:pt x="478" y="1271"/>
                    <a:pt x="478" y="1271"/>
                  </a:cubicBezTo>
                  <a:cubicBezTo>
                    <a:pt x="485" y="1271"/>
                    <a:pt x="485" y="1271"/>
                    <a:pt x="485" y="1271"/>
                  </a:cubicBezTo>
                  <a:cubicBezTo>
                    <a:pt x="485" y="1264"/>
                    <a:pt x="485" y="1264"/>
                    <a:pt x="485" y="1264"/>
                  </a:cubicBezTo>
                  <a:moveTo>
                    <a:pt x="499" y="1264"/>
                  </a:moveTo>
                  <a:cubicBezTo>
                    <a:pt x="492" y="1264"/>
                    <a:pt x="492" y="1264"/>
                    <a:pt x="492" y="1264"/>
                  </a:cubicBezTo>
                  <a:cubicBezTo>
                    <a:pt x="492" y="1271"/>
                    <a:pt x="492" y="1271"/>
                    <a:pt x="492" y="1271"/>
                  </a:cubicBezTo>
                  <a:cubicBezTo>
                    <a:pt x="499" y="1271"/>
                    <a:pt x="499" y="1271"/>
                    <a:pt x="499" y="1271"/>
                  </a:cubicBezTo>
                  <a:cubicBezTo>
                    <a:pt x="499" y="1264"/>
                    <a:pt x="499" y="1264"/>
                    <a:pt x="499" y="1264"/>
                  </a:cubicBezTo>
                  <a:moveTo>
                    <a:pt x="514" y="1264"/>
                  </a:moveTo>
                  <a:cubicBezTo>
                    <a:pt x="507" y="1264"/>
                    <a:pt x="507" y="1264"/>
                    <a:pt x="507" y="1264"/>
                  </a:cubicBezTo>
                  <a:cubicBezTo>
                    <a:pt x="507" y="1271"/>
                    <a:pt x="507" y="1271"/>
                    <a:pt x="507" y="1271"/>
                  </a:cubicBezTo>
                  <a:cubicBezTo>
                    <a:pt x="514" y="1271"/>
                    <a:pt x="514" y="1271"/>
                    <a:pt x="514" y="1271"/>
                  </a:cubicBezTo>
                  <a:cubicBezTo>
                    <a:pt x="514" y="1264"/>
                    <a:pt x="514" y="1264"/>
                    <a:pt x="514" y="1264"/>
                  </a:cubicBezTo>
                  <a:moveTo>
                    <a:pt x="529" y="1264"/>
                  </a:moveTo>
                  <a:cubicBezTo>
                    <a:pt x="522" y="1264"/>
                    <a:pt x="522" y="1264"/>
                    <a:pt x="522" y="1264"/>
                  </a:cubicBezTo>
                  <a:cubicBezTo>
                    <a:pt x="522" y="1271"/>
                    <a:pt x="522" y="1271"/>
                    <a:pt x="522" y="1271"/>
                  </a:cubicBezTo>
                  <a:cubicBezTo>
                    <a:pt x="529" y="1271"/>
                    <a:pt x="529" y="1271"/>
                    <a:pt x="529" y="1271"/>
                  </a:cubicBezTo>
                  <a:cubicBezTo>
                    <a:pt x="529" y="1264"/>
                    <a:pt x="529" y="1264"/>
                    <a:pt x="529" y="1264"/>
                  </a:cubicBezTo>
                  <a:moveTo>
                    <a:pt x="544" y="1264"/>
                  </a:moveTo>
                  <a:cubicBezTo>
                    <a:pt x="537" y="1264"/>
                    <a:pt x="537" y="1264"/>
                    <a:pt x="537" y="1264"/>
                  </a:cubicBezTo>
                  <a:cubicBezTo>
                    <a:pt x="537" y="1271"/>
                    <a:pt x="537" y="1271"/>
                    <a:pt x="537" y="1271"/>
                  </a:cubicBezTo>
                  <a:cubicBezTo>
                    <a:pt x="544" y="1271"/>
                    <a:pt x="544" y="1271"/>
                    <a:pt x="544" y="1271"/>
                  </a:cubicBezTo>
                  <a:cubicBezTo>
                    <a:pt x="544" y="1264"/>
                    <a:pt x="544" y="1264"/>
                    <a:pt x="544" y="1264"/>
                  </a:cubicBezTo>
                  <a:moveTo>
                    <a:pt x="190" y="1249"/>
                  </a:moveTo>
                  <a:cubicBezTo>
                    <a:pt x="183" y="1249"/>
                    <a:pt x="183" y="1249"/>
                    <a:pt x="183" y="1249"/>
                  </a:cubicBezTo>
                  <a:cubicBezTo>
                    <a:pt x="183" y="1256"/>
                    <a:pt x="183" y="1256"/>
                    <a:pt x="183" y="1256"/>
                  </a:cubicBezTo>
                  <a:cubicBezTo>
                    <a:pt x="190" y="1256"/>
                    <a:pt x="190" y="1256"/>
                    <a:pt x="190" y="1256"/>
                  </a:cubicBezTo>
                  <a:cubicBezTo>
                    <a:pt x="190" y="1249"/>
                    <a:pt x="190" y="1249"/>
                    <a:pt x="190" y="1249"/>
                  </a:cubicBezTo>
                  <a:moveTo>
                    <a:pt x="204" y="1249"/>
                  </a:moveTo>
                  <a:cubicBezTo>
                    <a:pt x="197" y="1249"/>
                    <a:pt x="197" y="1249"/>
                    <a:pt x="197" y="1249"/>
                  </a:cubicBezTo>
                  <a:cubicBezTo>
                    <a:pt x="197" y="1256"/>
                    <a:pt x="197" y="1256"/>
                    <a:pt x="197" y="1256"/>
                  </a:cubicBezTo>
                  <a:cubicBezTo>
                    <a:pt x="204" y="1256"/>
                    <a:pt x="204" y="1256"/>
                    <a:pt x="204" y="1256"/>
                  </a:cubicBezTo>
                  <a:cubicBezTo>
                    <a:pt x="204" y="1249"/>
                    <a:pt x="204" y="1249"/>
                    <a:pt x="204" y="1249"/>
                  </a:cubicBezTo>
                  <a:moveTo>
                    <a:pt x="219" y="1249"/>
                  </a:moveTo>
                  <a:cubicBezTo>
                    <a:pt x="212" y="1249"/>
                    <a:pt x="212" y="1249"/>
                    <a:pt x="212" y="1249"/>
                  </a:cubicBezTo>
                  <a:cubicBezTo>
                    <a:pt x="212" y="1256"/>
                    <a:pt x="212" y="1256"/>
                    <a:pt x="212" y="1256"/>
                  </a:cubicBezTo>
                  <a:cubicBezTo>
                    <a:pt x="219" y="1256"/>
                    <a:pt x="219" y="1256"/>
                    <a:pt x="219" y="1256"/>
                  </a:cubicBezTo>
                  <a:cubicBezTo>
                    <a:pt x="219" y="1249"/>
                    <a:pt x="219" y="1249"/>
                    <a:pt x="219" y="1249"/>
                  </a:cubicBezTo>
                  <a:moveTo>
                    <a:pt x="234" y="1249"/>
                  </a:moveTo>
                  <a:cubicBezTo>
                    <a:pt x="227" y="1249"/>
                    <a:pt x="227" y="1249"/>
                    <a:pt x="227" y="1249"/>
                  </a:cubicBezTo>
                  <a:cubicBezTo>
                    <a:pt x="227" y="1256"/>
                    <a:pt x="227" y="1256"/>
                    <a:pt x="227" y="1256"/>
                  </a:cubicBezTo>
                  <a:cubicBezTo>
                    <a:pt x="234" y="1256"/>
                    <a:pt x="234" y="1256"/>
                    <a:pt x="234" y="1256"/>
                  </a:cubicBezTo>
                  <a:cubicBezTo>
                    <a:pt x="234" y="1249"/>
                    <a:pt x="234" y="1249"/>
                    <a:pt x="234" y="1249"/>
                  </a:cubicBezTo>
                  <a:moveTo>
                    <a:pt x="249" y="1249"/>
                  </a:moveTo>
                  <a:cubicBezTo>
                    <a:pt x="242" y="1249"/>
                    <a:pt x="242" y="1249"/>
                    <a:pt x="242" y="1249"/>
                  </a:cubicBezTo>
                  <a:cubicBezTo>
                    <a:pt x="242" y="1256"/>
                    <a:pt x="242" y="1256"/>
                    <a:pt x="242" y="1256"/>
                  </a:cubicBezTo>
                  <a:cubicBezTo>
                    <a:pt x="249" y="1256"/>
                    <a:pt x="249" y="1256"/>
                    <a:pt x="249" y="1256"/>
                  </a:cubicBezTo>
                  <a:cubicBezTo>
                    <a:pt x="249" y="1249"/>
                    <a:pt x="249" y="1249"/>
                    <a:pt x="249" y="1249"/>
                  </a:cubicBezTo>
                  <a:moveTo>
                    <a:pt x="263" y="1249"/>
                  </a:moveTo>
                  <a:cubicBezTo>
                    <a:pt x="256" y="1249"/>
                    <a:pt x="256" y="1249"/>
                    <a:pt x="256" y="1249"/>
                  </a:cubicBezTo>
                  <a:cubicBezTo>
                    <a:pt x="256" y="1256"/>
                    <a:pt x="256" y="1256"/>
                    <a:pt x="256" y="1256"/>
                  </a:cubicBezTo>
                  <a:cubicBezTo>
                    <a:pt x="263" y="1256"/>
                    <a:pt x="263" y="1256"/>
                    <a:pt x="263" y="1256"/>
                  </a:cubicBezTo>
                  <a:cubicBezTo>
                    <a:pt x="263" y="1249"/>
                    <a:pt x="263" y="1249"/>
                    <a:pt x="263" y="1249"/>
                  </a:cubicBezTo>
                  <a:moveTo>
                    <a:pt x="278" y="1249"/>
                  </a:moveTo>
                  <a:cubicBezTo>
                    <a:pt x="271" y="1249"/>
                    <a:pt x="271" y="1249"/>
                    <a:pt x="271" y="1249"/>
                  </a:cubicBezTo>
                  <a:cubicBezTo>
                    <a:pt x="271" y="1256"/>
                    <a:pt x="271" y="1256"/>
                    <a:pt x="271" y="1256"/>
                  </a:cubicBezTo>
                  <a:cubicBezTo>
                    <a:pt x="278" y="1256"/>
                    <a:pt x="278" y="1256"/>
                    <a:pt x="278" y="1256"/>
                  </a:cubicBezTo>
                  <a:cubicBezTo>
                    <a:pt x="278" y="1249"/>
                    <a:pt x="278" y="1249"/>
                    <a:pt x="278" y="1249"/>
                  </a:cubicBezTo>
                  <a:moveTo>
                    <a:pt x="293" y="1249"/>
                  </a:moveTo>
                  <a:cubicBezTo>
                    <a:pt x="286" y="1249"/>
                    <a:pt x="286" y="1249"/>
                    <a:pt x="286" y="1249"/>
                  </a:cubicBezTo>
                  <a:cubicBezTo>
                    <a:pt x="286" y="1256"/>
                    <a:pt x="286" y="1256"/>
                    <a:pt x="286" y="1256"/>
                  </a:cubicBezTo>
                  <a:cubicBezTo>
                    <a:pt x="293" y="1256"/>
                    <a:pt x="293" y="1256"/>
                    <a:pt x="293" y="1256"/>
                  </a:cubicBezTo>
                  <a:cubicBezTo>
                    <a:pt x="293" y="1249"/>
                    <a:pt x="293" y="1249"/>
                    <a:pt x="293" y="1249"/>
                  </a:cubicBezTo>
                  <a:moveTo>
                    <a:pt x="308" y="1249"/>
                  </a:moveTo>
                  <a:cubicBezTo>
                    <a:pt x="301" y="1249"/>
                    <a:pt x="301" y="1249"/>
                    <a:pt x="301" y="1249"/>
                  </a:cubicBezTo>
                  <a:cubicBezTo>
                    <a:pt x="301" y="1256"/>
                    <a:pt x="301" y="1256"/>
                    <a:pt x="301" y="1256"/>
                  </a:cubicBezTo>
                  <a:cubicBezTo>
                    <a:pt x="308" y="1256"/>
                    <a:pt x="308" y="1256"/>
                    <a:pt x="308" y="1256"/>
                  </a:cubicBezTo>
                  <a:cubicBezTo>
                    <a:pt x="308" y="1249"/>
                    <a:pt x="308" y="1249"/>
                    <a:pt x="308" y="1249"/>
                  </a:cubicBezTo>
                  <a:moveTo>
                    <a:pt x="322" y="1249"/>
                  </a:moveTo>
                  <a:cubicBezTo>
                    <a:pt x="315" y="1249"/>
                    <a:pt x="315" y="1249"/>
                    <a:pt x="315" y="1249"/>
                  </a:cubicBezTo>
                  <a:cubicBezTo>
                    <a:pt x="315" y="1256"/>
                    <a:pt x="315" y="1256"/>
                    <a:pt x="315" y="1256"/>
                  </a:cubicBezTo>
                  <a:cubicBezTo>
                    <a:pt x="322" y="1256"/>
                    <a:pt x="322" y="1256"/>
                    <a:pt x="322" y="1256"/>
                  </a:cubicBezTo>
                  <a:cubicBezTo>
                    <a:pt x="322" y="1249"/>
                    <a:pt x="322" y="1249"/>
                    <a:pt x="322" y="1249"/>
                  </a:cubicBezTo>
                  <a:moveTo>
                    <a:pt x="337" y="1249"/>
                  </a:moveTo>
                  <a:cubicBezTo>
                    <a:pt x="330" y="1249"/>
                    <a:pt x="330" y="1249"/>
                    <a:pt x="330" y="1249"/>
                  </a:cubicBezTo>
                  <a:cubicBezTo>
                    <a:pt x="330" y="1256"/>
                    <a:pt x="330" y="1256"/>
                    <a:pt x="330" y="1256"/>
                  </a:cubicBezTo>
                  <a:cubicBezTo>
                    <a:pt x="337" y="1256"/>
                    <a:pt x="337" y="1256"/>
                    <a:pt x="337" y="1256"/>
                  </a:cubicBezTo>
                  <a:cubicBezTo>
                    <a:pt x="337" y="1249"/>
                    <a:pt x="337" y="1249"/>
                    <a:pt x="337" y="1249"/>
                  </a:cubicBezTo>
                  <a:moveTo>
                    <a:pt x="352" y="1249"/>
                  </a:moveTo>
                  <a:cubicBezTo>
                    <a:pt x="345" y="1249"/>
                    <a:pt x="345" y="1249"/>
                    <a:pt x="345" y="1249"/>
                  </a:cubicBezTo>
                  <a:cubicBezTo>
                    <a:pt x="345" y="1256"/>
                    <a:pt x="345" y="1256"/>
                    <a:pt x="345" y="1256"/>
                  </a:cubicBezTo>
                  <a:cubicBezTo>
                    <a:pt x="352" y="1256"/>
                    <a:pt x="352" y="1256"/>
                    <a:pt x="352" y="1256"/>
                  </a:cubicBezTo>
                  <a:cubicBezTo>
                    <a:pt x="352" y="1249"/>
                    <a:pt x="352" y="1249"/>
                    <a:pt x="352" y="1249"/>
                  </a:cubicBezTo>
                  <a:moveTo>
                    <a:pt x="367" y="1249"/>
                  </a:moveTo>
                  <a:cubicBezTo>
                    <a:pt x="360" y="1249"/>
                    <a:pt x="360" y="1249"/>
                    <a:pt x="360" y="1249"/>
                  </a:cubicBezTo>
                  <a:cubicBezTo>
                    <a:pt x="360" y="1256"/>
                    <a:pt x="360" y="1256"/>
                    <a:pt x="360" y="1256"/>
                  </a:cubicBezTo>
                  <a:cubicBezTo>
                    <a:pt x="367" y="1256"/>
                    <a:pt x="367" y="1256"/>
                    <a:pt x="367" y="1256"/>
                  </a:cubicBezTo>
                  <a:cubicBezTo>
                    <a:pt x="367" y="1249"/>
                    <a:pt x="367" y="1249"/>
                    <a:pt x="367" y="1249"/>
                  </a:cubicBezTo>
                  <a:moveTo>
                    <a:pt x="381" y="1249"/>
                  </a:moveTo>
                  <a:cubicBezTo>
                    <a:pt x="374" y="1249"/>
                    <a:pt x="374" y="1249"/>
                    <a:pt x="374" y="1249"/>
                  </a:cubicBezTo>
                  <a:cubicBezTo>
                    <a:pt x="374" y="1256"/>
                    <a:pt x="374" y="1256"/>
                    <a:pt x="374" y="1256"/>
                  </a:cubicBezTo>
                  <a:cubicBezTo>
                    <a:pt x="381" y="1256"/>
                    <a:pt x="381" y="1256"/>
                    <a:pt x="381" y="1256"/>
                  </a:cubicBezTo>
                  <a:cubicBezTo>
                    <a:pt x="381" y="1249"/>
                    <a:pt x="381" y="1249"/>
                    <a:pt x="381" y="1249"/>
                  </a:cubicBezTo>
                  <a:moveTo>
                    <a:pt x="396" y="1249"/>
                  </a:moveTo>
                  <a:cubicBezTo>
                    <a:pt x="389" y="1249"/>
                    <a:pt x="389" y="1249"/>
                    <a:pt x="389" y="1249"/>
                  </a:cubicBezTo>
                  <a:cubicBezTo>
                    <a:pt x="389" y="1256"/>
                    <a:pt x="389" y="1256"/>
                    <a:pt x="389" y="1256"/>
                  </a:cubicBezTo>
                  <a:cubicBezTo>
                    <a:pt x="396" y="1256"/>
                    <a:pt x="396" y="1256"/>
                    <a:pt x="396" y="1256"/>
                  </a:cubicBezTo>
                  <a:cubicBezTo>
                    <a:pt x="396" y="1249"/>
                    <a:pt x="396" y="1249"/>
                    <a:pt x="396" y="1249"/>
                  </a:cubicBezTo>
                  <a:moveTo>
                    <a:pt x="411" y="1249"/>
                  </a:moveTo>
                  <a:cubicBezTo>
                    <a:pt x="404" y="1249"/>
                    <a:pt x="404" y="1249"/>
                    <a:pt x="404" y="1249"/>
                  </a:cubicBezTo>
                  <a:cubicBezTo>
                    <a:pt x="404" y="1256"/>
                    <a:pt x="404" y="1256"/>
                    <a:pt x="404" y="1256"/>
                  </a:cubicBezTo>
                  <a:cubicBezTo>
                    <a:pt x="411" y="1256"/>
                    <a:pt x="411" y="1256"/>
                    <a:pt x="411" y="1256"/>
                  </a:cubicBezTo>
                  <a:cubicBezTo>
                    <a:pt x="411" y="1249"/>
                    <a:pt x="411" y="1249"/>
                    <a:pt x="411" y="1249"/>
                  </a:cubicBezTo>
                  <a:moveTo>
                    <a:pt x="426" y="1249"/>
                  </a:moveTo>
                  <a:cubicBezTo>
                    <a:pt x="419" y="1249"/>
                    <a:pt x="419" y="1249"/>
                    <a:pt x="419" y="1249"/>
                  </a:cubicBezTo>
                  <a:cubicBezTo>
                    <a:pt x="419" y="1256"/>
                    <a:pt x="419" y="1256"/>
                    <a:pt x="419" y="1256"/>
                  </a:cubicBezTo>
                  <a:cubicBezTo>
                    <a:pt x="426" y="1256"/>
                    <a:pt x="426" y="1256"/>
                    <a:pt x="426" y="1256"/>
                  </a:cubicBezTo>
                  <a:cubicBezTo>
                    <a:pt x="426" y="1249"/>
                    <a:pt x="426" y="1249"/>
                    <a:pt x="426" y="1249"/>
                  </a:cubicBezTo>
                  <a:moveTo>
                    <a:pt x="440" y="1249"/>
                  </a:moveTo>
                  <a:cubicBezTo>
                    <a:pt x="433" y="1249"/>
                    <a:pt x="433" y="1249"/>
                    <a:pt x="433" y="1249"/>
                  </a:cubicBezTo>
                  <a:cubicBezTo>
                    <a:pt x="433" y="1256"/>
                    <a:pt x="433" y="1256"/>
                    <a:pt x="433" y="1256"/>
                  </a:cubicBezTo>
                  <a:cubicBezTo>
                    <a:pt x="440" y="1256"/>
                    <a:pt x="440" y="1256"/>
                    <a:pt x="440" y="1256"/>
                  </a:cubicBezTo>
                  <a:cubicBezTo>
                    <a:pt x="440" y="1249"/>
                    <a:pt x="440" y="1249"/>
                    <a:pt x="440" y="1249"/>
                  </a:cubicBezTo>
                  <a:moveTo>
                    <a:pt x="455" y="1249"/>
                  </a:moveTo>
                  <a:cubicBezTo>
                    <a:pt x="448" y="1249"/>
                    <a:pt x="448" y="1249"/>
                    <a:pt x="448" y="1249"/>
                  </a:cubicBezTo>
                  <a:cubicBezTo>
                    <a:pt x="448" y="1256"/>
                    <a:pt x="448" y="1256"/>
                    <a:pt x="448" y="1256"/>
                  </a:cubicBezTo>
                  <a:cubicBezTo>
                    <a:pt x="455" y="1256"/>
                    <a:pt x="455" y="1256"/>
                    <a:pt x="455" y="1256"/>
                  </a:cubicBezTo>
                  <a:cubicBezTo>
                    <a:pt x="455" y="1249"/>
                    <a:pt x="455" y="1249"/>
                    <a:pt x="455" y="1249"/>
                  </a:cubicBezTo>
                  <a:moveTo>
                    <a:pt x="470" y="1249"/>
                  </a:moveTo>
                  <a:cubicBezTo>
                    <a:pt x="463" y="1249"/>
                    <a:pt x="463" y="1249"/>
                    <a:pt x="463" y="1249"/>
                  </a:cubicBezTo>
                  <a:cubicBezTo>
                    <a:pt x="463" y="1256"/>
                    <a:pt x="463" y="1256"/>
                    <a:pt x="463" y="1256"/>
                  </a:cubicBezTo>
                  <a:cubicBezTo>
                    <a:pt x="470" y="1256"/>
                    <a:pt x="470" y="1256"/>
                    <a:pt x="470" y="1256"/>
                  </a:cubicBezTo>
                  <a:cubicBezTo>
                    <a:pt x="470" y="1249"/>
                    <a:pt x="470" y="1249"/>
                    <a:pt x="470" y="1249"/>
                  </a:cubicBezTo>
                  <a:moveTo>
                    <a:pt x="485" y="1249"/>
                  </a:moveTo>
                  <a:cubicBezTo>
                    <a:pt x="478" y="1249"/>
                    <a:pt x="478" y="1249"/>
                    <a:pt x="478" y="1249"/>
                  </a:cubicBezTo>
                  <a:cubicBezTo>
                    <a:pt x="478" y="1256"/>
                    <a:pt x="478" y="1256"/>
                    <a:pt x="478" y="1256"/>
                  </a:cubicBezTo>
                  <a:cubicBezTo>
                    <a:pt x="485" y="1256"/>
                    <a:pt x="485" y="1256"/>
                    <a:pt x="485" y="1256"/>
                  </a:cubicBezTo>
                  <a:cubicBezTo>
                    <a:pt x="485" y="1249"/>
                    <a:pt x="485" y="1249"/>
                    <a:pt x="485" y="1249"/>
                  </a:cubicBezTo>
                  <a:moveTo>
                    <a:pt x="499" y="1249"/>
                  </a:moveTo>
                  <a:cubicBezTo>
                    <a:pt x="492" y="1249"/>
                    <a:pt x="492" y="1249"/>
                    <a:pt x="492" y="1249"/>
                  </a:cubicBezTo>
                  <a:cubicBezTo>
                    <a:pt x="492" y="1256"/>
                    <a:pt x="492" y="1256"/>
                    <a:pt x="492" y="1256"/>
                  </a:cubicBezTo>
                  <a:cubicBezTo>
                    <a:pt x="499" y="1256"/>
                    <a:pt x="499" y="1256"/>
                    <a:pt x="499" y="1256"/>
                  </a:cubicBezTo>
                  <a:cubicBezTo>
                    <a:pt x="499" y="1249"/>
                    <a:pt x="499" y="1249"/>
                    <a:pt x="499" y="1249"/>
                  </a:cubicBezTo>
                  <a:moveTo>
                    <a:pt x="514" y="1249"/>
                  </a:moveTo>
                  <a:cubicBezTo>
                    <a:pt x="507" y="1249"/>
                    <a:pt x="507" y="1249"/>
                    <a:pt x="507" y="1249"/>
                  </a:cubicBezTo>
                  <a:cubicBezTo>
                    <a:pt x="507" y="1256"/>
                    <a:pt x="507" y="1256"/>
                    <a:pt x="507" y="1256"/>
                  </a:cubicBezTo>
                  <a:cubicBezTo>
                    <a:pt x="514" y="1256"/>
                    <a:pt x="514" y="1256"/>
                    <a:pt x="514" y="1256"/>
                  </a:cubicBezTo>
                  <a:cubicBezTo>
                    <a:pt x="514" y="1249"/>
                    <a:pt x="514" y="1249"/>
                    <a:pt x="514" y="1249"/>
                  </a:cubicBezTo>
                  <a:moveTo>
                    <a:pt x="529" y="1249"/>
                  </a:moveTo>
                  <a:cubicBezTo>
                    <a:pt x="522" y="1249"/>
                    <a:pt x="522" y="1249"/>
                    <a:pt x="522" y="1249"/>
                  </a:cubicBezTo>
                  <a:cubicBezTo>
                    <a:pt x="522" y="1256"/>
                    <a:pt x="522" y="1256"/>
                    <a:pt x="522" y="1256"/>
                  </a:cubicBezTo>
                  <a:cubicBezTo>
                    <a:pt x="529" y="1256"/>
                    <a:pt x="529" y="1256"/>
                    <a:pt x="529" y="1256"/>
                  </a:cubicBezTo>
                  <a:cubicBezTo>
                    <a:pt x="529" y="1249"/>
                    <a:pt x="529" y="1249"/>
                    <a:pt x="529" y="1249"/>
                  </a:cubicBezTo>
                  <a:moveTo>
                    <a:pt x="544" y="1249"/>
                  </a:moveTo>
                  <a:cubicBezTo>
                    <a:pt x="537" y="1249"/>
                    <a:pt x="537" y="1249"/>
                    <a:pt x="537" y="1249"/>
                  </a:cubicBezTo>
                  <a:cubicBezTo>
                    <a:pt x="537" y="1256"/>
                    <a:pt x="537" y="1256"/>
                    <a:pt x="537" y="1256"/>
                  </a:cubicBezTo>
                  <a:cubicBezTo>
                    <a:pt x="544" y="1256"/>
                    <a:pt x="544" y="1256"/>
                    <a:pt x="544" y="1256"/>
                  </a:cubicBezTo>
                  <a:cubicBezTo>
                    <a:pt x="544" y="1249"/>
                    <a:pt x="544" y="1249"/>
                    <a:pt x="544" y="1249"/>
                  </a:cubicBezTo>
                  <a:moveTo>
                    <a:pt x="558" y="1249"/>
                  </a:moveTo>
                  <a:cubicBezTo>
                    <a:pt x="551" y="1249"/>
                    <a:pt x="551" y="1249"/>
                    <a:pt x="551" y="1249"/>
                  </a:cubicBezTo>
                  <a:cubicBezTo>
                    <a:pt x="551" y="1256"/>
                    <a:pt x="551" y="1256"/>
                    <a:pt x="551" y="1256"/>
                  </a:cubicBezTo>
                  <a:cubicBezTo>
                    <a:pt x="558" y="1256"/>
                    <a:pt x="558" y="1256"/>
                    <a:pt x="558" y="1256"/>
                  </a:cubicBezTo>
                  <a:cubicBezTo>
                    <a:pt x="558" y="1249"/>
                    <a:pt x="558" y="1249"/>
                    <a:pt x="558" y="1249"/>
                  </a:cubicBezTo>
                  <a:moveTo>
                    <a:pt x="190" y="1235"/>
                  </a:moveTo>
                  <a:cubicBezTo>
                    <a:pt x="183" y="1235"/>
                    <a:pt x="183" y="1235"/>
                    <a:pt x="183" y="1235"/>
                  </a:cubicBezTo>
                  <a:cubicBezTo>
                    <a:pt x="183" y="1242"/>
                    <a:pt x="183" y="1242"/>
                    <a:pt x="183" y="1242"/>
                  </a:cubicBezTo>
                  <a:cubicBezTo>
                    <a:pt x="190" y="1242"/>
                    <a:pt x="190" y="1242"/>
                    <a:pt x="190" y="1242"/>
                  </a:cubicBezTo>
                  <a:cubicBezTo>
                    <a:pt x="190" y="1235"/>
                    <a:pt x="190" y="1235"/>
                    <a:pt x="190" y="1235"/>
                  </a:cubicBezTo>
                  <a:moveTo>
                    <a:pt x="204" y="1235"/>
                  </a:moveTo>
                  <a:cubicBezTo>
                    <a:pt x="197" y="1235"/>
                    <a:pt x="197" y="1235"/>
                    <a:pt x="197" y="1235"/>
                  </a:cubicBezTo>
                  <a:cubicBezTo>
                    <a:pt x="197" y="1242"/>
                    <a:pt x="197" y="1242"/>
                    <a:pt x="197" y="1242"/>
                  </a:cubicBezTo>
                  <a:cubicBezTo>
                    <a:pt x="204" y="1242"/>
                    <a:pt x="204" y="1242"/>
                    <a:pt x="204" y="1242"/>
                  </a:cubicBezTo>
                  <a:cubicBezTo>
                    <a:pt x="204" y="1235"/>
                    <a:pt x="204" y="1235"/>
                    <a:pt x="204" y="1235"/>
                  </a:cubicBezTo>
                  <a:moveTo>
                    <a:pt x="219" y="1235"/>
                  </a:moveTo>
                  <a:cubicBezTo>
                    <a:pt x="212" y="1235"/>
                    <a:pt x="212" y="1235"/>
                    <a:pt x="212" y="1235"/>
                  </a:cubicBezTo>
                  <a:cubicBezTo>
                    <a:pt x="212" y="1242"/>
                    <a:pt x="212" y="1242"/>
                    <a:pt x="212" y="1242"/>
                  </a:cubicBezTo>
                  <a:cubicBezTo>
                    <a:pt x="219" y="1242"/>
                    <a:pt x="219" y="1242"/>
                    <a:pt x="219" y="1242"/>
                  </a:cubicBezTo>
                  <a:cubicBezTo>
                    <a:pt x="219" y="1235"/>
                    <a:pt x="219" y="1235"/>
                    <a:pt x="219" y="1235"/>
                  </a:cubicBezTo>
                  <a:moveTo>
                    <a:pt x="234" y="1235"/>
                  </a:moveTo>
                  <a:cubicBezTo>
                    <a:pt x="227" y="1235"/>
                    <a:pt x="227" y="1235"/>
                    <a:pt x="227" y="1235"/>
                  </a:cubicBezTo>
                  <a:cubicBezTo>
                    <a:pt x="227" y="1242"/>
                    <a:pt x="227" y="1242"/>
                    <a:pt x="227" y="1242"/>
                  </a:cubicBezTo>
                  <a:cubicBezTo>
                    <a:pt x="234" y="1242"/>
                    <a:pt x="234" y="1242"/>
                    <a:pt x="234" y="1242"/>
                  </a:cubicBezTo>
                  <a:cubicBezTo>
                    <a:pt x="234" y="1235"/>
                    <a:pt x="234" y="1235"/>
                    <a:pt x="234" y="1235"/>
                  </a:cubicBezTo>
                  <a:moveTo>
                    <a:pt x="249" y="1235"/>
                  </a:moveTo>
                  <a:cubicBezTo>
                    <a:pt x="242" y="1235"/>
                    <a:pt x="242" y="1235"/>
                    <a:pt x="242" y="1235"/>
                  </a:cubicBezTo>
                  <a:cubicBezTo>
                    <a:pt x="242" y="1242"/>
                    <a:pt x="242" y="1242"/>
                    <a:pt x="242" y="1242"/>
                  </a:cubicBezTo>
                  <a:cubicBezTo>
                    <a:pt x="249" y="1242"/>
                    <a:pt x="249" y="1242"/>
                    <a:pt x="249" y="1242"/>
                  </a:cubicBezTo>
                  <a:cubicBezTo>
                    <a:pt x="249" y="1235"/>
                    <a:pt x="249" y="1235"/>
                    <a:pt x="249" y="1235"/>
                  </a:cubicBezTo>
                  <a:moveTo>
                    <a:pt x="263" y="1235"/>
                  </a:moveTo>
                  <a:cubicBezTo>
                    <a:pt x="256" y="1235"/>
                    <a:pt x="256" y="1235"/>
                    <a:pt x="256" y="1235"/>
                  </a:cubicBezTo>
                  <a:cubicBezTo>
                    <a:pt x="256" y="1242"/>
                    <a:pt x="256" y="1242"/>
                    <a:pt x="256" y="1242"/>
                  </a:cubicBezTo>
                  <a:cubicBezTo>
                    <a:pt x="263" y="1242"/>
                    <a:pt x="263" y="1242"/>
                    <a:pt x="263" y="1242"/>
                  </a:cubicBezTo>
                  <a:cubicBezTo>
                    <a:pt x="263" y="1235"/>
                    <a:pt x="263" y="1235"/>
                    <a:pt x="263" y="1235"/>
                  </a:cubicBezTo>
                  <a:moveTo>
                    <a:pt x="278" y="1235"/>
                  </a:moveTo>
                  <a:cubicBezTo>
                    <a:pt x="271" y="1235"/>
                    <a:pt x="271" y="1235"/>
                    <a:pt x="271" y="1235"/>
                  </a:cubicBezTo>
                  <a:cubicBezTo>
                    <a:pt x="271" y="1242"/>
                    <a:pt x="271" y="1242"/>
                    <a:pt x="271" y="1242"/>
                  </a:cubicBezTo>
                  <a:cubicBezTo>
                    <a:pt x="278" y="1242"/>
                    <a:pt x="278" y="1242"/>
                    <a:pt x="278" y="1242"/>
                  </a:cubicBezTo>
                  <a:cubicBezTo>
                    <a:pt x="278" y="1235"/>
                    <a:pt x="278" y="1235"/>
                    <a:pt x="278" y="1235"/>
                  </a:cubicBezTo>
                  <a:moveTo>
                    <a:pt x="293" y="1235"/>
                  </a:moveTo>
                  <a:cubicBezTo>
                    <a:pt x="286" y="1235"/>
                    <a:pt x="286" y="1235"/>
                    <a:pt x="286" y="1235"/>
                  </a:cubicBezTo>
                  <a:cubicBezTo>
                    <a:pt x="286" y="1242"/>
                    <a:pt x="286" y="1242"/>
                    <a:pt x="286" y="1242"/>
                  </a:cubicBezTo>
                  <a:cubicBezTo>
                    <a:pt x="293" y="1242"/>
                    <a:pt x="293" y="1242"/>
                    <a:pt x="293" y="1242"/>
                  </a:cubicBezTo>
                  <a:cubicBezTo>
                    <a:pt x="293" y="1235"/>
                    <a:pt x="293" y="1235"/>
                    <a:pt x="293" y="1235"/>
                  </a:cubicBezTo>
                  <a:moveTo>
                    <a:pt x="308" y="1235"/>
                  </a:moveTo>
                  <a:cubicBezTo>
                    <a:pt x="301" y="1235"/>
                    <a:pt x="301" y="1235"/>
                    <a:pt x="301" y="1235"/>
                  </a:cubicBezTo>
                  <a:cubicBezTo>
                    <a:pt x="301" y="1242"/>
                    <a:pt x="301" y="1242"/>
                    <a:pt x="301" y="1242"/>
                  </a:cubicBezTo>
                  <a:cubicBezTo>
                    <a:pt x="308" y="1242"/>
                    <a:pt x="308" y="1242"/>
                    <a:pt x="308" y="1242"/>
                  </a:cubicBezTo>
                  <a:cubicBezTo>
                    <a:pt x="308" y="1235"/>
                    <a:pt x="308" y="1235"/>
                    <a:pt x="308" y="1235"/>
                  </a:cubicBezTo>
                  <a:moveTo>
                    <a:pt x="322" y="1235"/>
                  </a:moveTo>
                  <a:cubicBezTo>
                    <a:pt x="315" y="1235"/>
                    <a:pt x="315" y="1235"/>
                    <a:pt x="315" y="1235"/>
                  </a:cubicBezTo>
                  <a:cubicBezTo>
                    <a:pt x="315" y="1242"/>
                    <a:pt x="315" y="1242"/>
                    <a:pt x="315" y="1242"/>
                  </a:cubicBezTo>
                  <a:cubicBezTo>
                    <a:pt x="322" y="1242"/>
                    <a:pt x="322" y="1242"/>
                    <a:pt x="322" y="1242"/>
                  </a:cubicBezTo>
                  <a:cubicBezTo>
                    <a:pt x="322" y="1235"/>
                    <a:pt x="322" y="1235"/>
                    <a:pt x="322" y="1235"/>
                  </a:cubicBezTo>
                  <a:moveTo>
                    <a:pt x="337" y="1235"/>
                  </a:moveTo>
                  <a:cubicBezTo>
                    <a:pt x="330" y="1235"/>
                    <a:pt x="330" y="1235"/>
                    <a:pt x="330" y="1235"/>
                  </a:cubicBezTo>
                  <a:cubicBezTo>
                    <a:pt x="330" y="1242"/>
                    <a:pt x="330" y="1242"/>
                    <a:pt x="330" y="1242"/>
                  </a:cubicBezTo>
                  <a:cubicBezTo>
                    <a:pt x="337" y="1242"/>
                    <a:pt x="337" y="1242"/>
                    <a:pt x="337" y="1242"/>
                  </a:cubicBezTo>
                  <a:cubicBezTo>
                    <a:pt x="337" y="1235"/>
                    <a:pt x="337" y="1235"/>
                    <a:pt x="337" y="1235"/>
                  </a:cubicBezTo>
                  <a:moveTo>
                    <a:pt x="352" y="1235"/>
                  </a:moveTo>
                  <a:cubicBezTo>
                    <a:pt x="345" y="1235"/>
                    <a:pt x="345" y="1235"/>
                    <a:pt x="345" y="1235"/>
                  </a:cubicBezTo>
                  <a:cubicBezTo>
                    <a:pt x="345" y="1242"/>
                    <a:pt x="345" y="1242"/>
                    <a:pt x="345" y="1242"/>
                  </a:cubicBezTo>
                  <a:cubicBezTo>
                    <a:pt x="352" y="1242"/>
                    <a:pt x="352" y="1242"/>
                    <a:pt x="352" y="1242"/>
                  </a:cubicBezTo>
                  <a:cubicBezTo>
                    <a:pt x="352" y="1235"/>
                    <a:pt x="352" y="1235"/>
                    <a:pt x="352" y="1235"/>
                  </a:cubicBezTo>
                  <a:moveTo>
                    <a:pt x="367" y="1235"/>
                  </a:moveTo>
                  <a:cubicBezTo>
                    <a:pt x="360" y="1235"/>
                    <a:pt x="360" y="1235"/>
                    <a:pt x="360" y="1235"/>
                  </a:cubicBezTo>
                  <a:cubicBezTo>
                    <a:pt x="360" y="1242"/>
                    <a:pt x="360" y="1242"/>
                    <a:pt x="360" y="1242"/>
                  </a:cubicBezTo>
                  <a:cubicBezTo>
                    <a:pt x="367" y="1242"/>
                    <a:pt x="367" y="1242"/>
                    <a:pt x="367" y="1242"/>
                  </a:cubicBezTo>
                  <a:cubicBezTo>
                    <a:pt x="367" y="1235"/>
                    <a:pt x="367" y="1235"/>
                    <a:pt x="367" y="1235"/>
                  </a:cubicBezTo>
                  <a:moveTo>
                    <a:pt x="381" y="1235"/>
                  </a:moveTo>
                  <a:cubicBezTo>
                    <a:pt x="374" y="1235"/>
                    <a:pt x="374" y="1235"/>
                    <a:pt x="374" y="1235"/>
                  </a:cubicBezTo>
                  <a:cubicBezTo>
                    <a:pt x="374" y="1242"/>
                    <a:pt x="374" y="1242"/>
                    <a:pt x="374" y="1242"/>
                  </a:cubicBezTo>
                  <a:cubicBezTo>
                    <a:pt x="381" y="1242"/>
                    <a:pt x="381" y="1242"/>
                    <a:pt x="381" y="1242"/>
                  </a:cubicBezTo>
                  <a:cubicBezTo>
                    <a:pt x="381" y="1235"/>
                    <a:pt x="381" y="1235"/>
                    <a:pt x="381" y="1235"/>
                  </a:cubicBezTo>
                  <a:moveTo>
                    <a:pt x="396" y="1235"/>
                  </a:moveTo>
                  <a:cubicBezTo>
                    <a:pt x="389" y="1235"/>
                    <a:pt x="389" y="1235"/>
                    <a:pt x="389" y="1235"/>
                  </a:cubicBezTo>
                  <a:cubicBezTo>
                    <a:pt x="389" y="1242"/>
                    <a:pt x="389" y="1242"/>
                    <a:pt x="389" y="1242"/>
                  </a:cubicBezTo>
                  <a:cubicBezTo>
                    <a:pt x="396" y="1242"/>
                    <a:pt x="396" y="1242"/>
                    <a:pt x="396" y="1242"/>
                  </a:cubicBezTo>
                  <a:cubicBezTo>
                    <a:pt x="396" y="1235"/>
                    <a:pt x="396" y="1235"/>
                    <a:pt x="396" y="1235"/>
                  </a:cubicBezTo>
                  <a:moveTo>
                    <a:pt x="411" y="1235"/>
                  </a:moveTo>
                  <a:cubicBezTo>
                    <a:pt x="404" y="1235"/>
                    <a:pt x="404" y="1235"/>
                    <a:pt x="404" y="1235"/>
                  </a:cubicBezTo>
                  <a:cubicBezTo>
                    <a:pt x="404" y="1242"/>
                    <a:pt x="404" y="1242"/>
                    <a:pt x="404" y="1242"/>
                  </a:cubicBezTo>
                  <a:cubicBezTo>
                    <a:pt x="411" y="1242"/>
                    <a:pt x="411" y="1242"/>
                    <a:pt x="411" y="1242"/>
                  </a:cubicBezTo>
                  <a:cubicBezTo>
                    <a:pt x="411" y="1235"/>
                    <a:pt x="411" y="1235"/>
                    <a:pt x="411" y="1235"/>
                  </a:cubicBezTo>
                  <a:moveTo>
                    <a:pt x="426" y="1235"/>
                  </a:moveTo>
                  <a:cubicBezTo>
                    <a:pt x="419" y="1235"/>
                    <a:pt x="419" y="1235"/>
                    <a:pt x="419" y="1235"/>
                  </a:cubicBezTo>
                  <a:cubicBezTo>
                    <a:pt x="419" y="1242"/>
                    <a:pt x="419" y="1242"/>
                    <a:pt x="419" y="1242"/>
                  </a:cubicBezTo>
                  <a:cubicBezTo>
                    <a:pt x="426" y="1242"/>
                    <a:pt x="426" y="1242"/>
                    <a:pt x="426" y="1242"/>
                  </a:cubicBezTo>
                  <a:cubicBezTo>
                    <a:pt x="426" y="1235"/>
                    <a:pt x="426" y="1235"/>
                    <a:pt x="426" y="1235"/>
                  </a:cubicBezTo>
                  <a:moveTo>
                    <a:pt x="440" y="1235"/>
                  </a:moveTo>
                  <a:cubicBezTo>
                    <a:pt x="433" y="1235"/>
                    <a:pt x="433" y="1235"/>
                    <a:pt x="433" y="1235"/>
                  </a:cubicBezTo>
                  <a:cubicBezTo>
                    <a:pt x="433" y="1242"/>
                    <a:pt x="433" y="1242"/>
                    <a:pt x="433" y="1242"/>
                  </a:cubicBezTo>
                  <a:cubicBezTo>
                    <a:pt x="440" y="1242"/>
                    <a:pt x="440" y="1242"/>
                    <a:pt x="440" y="1242"/>
                  </a:cubicBezTo>
                  <a:cubicBezTo>
                    <a:pt x="440" y="1235"/>
                    <a:pt x="440" y="1235"/>
                    <a:pt x="440" y="1235"/>
                  </a:cubicBezTo>
                  <a:moveTo>
                    <a:pt x="455" y="1235"/>
                  </a:moveTo>
                  <a:cubicBezTo>
                    <a:pt x="448" y="1235"/>
                    <a:pt x="448" y="1235"/>
                    <a:pt x="448" y="1235"/>
                  </a:cubicBezTo>
                  <a:cubicBezTo>
                    <a:pt x="448" y="1242"/>
                    <a:pt x="448" y="1242"/>
                    <a:pt x="448" y="1242"/>
                  </a:cubicBezTo>
                  <a:cubicBezTo>
                    <a:pt x="455" y="1242"/>
                    <a:pt x="455" y="1242"/>
                    <a:pt x="455" y="1242"/>
                  </a:cubicBezTo>
                  <a:cubicBezTo>
                    <a:pt x="455" y="1235"/>
                    <a:pt x="455" y="1235"/>
                    <a:pt x="455" y="1235"/>
                  </a:cubicBezTo>
                  <a:moveTo>
                    <a:pt x="470" y="1235"/>
                  </a:moveTo>
                  <a:cubicBezTo>
                    <a:pt x="463" y="1235"/>
                    <a:pt x="463" y="1235"/>
                    <a:pt x="463" y="1235"/>
                  </a:cubicBezTo>
                  <a:cubicBezTo>
                    <a:pt x="463" y="1242"/>
                    <a:pt x="463" y="1242"/>
                    <a:pt x="463" y="1242"/>
                  </a:cubicBezTo>
                  <a:cubicBezTo>
                    <a:pt x="470" y="1242"/>
                    <a:pt x="470" y="1242"/>
                    <a:pt x="470" y="1242"/>
                  </a:cubicBezTo>
                  <a:cubicBezTo>
                    <a:pt x="470" y="1235"/>
                    <a:pt x="470" y="1235"/>
                    <a:pt x="470" y="1235"/>
                  </a:cubicBezTo>
                  <a:moveTo>
                    <a:pt x="485" y="1235"/>
                  </a:moveTo>
                  <a:cubicBezTo>
                    <a:pt x="478" y="1235"/>
                    <a:pt x="478" y="1235"/>
                    <a:pt x="478" y="1235"/>
                  </a:cubicBezTo>
                  <a:cubicBezTo>
                    <a:pt x="478" y="1242"/>
                    <a:pt x="478" y="1242"/>
                    <a:pt x="478" y="1242"/>
                  </a:cubicBezTo>
                  <a:cubicBezTo>
                    <a:pt x="485" y="1242"/>
                    <a:pt x="485" y="1242"/>
                    <a:pt x="485" y="1242"/>
                  </a:cubicBezTo>
                  <a:cubicBezTo>
                    <a:pt x="485" y="1235"/>
                    <a:pt x="485" y="1235"/>
                    <a:pt x="485" y="1235"/>
                  </a:cubicBezTo>
                  <a:moveTo>
                    <a:pt x="499" y="1235"/>
                  </a:moveTo>
                  <a:cubicBezTo>
                    <a:pt x="492" y="1235"/>
                    <a:pt x="492" y="1235"/>
                    <a:pt x="492" y="1235"/>
                  </a:cubicBezTo>
                  <a:cubicBezTo>
                    <a:pt x="492" y="1242"/>
                    <a:pt x="492" y="1242"/>
                    <a:pt x="492" y="1242"/>
                  </a:cubicBezTo>
                  <a:cubicBezTo>
                    <a:pt x="499" y="1242"/>
                    <a:pt x="499" y="1242"/>
                    <a:pt x="499" y="1242"/>
                  </a:cubicBezTo>
                  <a:cubicBezTo>
                    <a:pt x="499" y="1235"/>
                    <a:pt x="499" y="1235"/>
                    <a:pt x="499" y="1235"/>
                  </a:cubicBezTo>
                  <a:moveTo>
                    <a:pt x="514" y="1235"/>
                  </a:moveTo>
                  <a:cubicBezTo>
                    <a:pt x="507" y="1235"/>
                    <a:pt x="507" y="1235"/>
                    <a:pt x="507" y="1235"/>
                  </a:cubicBezTo>
                  <a:cubicBezTo>
                    <a:pt x="507" y="1242"/>
                    <a:pt x="507" y="1242"/>
                    <a:pt x="507" y="1242"/>
                  </a:cubicBezTo>
                  <a:cubicBezTo>
                    <a:pt x="514" y="1242"/>
                    <a:pt x="514" y="1242"/>
                    <a:pt x="514" y="1242"/>
                  </a:cubicBezTo>
                  <a:cubicBezTo>
                    <a:pt x="514" y="1235"/>
                    <a:pt x="514" y="1235"/>
                    <a:pt x="514" y="1235"/>
                  </a:cubicBezTo>
                  <a:moveTo>
                    <a:pt x="529" y="1235"/>
                  </a:moveTo>
                  <a:cubicBezTo>
                    <a:pt x="522" y="1235"/>
                    <a:pt x="522" y="1235"/>
                    <a:pt x="522" y="1235"/>
                  </a:cubicBezTo>
                  <a:cubicBezTo>
                    <a:pt x="522" y="1242"/>
                    <a:pt x="522" y="1242"/>
                    <a:pt x="522" y="1242"/>
                  </a:cubicBezTo>
                  <a:cubicBezTo>
                    <a:pt x="529" y="1242"/>
                    <a:pt x="529" y="1242"/>
                    <a:pt x="529" y="1242"/>
                  </a:cubicBezTo>
                  <a:cubicBezTo>
                    <a:pt x="529" y="1235"/>
                    <a:pt x="529" y="1235"/>
                    <a:pt x="529" y="1235"/>
                  </a:cubicBezTo>
                  <a:moveTo>
                    <a:pt x="544" y="1235"/>
                  </a:moveTo>
                  <a:cubicBezTo>
                    <a:pt x="537" y="1235"/>
                    <a:pt x="537" y="1235"/>
                    <a:pt x="537" y="1235"/>
                  </a:cubicBezTo>
                  <a:cubicBezTo>
                    <a:pt x="537" y="1242"/>
                    <a:pt x="537" y="1242"/>
                    <a:pt x="537" y="1242"/>
                  </a:cubicBezTo>
                  <a:cubicBezTo>
                    <a:pt x="544" y="1242"/>
                    <a:pt x="544" y="1242"/>
                    <a:pt x="544" y="1242"/>
                  </a:cubicBezTo>
                  <a:cubicBezTo>
                    <a:pt x="544" y="1235"/>
                    <a:pt x="544" y="1235"/>
                    <a:pt x="544" y="1235"/>
                  </a:cubicBezTo>
                  <a:moveTo>
                    <a:pt x="558" y="1235"/>
                  </a:moveTo>
                  <a:cubicBezTo>
                    <a:pt x="551" y="1235"/>
                    <a:pt x="551" y="1235"/>
                    <a:pt x="551" y="1235"/>
                  </a:cubicBezTo>
                  <a:cubicBezTo>
                    <a:pt x="551" y="1242"/>
                    <a:pt x="551" y="1242"/>
                    <a:pt x="551" y="1242"/>
                  </a:cubicBezTo>
                  <a:cubicBezTo>
                    <a:pt x="558" y="1242"/>
                    <a:pt x="558" y="1242"/>
                    <a:pt x="558" y="1242"/>
                  </a:cubicBezTo>
                  <a:cubicBezTo>
                    <a:pt x="558" y="1235"/>
                    <a:pt x="558" y="1235"/>
                    <a:pt x="558" y="1235"/>
                  </a:cubicBezTo>
                  <a:moveTo>
                    <a:pt x="190" y="1220"/>
                  </a:moveTo>
                  <a:cubicBezTo>
                    <a:pt x="183" y="1220"/>
                    <a:pt x="183" y="1220"/>
                    <a:pt x="183" y="1220"/>
                  </a:cubicBezTo>
                  <a:cubicBezTo>
                    <a:pt x="183" y="1227"/>
                    <a:pt x="183" y="1227"/>
                    <a:pt x="183" y="1227"/>
                  </a:cubicBezTo>
                  <a:cubicBezTo>
                    <a:pt x="190" y="1227"/>
                    <a:pt x="190" y="1227"/>
                    <a:pt x="190" y="1227"/>
                  </a:cubicBezTo>
                  <a:cubicBezTo>
                    <a:pt x="190" y="1220"/>
                    <a:pt x="190" y="1220"/>
                    <a:pt x="190" y="1220"/>
                  </a:cubicBezTo>
                  <a:moveTo>
                    <a:pt x="204" y="1220"/>
                  </a:moveTo>
                  <a:cubicBezTo>
                    <a:pt x="197" y="1220"/>
                    <a:pt x="197" y="1220"/>
                    <a:pt x="197" y="1220"/>
                  </a:cubicBezTo>
                  <a:cubicBezTo>
                    <a:pt x="197" y="1227"/>
                    <a:pt x="197" y="1227"/>
                    <a:pt x="197" y="1227"/>
                  </a:cubicBezTo>
                  <a:cubicBezTo>
                    <a:pt x="204" y="1227"/>
                    <a:pt x="204" y="1227"/>
                    <a:pt x="204" y="1227"/>
                  </a:cubicBezTo>
                  <a:cubicBezTo>
                    <a:pt x="204" y="1220"/>
                    <a:pt x="204" y="1220"/>
                    <a:pt x="204" y="1220"/>
                  </a:cubicBezTo>
                  <a:moveTo>
                    <a:pt x="219" y="1220"/>
                  </a:moveTo>
                  <a:cubicBezTo>
                    <a:pt x="212" y="1220"/>
                    <a:pt x="212" y="1220"/>
                    <a:pt x="212" y="1220"/>
                  </a:cubicBezTo>
                  <a:cubicBezTo>
                    <a:pt x="212" y="1227"/>
                    <a:pt x="212" y="1227"/>
                    <a:pt x="212" y="1227"/>
                  </a:cubicBezTo>
                  <a:cubicBezTo>
                    <a:pt x="219" y="1227"/>
                    <a:pt x="219" y="1227"/>
                    <a:pt x="219" y="1227"/>
                  </a:cubicBezTo>
                  <a:cubicBezTo>
                    <a:pt x="219" y="1220"/>
                    <a:pt x="219" y="1220"/>
                    <a:pt x="219" y="1220"/>
                  </a:cubicBezTo>
                  <a:moveTo>
                    <a:pt x="234" y="1220"/>
                  </a:moveTo>
                  <a:cubicBezTo>
                    <a:pt x="227" y="1220"/>
                    <a:pt x="227" y="1220"/>
                    <a:pt x="227" y="1220"/>
                  </a:cubicBezTo>
                  <a:cubicBezTo>
                    <a:pt x="227" y="1227"/>
                    <a:pt x="227" y="1227"/>
                    <a:pt x="227" y="1227"/>
                  </a:cubicBezTo>
                  <a:cubicBezTo>
                    <a:pt x="234" y="1227"/>
                    <a:pt x="234" y="1227"/>
                    <a:pt x="234" y="1227"/>
                  </a:cubicBezTo>
                  <a:cubicBezTo>
                    <a:pt x="234" y="1220"/>
                    <a:pt x="234" y="1220"/>
                    <a:pt x="234" y="1220"/>
                  </a:cubicBezTo>
                  <a:moveTo>
                    <a:pt x="249" y="1220"/>
                  </a:moveTo>
                  <a:cubicBezTo>
                    <a:pt x="242" y="1220"/>
                    <a:pt x="242" y="1220"/>
                    <a:pt x="242" y="1220"/>
                  </a:cubicBezTo>
                  <a:cubicBezTo>
                    <a:pt x="242" y="1227"/>
                    <a:pt x="242" y="1227"/>
                    <a:pt x="242" y="1227"/>
                  </a:cubicBezTo>
                  <a:cubicBezTo>
                    <a:pt x="249" y="1227"/>
                    <a:pt x="249" y="1227"/>
                    <a:pt x="249" y="1227"/>
                  </a:cubicBezTo>
                  <a:cubicBezTo>
                    <a:pt x="249" y="1220"/>
                    <a:pt x="249" y="1220"/>
                    <a:pt x="249" y="1220"/>
                  </a:cubicBezTo>
                  <a:moveTo>
                    <a:pt x="263" y="1220"/>
                  </a:moveTo>
                  <a:cubicBezTo>
                    <a:pt x="256" y="1220"/>
                    <a:pt x="256" y="1220"/>
                    <a:pt x="256" y="1220"/>
                  </a:cubicBezTo>
                  <a:cubicBezTo>
                    <a:pt x="256" y="1227"/>
                    <a:pt x="256" y="1227"/>
                    <a:pt x="256" y="1227"/>
                  </a:cubicBezTo>
                  <a:cubicBezTo>
                    <a:pt x="263" y="1227"/>
                    <a:pt x="263" y="1227"/>
                    <a:pt x="263" y="1227"/>
                  </a:cubicBezTo>
                  <a:cubicBezTo>
                    <a:pt x="263" y="1220"/>
                    <a:pt x="263" y="1220"/>
                    <a:pt x="263" y="1220"/>
                  </a:cubicBezTo>
                  <a:moveTo>
                    <a:pt x="278" y="1220"/>
                  </a:moveTo>
                  <a:cubicBezTo>
                    <a:pt x="271" y="1220"/>
                    <a:pt x="271" y="1220"/>
                    <a:pt x="271" y="1220"/>
                  </a:cubicBezTo>
                  <a:cubicBezTo>
                    <a:pt x="271" y="1227"/>
                    <a:pt x="271" y="1227"/>
                    <a:pt x="271" y="1227"/>
                  </a:cubicBezTo>
                  <a:cubicBezTo>
                    <a:pt x="278" y="1227"/>
                    <a:pt x="278" y="1227"/>
                    <a:pt x="278" y="1227"/>
                  </a:cubicBezTo>
                  <a:cubicBezTo>
                    <a:pt x="278" y="1220"/>
                    <a:pt x="278" y="1220"/>
                    <a:pt x="278" y="1220"/>
                  </a:cubicBezTo>
                  <a:moveTo>
                    <a:pt x="293" y="1220"/>
                  </a:moveTo>
                  <a:cubicBezTo>
                    <a:pt x="286" y="1220"/>
                    <a:pt x="286" y="1220"/>
                    <a:pt x="286" y="1220"/>
                  </a:cubicBezTo>
                  <a:cubicBezTo>
                    <a:pt x="286" y="1227"/>
                    <a:pt x="286" y="1227"/>
                    <a:pt x="286" y="1227"/>
                  </a:cubicBezTo>
                  <a:cubicBezTo>
                    <a:pt x="293" y="1227"/>
                    <a:pt x="293" y="1227"/>
                    <a:pt x="293" y="1227"/>
                  </a:cubicBezTo>
                  <a:cubicBezTo>
                    <a:pt x="293" y="1220"/>
                    <a:pt x="293" y="1220"/>
                    <a:pt x="293" y="1220"/>
                  </a:cubicBezTo>
                  <a:moveTo>
                    <a:pt x="308" y="1220"/>
                  </a:moveTo>
                  <a:cubicBezTo>
                    <a:pt x="301" y="1220"/>
                    <a:pt x="301" y="1220"/>
                    <a:pt x="301" y="1220"/>
                  </a:cubicBezTo>
                  <a:cubicBezTo>
                    <a:pt x="301" y="1227"/>
                    <a:pt x="301" y="1227"/>
                    <a:pt x="301" y="1227"/>
                  </a:cubicBezTo>
                  <a:cubicBezTo>
                    <a:pt x="308" y="1227"/>
                    <a:pt x="308" y="1227"/>
                    <a:pt x="308" y="1227"/>
                  </a:cubicBezTo>
                  <a:cubicBezTo>
                    <a:pt x="308" y="1220"/>
                    <a:pt x="308" y="1220"/>
                    <a:pt x="308" y="1220"/>
                  </a:cubicBezTo>
                  <a:moveTo>
                    <a:pt x="322" y="1220"/>
                  </a:moveTo>
                  <a:cubicBezTo>
                    <a:pt x="315" y="1220"/>
                    <a:pt x="315" y="1220"/>
                    <a:pt x="315" y="1220"/>
                  </a:cubicBezTo>
                  <a:cubicBezTo>
                    <a:pt x="315" y="1227"/>
                    <a:pt x="315" y="1227"/>
                    <a:pt x="315" y="1227"/>
                  </a:cubicBezTo>
                  <a:cubicBezTo>
                    <a:pt x="322" y="1227"/>
                    <a:pt x="322" y="1227"/>
                    <a:pt x="322" y="1227"/>
                  </a:cubicBezTo>
                  <a:cubicBezTo>
                    <a:pt x="322" y="1220"/>
                    <a:pt x="322" y="1220"/>
                    <a:pt x="322" y="1220"/>
                  </a:cubicBezTo>
                  <a:moveTo>
                    <a:pt x="337" y="1220"/>
                  </a:moveTo>
                  <a:cubicBezTo>
                    <a:pt x="330" y="1220"/>
                    <a:pt x="330" y="1220"/>
                    <a:pt x="330" y="1220"/>
                  </a:cubicBezTo>
                  <a:cubicBezTo>
                    <a:pt x="330" y="1227"/>
                    <a:pt x="330" y="1227"/>
                    <a:pt x="330" y="1227"/>
                  </a:cubicBezTo>
                  <a:cubicBezTo>
                    <a:pt x="337" y="1227"/>
                    <a:pt x="337" y="1227"/>
                    <a:pt x="337" y="1227"/>
                  </a:cubicBezTo>
                  <a:cubicBezTo>
                    <a:pt x="337" y="1220"/>
                    <a:pt x="337" y="1220"/>
                    <a:pt x="337" y="1220"/>
                  </a:cubicBezTo>
                  <a:moveTo>
                    <a:pt x="352" y="1220"/>
                  </a:moveTo>
                  <a:cubicBezTo>
                    <a:pt x="345" y="1220"/>
                    <a:pt x="345" y="1220"/>
                    <a:pt x="345" y="1220"/>
                  </a:cubicBezTo>
                  <a:cubicBezTo>
                    <a:pt x="345" y="1227"/>
                    <a:pt x="345" y="1227"/>
                    <a:pt x="345" y="1227"/>
                  </a:cubicBezTo>
                  <a:cubicBezTo>
                    <a:pt x="352" y="1227"/>
                    <a:pt x="352" y="1227"/>
                    <a:pt x="352" y="1227"/>
                  </a:cubicBezTo>
                  <a:cubicBezTo>
                    <a:pt x="352" y="1220"/>
                    <a:pt x="352" y="1220"/>
                    <a:pt x="352" y="1220"/>
                  </a:cubicBezTo>
                  <a:moveTo>
                    <a:pt x="367" y="1220"/>
                  </a:moveTo>
                  <a:cubicBezTo>
                    <a:pt x="360" y="1220"/>
                    <a:pt x="360" y="1220"/>
                    <a:pt x="360" y="1220"/>
                  </a:cubicBezTo>
                  <a:cubicBezTo>
                    <a:pt x="360" y="1227"/>
                    <a:pt x="360" y="1227"/>
                    <a:pt x="360" y="1227"/>
                  </a:cubicBezTo>
                  <a:cubicBezTo>
                    <a:pt x="367" y="1227"/>
                    <a:pt x="367" y="1227"/>
                    <a:pt x="367" y="1227"/>
                  </a:cubicBezTo>
                  <a:cubicBezTo>
                    <a:pt x="367" y="1220"/>
                    <a:pt x="367" y="1220"/>
                    <a:pt x="367" y="1220"/>
                  </a:cubicBezTo>
                  <a:moveTo>
                    <a:pt x="381" y="1220"/>
                  </a:moveTo>
                  <a:cubicBezTo>
                    <a:pt x="374" y="1220"/>
                    <a:pt x="374" y="1220"/>
                    <a:pt x="374" y="1220"/>
                  </a:cubicBezTo>
                  <a:cubicBezTo>
                    <a:pt x="374" y="1227"/>
                    <a:pt x="374" y="1227"/>
                    <a:pt x="374" y="1227"/>
                  </a:cubicBezTo>
                  <a:cubicBezTo>
                    <a:pt x="381" y="1227"/>
                    <a:pt x="381" y="1227"/>
                    <a:pt x="381" y="1227"/>
                  </a:cubicBezTo>
                  <a:cubicBezTo>
                    <a:pt x="381" y="1220"/>
                    <a:pt x="381" y="1220"/>
                    <a:pt x="381" y="1220"/>
                  </a:cubicBezTo>
                  <a:moveTo>
                    <a:pt x="396" y="1220"/>
                  </a:moveTo>
                  <a:cubicBezTo>
                    <a:pt x="389" y="1220"/>
                    <a:pt x="389" y="1220"/>
                    <a:pt x="389" y="1220"/>
                  </a:cubicBezTo>
                  <a:cubicBezTo>
                    <a:pt x="389" y="1227"/>
                    <a:pt x="389" y="1227"/>
                    <a:pt x="389" y="1227"/>
                  </a:cubicBezTo>
                  <a:cubicBezTo>
                    <a:pt x="396" y="1227"/>
                    <a:pt x="396" y="1227"/>
                    <a:pt x="396" y="1227"/>
                  </a:cubicBezTo>
                  <a:cubicBezTo>
                    <a:pt x="396" y="1220"/>
                    <a:pt x="396" y="1220"/>
                    <a:pt x="396" y="1220"/>
                  </a:cubicBezTo>
                  <a:moveTo>
                    <a:pt x="411" y="1220"/>
                  </a:moveTo>
                  <a:cubicBezTo>
                    <a:pt x="404" y="1220"/>
                    <a:pt x="404" y="1220"/>
                    <a:pt x="404" y="1220"/>
                  </a:cubicBezTo>
                  <a:cubicBezTo>
                    <a:pt x="404" y="1227"/>
                    <a:pt x="404" y="1227"/>
                    <a:pt x="404" y="1227"/>
                  </a:cubicBezTo>
                  <a:cubicBezTo>
                    <a:pt x="411" y="1227"/>
                    <a:pt x="411" y="1227"/>
                    <a:pt x="411" y="1227"/>
                  </a:cubicBezTo>
                  <a:cubicBezTo>
                    <a:pt x="411" y="1220"/>
                    <a:pt x="411" y="1220"/>
                    <a:pt x="411" y="1220"/>
                  </a:cubicBezTo>
                  <a:moveTo>
                    <a:pt x="426" y="1220"/>
                  </a:moveTo>
                  <a:cubicBezTo>
                    <a:pt x="419" y="1220"/>
                    <a:pt x="419" y="1220"/>
                    <a:pt x="419" y="1220"/>
                  </a:cubicBezTo>
                  <a:cubicBezTo>
                    <a:pt x="419" y="1227"/>
                    <a:pt x="419" y="1227"/>
                    <a:pt x="419" y="1227"/>
                  </a:cubicBezTo>
                  <a:cubicBezTo>
                    <a:pt x="426" y="1227"/>
                    <a:pt x="426" y="1227"/>
                    <a:pt x="426" y="1227"/>
                  </a:cubicBezTo>
                  <a:cubicBezTo>
                    <a:pt x="426" y="1220"/>
                    <a:pt x="426" y="1220"/>
                    <a:pt x="426" y="1220"/>
                  </a:cubicBezTo>
                  <a:moveTo>
                    <a:pt x="440" y="1220"/>
                  </a:moveTo>
                  <a:cubicBezTo>
                    <a:pt x="433" y="1220"/>
                    <a:pt x="433" y="1220"/>
                    <a:pt x="433" y="1220"/>
                  </a:cubicBezTo>
                  <a:cubicBezTo>
                    <a:pt x="433" y="1227"/>
                    <a:pt x="433" y="1227"/>
                    <a:pt x="433" y="1227"/>
                  </a:cubicBezTo>
                  <a:cubicBezTo>
                    <a:pt x="440" y="1227"/>
                    <a:pt x="440" y="1227"/>
                    <a:pt x="440" y="1227"/>
                  </a:cubicBezTo>
                  <a:cubicBezTo>
                    <a:pt x="440" y="1220"/>
                    <a:pt x="440" y="1220"/>
                    <a:pt x="440" y="1220"/>
                  </a:cubicBezTo>
                  <a:moveTo>
                    <a:pt x="455" y="1220"/>
                  </a:moveTo>
                  <a:cubicBezTo>
                    <a:pt x="448" y="1220"/>
                    <a:pt x="448" y="1220"/>
                    <a:pt x="448" y="1220"/>
                  </a:cubicBezTo>
                  <a:cubicBezTo>
                    <a:pt x="448" y="1227"/>
                    <a:pt x="448" y="1227"/>
                    <a:pt x="448" y="1227"/>
                  </a:cubicBezTo>
                  <a:cubicBezTo>
                    <a:pt x="455" y="1227"/>
                    <a:pt x="455" y="1227"/>
                    <a:pt x="455" y="1227"/>
                  </a:cubicBezTo>
                  <a:cubicBezTo>
                    <a:pt x="455" y="1220"/>
                    <a:pt x="455" y="1220"/>
                    <a:pt x="455" y="1220"/>
                  </a:cubicBezTo>
                  <a:moveTo>
                    <a:pt x="470" y="1220"/>
                  </a:moveTo>
                  <a:cubicBezTo>
                    <a:pt x="463" y="1220"/>
                    <a:pt x="463" y="1220"/>
                    <a:pt x="463" y="1220"/>
                  </a:cubicBezTo>
                  <a:cubicBezTo>
                    <a:pt x="463" y="1227"/>
                    <a:pt x="463" y="1227"/>
                    <a:pt x="463" y="1227"/>
                  </a:cubicBezTo>
                  <a:cubicBezTo>
                    <a:pt x="470" y="1227"/>
                    <a:pt x="470" y="1227"/>
                    <a:pt x="470" y="1227"/>
                  </a:cubicBezTo>
                  <a:cubicBezTo>
                    <a:pt x="470" y="1220"/>
                    <a:pt x="470" y="1220"/>
                    <a:pt x="470" y="1220"/>
                  </a:cubicBezTo>
                  <a:moveTo>
                    <a:pt x="485" y="1220"/>
                  </a:moveTo>
                  <a:cubicBezTo>
                    <a:pt x="478" y="1220"/>
                    <a:pt x="478" y="1220"/>
                    <a:pt x="478" y="1220"/>
                  </a:cubicBezTo>
                  <a:cubicBezTo>
                    <a:pt x="478" y="1227"/>
                    <a:pt x="478" y="1227"/>
                    <a:pt x="478" y="1227"/>
                  </a:cubicBezTo>
                  <a:cubicBezTo>
                    <a:pt x="485" y="1227"/>
                    <a:pt x="485" y="1227"/>
                    <a:pt x="485" y="1227"/>
                  </a:cubicBezTo>
                  <a:cubicBezTo>
                    <a:pt x="485" y="1220"/>
                    <a:pt x="485" y="1220"/>
                    <a:pt x="485" y="1220"/>
                  </a:cubicBezTo>
                  <a:moveTo>
                    <a:pt x="499" y="1220"/>
                  </a:moveTo>
                  <a:cubicBezTo>
                    <a:pt x="492" y="1220"/>
                    <a:pt x="492" y="1220"/>
                    <a:pt x="492" y="1220"/>
                  </a:cubicBezTo>
                  <a:cubicBezTo>
                    <a:pt x="492" y="1227"/>
                    <a:pt x="492" y="1227"/>
                    <a:pt x="492" y="1227"/>
                  </a:cubicBezTo>
                  <a:cubicBezTo>
                    <a:pt x="499" y="1227"/>
                    <a:pt x="499" y="1227"/>
                    <a:pt x="499" y="1227"/>
                  </a:cubicBezTo>
                  <a:cubicBezTo>
                    <a:pt x="499" y="1220"/>
                    <a:pt x="499" y="1220"/>
                    <a:pt x="499" y="1220"/>
                  </a:cubicBezTo>
                  <a:moveTo>
                    <a:pt x="514" y="1220"/>
                  </a:moveTo>
                  <a:cubicBezTo>
                    <a:pt x="507" y="1220"/>
                    <a:pt x="507" y="1220"/>
                    <a:pt x="507" y="1220"/>
                  </a:cubicBezTo>
                  <a:cubicBezTo>
                    <a:pt x="507" y="1227"/>
                    <a:pt x="507" y="1227"/>
                    <a:pt x="507" y="1227"/>
                  </a:cubicBezTo>
                  <a:cubicBezTo>
                    <a:pt x="514" y="1227"/>
                    <a:pt x="514" y="1227"/>
                    <a:pt x="514" y="1227"/>
                  </a:cubicBezTo>
                  <a:cubicBezTo>
                    <a:pt x="514" y="1220"/>
                    <a:pt x="514" y="1220"/>
                    <a:pt x="514" y="1220"/>
                  </a:cubicBezTo>
                  <a:moveTo>
                    <a:pt x="529" y="1220"/>
                  </a:moveTo>
                  <a:cubicBezTo>
                    <a:pt x="522" y="1220"/>
                    <a:pt x="522" y="1220"/>
                    <a:pt x="522" y="1220"/>
                  </a:cubicBezTo>
                  <a:cubicBezTo>
                    <a:pt x="522" y="1227"/>
                    <a:pt x="522" y="1227"/>
                    <a:pt x="522" y="1227"/>
                  </a:cubicBezTo>
                  <a:cubicBezTo>
                    <a:pt x="529" y="1227"/>
                    <a:pt x="529" y="1227"/>
                    <a:pt x="529" y="1227"/>
                  </a:cubicBezTo>
                  <a:cubicBezTo>
                    <a:pt x="529" y="1220"/>
                    <a:pt x="529" y="1220"/>
                    <a:pt x="529" y="1220"/>
                  </a:cubicBezTo>
                  <a:moveTo>
                    <a:pt x="544" y="1220"/>
                  </a:moveTo>
                  <a:cubicBezTo>
                    <a:pt x="537" y="1220"/>
                    <a:pt x="537" y="1220"/>
                    <a:pt x="537" y="1220"/>
                  </a:cubicBezTo>
                  <a:cubicBezTo>
                    <a:pt x="537" y="1227"/>
                    <a:pt x="537" y="1227"/>
                    <a:pt x="537" y="1227"/>
                  </a:cubicBezTo>
                  <a:cubicBezTo>
                    <a:pt x="544" y="1227"/>
                    <a:pt x="544" y="1227"/>
                    <a:pt x="544" y="1227"/>
                  </a:cubicBezTo>
                  <a:cubicBezTo>
                    <a:pt x="544" y="1220"/>
                    <a:pt x="544" y="1220"/>
                    <a:pt x="544" y="1220"/>
                  </a:cubicBezTo>
                  <a:moveTo>
                    <a:pt x="558" y="1220"/>
                  </a:moveTo>
                  <a:cubicBezTo>
                    <a:pt x="551" y="1220"/>
                    <a:pt x="551" y="1220"/>
                    <a:pt x="551" y="1220"/>
                  </a:cubicBezTo>
                  <a:cubicBezTo>
                    <a:pt x="551" y="1227"/>
                    <a:pt x="551" y="1227"/>
                    <a:pt x="551" y="1227"/>
                  </a:cubicBezTo>
                  <a:cubicBezTo>
                    <a:pt x="558" y="1227"/>
                    <a:pt x="558" y="1227"/>
                    <a:pt x="558" y="1227"/>
                  </a:cubicBezTo>
                  <a:cubicBezTo>
                    <a:pt x="558" y="1220"/>
                    <a:pt x="558" y="1220"/>
                    <a:pt x="558" y="1220"/>
                  </a:cubicBezTo>
                  <a:moveTo>
                    <a:pt x="190" y="1205"/>
                  </a:moveTo>
                  <a:cubicBezTo>
                    <a:pt x="183" y="1205"/>
                    <a:pt x="183" y="1205"/>
                    <a:pt x="183" y="1205"/>
                  </a:cubicBezTo>
                  <a:cubicBezTo>
                    <a:pt x="183" y="1212"/>
                    <a:pt x="183" y="1212"/>
                    <a:pt x="183" y="1212"/>
                  </a:cubicBezTo>
                  <a:cubicBezTo>
                    <a:pt x="190" y="1212"/>
                    <a:pt x="190" y="1212"/>
                    <a:pt x="190" y="1212"/>
                  </a:cubicBezTo>
                  <a:cubicBezTo>
                    <a:pt x="190" y="1205"/>
                    <a:pt x="190" y="1205"/>
                    <a:pt x="190" y="1205"/>
                  </a:cubicBezTo>
                  <a:moveTo>
                    <a:pt x="204" y="1205"/>
                  </a:moveTo>
                  <a:cubicBezTo>
                    <a:pt x="197" y="1205"/>
                    <a:pt x="197" y="1205"/>
                    <a:pt x="197" y="1205"/>
                  </a:cubicBezTo>
                  <a:cubicBezTo>
                    <a:pt x="197" y="1212"/>
                    <a:pt x="197" y="1212"/>
                    <a:pt x="197" y="1212"/>
                  </a:cubicBezTo>
                  <a:cubicBezTo>
                    <a:pt x="204" y="1212"/>
                    <a:pt x="204" y="1212"/>
                    <a:pt x="204" y="1212"/>
                  </a:cubicBezTo>
                  <a:cubicBezTo>
                    <a:pt x="204" y="1205"/>
                    <a:pt x="204" y="1205"/>
                    <a:pt x="204" y="1205"/>
                  </a:cubicBezTo>
                  <a:moveTo>
                    <a:pt x="219" y="1205"/>
                  </a:moveTo>
                  <a:cubicBezTo>
                    <a:pt x="212" y="1205"/>
                    <a:pt x="212" y="1205"/>
                    <a:pt x="212" y="1205"/>
                  </a:cubicBezTo>
                  <a:cubicBezTo>
                    <a:pt x="212" y="1212"/>
                    <a:pt x="212" y="1212"/>
                    <a:pt x="212" y="1212"/>
                  </a:cubicBezTo>
                  <a:cubicBezTo>
                    <a:pt x="219" y="1212"/>
                    <a:pt x="219" y="1212"/>
                    <a:pt x="219" y="1212"/>
                  </a:cubicBezTo>
                  <a:cubicBezTo>
                    <a:pt x="219" y="1205"/>
                    <a:pt x="219" y="1205"/>
                    <a:pt x="219" y="1205"/>
                  </a:cubicBezTo>
                  <a:moveTo>
                    <a:pt x="234" y="1205"/>
                  </a:moveTo>
                  <a:cubicBezTo>
                    <a:pt x="227" y="1205"/>
                    <a:pt x="227" y="1205"/>
                    <a:pt x="227" y="1205"/>
                  </a:cubicBezTo>
                  <a:cubicBezTo>
                    <a:pt x="227" y="1212"/>
                    <a:pt x="227" y="1212"/>
                    <a:pt x="227" y="1212"/>
                  </a:cubicBezTo>
                  <a:cubicBezTo>
                    <a:pt x="234" y="1212"/>
                    <a:pt x="234" y="1212"/>
                    <a:pt x="234" y="1212"/>
                  </a:cubicBezTo>
                  <a:cubicBezTo>
                    <a:pt x="234" y="1205"/>
                    <a:pt x="234" y="1205"/>
                    <a:pt x="234" y="1205"/>
                  </a:cubicBezTo>
                  <a:moveTo>
                    <a:pt x="249" y="1205"/>
                  </a:moveTo>
                  <a:cubicBezTo>
                    <a:pt x="242" y="1205"/>
                    <a:pt x="242" y="1205"/>
                    <a:pt x="242" y="1205"/>
                  </a:cubicBezTo>
                  <a:cubicBezTo>
                    <a:pt x="242" y="1212"/>
                    <a:pt x="242" y="1212"/>
                    <a:pt x="242" y="1212"/>
                  </a:cubicBezTo>
                  <a:cubicBezTo>
                    <a:pt x="249" y="1212"/>
                    <a:pt x="249" y="1212"/>
                    <a:pt x="249" y="1212"/>
                  </a:cubicBezTo>
                  <a:cubicBezTo>
                    <a:pt x="249" y="1205"/>
                    <a:pt x="249" y="1205"/>
                    <a:pt x="249" y="1205"/>
                  </a:cubicBezTo>
                  <a:moveTo>
                    <a:pt x="263" y="1205"/>
                  </a:moveTo>
                  <a:cubicBezTo>
                    <a:pt x="256" y="1205"/>
                    <a:pt x="256" y="1205"/>
                    <a:pt x="256" y="1205"/>
                  </a:cubicBezTo>
                  <a:cubicBezTo>
                    <a:pt x="256" y="1212"/>
                    <a:pt x="256" y="1212"/>
                    <a:pt x="256" y="1212"/>
                  </a:cubicBezTo>
                  <a:cubicBezTo>
                    <a:pt x="263" y="1212"/>
                    <a:pt x="263" y="1212"/>
                    <a:pt x="263" y="1212"/>
                  </a:cubicBezTo>
                  <a:cubicBezTo>
                    <a:pt x="263" y="1205"/>
                    <a:pt x="263" y="1205"/>
                    <a:pt x="263" y="1205"/>
                  </a:cubicBezTo>
                  <a:moveTo>
                    <a:pt x="278" y="1205"/>
                  </a:moveTo>
                  <a:cubicBezTo>
                    <a:pt x="271" y="1205"/>
                    <a:pt x="271" y="1205"/>
                    <a:pt x="271" y="1205"/>
                  </a:cubicBezTo>
                  <a:cubicBezTo>
                    <a:pt x="271" y="1212"/>
                    <a:pt x="271" y="1212"/>
                    <a:pt x="271" y="1212"/>
                  </a:cubicBezTo>
                  <a:cubicBezTo>
                    <a:pt x="278" y="1212"/>
                    <a:pt x="278" y="1212"/>
                    <a:pt x="278" y="1212"/>
                  </a:cubicBezTo>
                  <a:cubicBezTo>
                    <a:pt x="278" y="1205"/>
                    <a:pt x="278" y="1205"/>
                    <a:pt x="278" y="1205"/>
                  </a:cubicBezTo>
                  <a:moveTo>
                    <a:pt x="293" y="1205"/>
                  </a:moveTo>
                  <a:cubicBezTo>
                    <a:pt x="286" y="1205"/>
                    <a:pt x="286" y="1205"/>
                    <a:pt x="286" y="1205"/>
                  </a:cubicBezTo>
                  <a:cubicBezTo>
                    <a:pt x="286" y="1212"/>
                    <a:pt x="286" y="1212"/>
                    <a:pt x="286" y="1212"/>
                  </a:cubicBezTo>
                  <a:cubicBezTo>
                    <a:pt x="293" y="1212"/>
                    <a:pt x="293" y="1212"/>
                    <a:pt x="293" y="1212"/>
                  </a:cubicBezTo>
                  <a:cubicBezTo>
                    <a:pt x="293" y="1205"/>
                    <a:pt x="293" y="1205"/>
                    <a:pt x="293" y="1205"/>
                  </a:cubicBezTo>
                  <a:moveTo>
                    <a:pt x="308" y="1205"/>
                  </a:moveTo>
                  <a:cubicBezTo>
                    <a:pt x="301" y="1205"/>
                    <a:pt x="301" y="1205"/>
                    <a:pt x="301" y="1205"/>
                  </a:cubicBezTo>
                  <a:cubicBezTo>
                    <a:pt x="301" y="1212"/>
                    <a:pt x="301" y="1212"/>
                    <a:pt x="301" y="1212"/>
                  </a:cubicBezTo>
                  <a:cubicBezTo>
                    <a:pt x="308" y="1212"/>
                    <a:pt x="308" y="1212"/>
                    <a:pt x="308" y="1212"/>
                  </a:cubicBezTo>
                  <a:cubicBezTo>
                    <a:pt x="308" y="1205"/>
                    <a:pt x="308" y="1205"/>
                    <a:pt x="308" y="1205"/>
                  </a:cubicBezTo>
                  <a:moveTo>
                    <a:pt x="322" y="1205"/>
                  </a:moveTo>
                  <a:cubicBezTo>
                    <a:pt x="315" y="1205"/>
                    <a:pt x="315" y="1205"/>
                    <a:pt x="315" y="1205"/>
                  </a:cubicBezTo>
                  <a:cubicBezTo>
                    <a:pt x="315" y="1212"/>
                    <a:pt x="315" y="1212"/>
                    <a:pt x="315" y="1212"/>
                  </a:cubicBezTo>
                  <a:cubicBezTo>
                    <a:pt x="322" y="1212"/>
                    <a:pt x="322" y="1212"/>
                    <a:pt x="322" y="1212"/>
                  </a:cubicBezTo>
                  <a:cubicBezTo>
                    <a:pt x="322" y="1205"/>
                    <a:pt x="322" y="1205"/>
                    <a:pt x="322" y="1205"/>
                  </a:cubicBezTo>
                  <a:moveTo>
                    <a:pt x="337" y="1205"/>
                  </a:moveTo>
                  <a:cubicBezTo>
                    <a:pt x="330" y="1205"/>
                    <a:pt x="330" y="1205"/>
                    <a:pt x="330" y="1205"/>
                  </a:cubicBezTo>
                  <a:cubicBezTo>
                    <a:pt x="330" y="1212"/>
                    <a:pt x="330" y="1212"/>
                    <a:pt x="330" y="1212"/>
                  </a:cubicBezTo>
                  <a:cubicBezTo>
                    <a:pt x="337" y="1212"/>
                    <a:pt x="337" y="1212"/>
                    <a:pt x="337" y="1212"/>
                  </a:cubicBezTo>
                  <a:cubicBezTo>
                    <a:pt x="337" y="1205"/>
                    <a:pt x="337" y="1205"/>
                    <a:pt x="337" y="1205"/>
                  </a:cubicBezTo>
                  <a:moveTo>
                    <a:pt x="352" y="1205"/>
                  </a:moveTo>
                  <a:cubicBezTo>
                    <a:pt x="345" y="1205"/>
                    <a:pt x="345" y="1205"/>
                    <a:pt x="345" y="1205"/>
                  </a:cubicBezTo>
                  <a:cubicBezTo>
                    <a:pt x="345" y="1212"/>
                    <a:pt x="345" y="1212"/>
                    <a:pt x="345" y="1212"/>
                  </a:cubicBezTo>
                  <a:cubicBezTo>
                    <a:pt x="352" y="1212"/>
                    <a:pt x="352" y="1212"/>
                    <a:pt x="352" y="1212"/>
                  </a:cubicBezTo>
                  <a:cubicBezTo>
                    <a:pt x="352" y="1205"/>
                    <a:pt x="352" y="1205"/>
                    <a:pt x="352" y="1205"/>
                  </a:cubicBezTo>
                  <a:moveTo>
                    <a:pt x="367" y="1205"/>
                  </a:moveTo>
                  <a:cubicBezTo>
                    <a:pt x="360" y="1205"/>
                    <a:pt x="360" y="1205"/>
                    <a:pt x="360" y="1205"/>
                  </a:cubicBezTo>
                  <a:cubicBezTo>
                    <a:pt x="360" y="1212"/>
                    <a:pt x="360" y="1212"/>
                    <a:pt x="360" y="1212"/>
                  </a:cubicBezTo>
                  <a:cubicBezTo>
                    <a:pt x="367" y="1212"/>
                    <a:pt x="367" y="1212"/>
                    <a:pt x="367" y="1212"/>
                  </a:cubicBezTo>
                  <a:cubicBezTo>
                    <a:pt x="367" y="1205"/>
                    <a:pt x="367" y="1205"/>
                    <a:pt x="367" y="1205"/>
                  </a:cubicBezTo>
                  <a:moveTo>
                    <a:pt x="381" y="1205"/>
                  </a:moveTo>
                  <a:cubicBezTo>
                    <a:pt x="374" y="1205"/>
                    <a:pt x="374" y="1205"/>
                    <a:pt x="374" y="1205"/>
                  </a:cubicBezTo>
                  <a:cubicBezTo>
                    <a:pt x="374" y="1212"/>
                    <a:pt x="374" y="1212"/>
                    <a:pt x="374" y="1212"/>
                  </a:cubicBezTo>
                  <a:cubicBezTo>
                    <a:pt x="381" y="1212"/>
                    <a:pt x="381" y="1212"/>
                    <a:pt x="381" y="1212"/>
                  </a:cubicBezTo>
                  <a:cubicBezTo>
                    <a:pt x="381" y="1205"/>
                    <a:pt x="381" y="1205"/>
                    <a:pt x="381" y="1205"/>
                  </a:cubicBezTo>
                  <a:moveTo>
                    <a:pt x="396" y="1205"/>
                  </a:moveTo>
                  <a:cubicBezTo>
                    <a:pt x="389" y="1205"/>
                    <a:pt x="389" y="1205"/>
                    <a:pt x="389" y="1205"/>
                  </a:cubicBezTo>
                  <a:cubicBezTo>
                    <a:pt x="389" y="1212"/>
                    <a:pt x="389" y="1212"/>
                    <a:pt x="389" y="1212"/>
                  </a:cubicBezTo>
                  <a:cubicBezTo>
                    <a:pt x="396" y="1212"/>
                    <a:pt x="396" y="1212"/>
                    <a:pt x="396" y="1212"/>
                  </a:cubicBezTo>
                  <a:cubicBezTo>
                    <a:pt x="396" y="1205"/>
                    <a:pt x="396" y="1205"/>
                    <a:pt x="396" y="1205"/>
                  </a:cubicBezTo>
                  <a:moveTo>
                    <a:pt x="411" y="1205"/>
                  </a:moveTo>
                  <a:cubicBezTo>
                    <a:pt x="404" y="1205"/>
                    <a:pt x="404" y="1205"/>
                    <a:pt x="404" y="1205"/>
                  </a:cubicBezTo>
                  <a:cubicBezTo>
                    <a:pt x="404" y="1212"/>
                    <a:pt x="404" y="1212"/>
                    <a:pt x="404" y="1212"/>
                  </a:cubicBezTo>
                  <a:cubicBezTo>
                    <a:pt x="411" y="1212"/>
                    <a:pt x="411" y="1212"/>
                    <a:pt x="411" y="1212"/>
                  </a:cubicBezTo>
                  <a:cubicBezTo>
                    <a:pt x="411" y="1205"/>
                    <a:pt x="411" y="1205"/>
                    <a:pt x="411" y="1205"/>
                  </a:cubicBezTo>
                  <a:moveTo>
                    <a:pt x="426" y="1205"/>
                  </a:moveTo>
                  <a:cubicBezTo>
                    <a:pt x="419" y="1205"/>
                    <a:pt x="419" y="1205"/>
                    <a:pt x="419" y="1205"/>
                  </a:cubicBezTo>
                  <a:cubicBezTo>
                    <a:pt x="419" y="1212"/>
                    <a:pt x="419" y="1212"/>
                    <a:pt x="419" y="1212"/>
                  </a:cubicBezTo>
                  <a:cubicBezTo>
                    <a:pt x="426" y="1212"/>
                    <a:pt x="426" y="1212"/>
                    <a:pt x="426" y="1212"/>
                  </a:cubicBezTo>
                  <a:cubicBezTo>
                    <a:pt x="426" y="1205"/>
                    <a:pt x="426" y="1205"/>
                    <a:pt x="426" y="1205"/>
                  </a:cubicBezTo>
                  <a:moveTo>
                    <a:pt x="440" y="1205"/>
                  </a:moveTo>
                  <a:cubicBezTo>
                    <a:pt x="433" y="1205"/>
                    <a:pt x="433" y="1205"/>
                    <a:pt x="433" y="1205"/>
                  </a:cubicBezTo>
                  <a:cubicBezTo>
                    <a:pt x="433" y="1212"/>
                    <a:pt x="433" y="1212"/>
                    <a:pt x="433" y="1212"/>
                  </a:cubicBezTo>
                  <a:cubicBezTo>
                    <a:pt x="440" y="1212"/>
                    <a:pt x="440" y="1212"/>
                    <a:pt x="440" y="1212"/>
                  </a:cubicBezTo>
                  <a:cubicBezTo>
                    <a:pt x="440" y="1205"/>
                    <a:pt x="440" y="1205"/>
                    <a:pt x="440" y="1205"/>
                  </a:cubicBezTo>
                  <a:moveTo>
                    <a:pt x="455" y="1205"/>
                  </a:moveTo>
                  <a:cubicBezTo>
                    <a:pt x="448" y="1205"/>
                    <a:pt x="448" y="1205"/>
                    <a:pt x="448" y="1205"/>
                  </a:cubicBezTo>
                  <a:cubicBezTo>
                    <a:pt x="448" y="1212"/>
                    <a:pt x="448" y="1212"/>
                    <a:pt x="448" y="1212"/>
                  </a:cubicBezTo>
                  <a:cubicBezTo>
                    <a:pt x="455" y="1212"/>
                    <a:pt x="455" y="1212"/>
                    <a:pt x="455" y="1212"/>
                  </a:cubicBezTo>
                  <a:cubicBezTo>
                    <a:pt x="455" y="1205"/>
                    <a:pt x="455" y="1205"/>
                    <a:pt x="455" y="1205"/>
                  </a:cubicBezTo>
                  <a:moveTo>
                    <a:pt x="470" y="1205"/>
                  </a:moveTo>
                  <a:cubicBezTo>
                    <a:pt x="463" y="1205"/>
                    <a:pt x="463" y="1205"/>
                    <a:pt x="463" y="1205"/>
                  </a:cubicBezTo>
                  <a:cubicBezTo>
                    <a:pt x="463" y="1212"/>
                    <a:pt x="463" y="1212"/>
                    <a:pt x="463" y="1212"/>
                  </a:cubicBezTo>
                  <a:cubicBezTo>
                    <a:pt x="470" y="1212"/>
                    <a:pt x="470" y="1212"/>
                    <a:pt x="470" y="1212"/>
                  </a:cubicBezTo>
                  <a:cubicBezTo>
                    <a:pt x="470" y="1205"/>
                    <a:pt x="470" y="1205"/>
                    <a:pt x="470" y="1205"/>
                  </a:cubicBezTo>
                  <a:moveTo>
                    <a:pt x="485" y="1205"/>
                  </a:moveTo>
                  <a:cubicBezTo>
                    <a:pt x="478" y="1205"/>
                    <a:pt x="478" y="1205"/>
                    <a:pt x="478" y="1205"/>
                  </a:cubicBezTo>
                  <a:cubicBezTo>
                    <a:pt x="478" y="1212"/>
                    <a:pt x="478" y="1212"/>
                    <a:pt x="478" y="1212"/>
                  </a:cubicBezTo>
                  <a:cubicBezTo>
                    <a:pt x="485" y="1212"/>
                    <a:pt x="485" y="1212"/>
                    <a:pt x="485" y="1212"/>
                  </a:cubicBezTo>
                  <a:cubicBezTo>
                    <a:pt x="485" y="1205"/>
                    <a:pt x="485" y="1205"/>
                    <a:pt x="485" y="1205"/>
                  </a:cubicBezTo>
                  <a:moveTo>
                    <a:pt x="499" y="1205"/>
                  </a:moveTo>
                  <a:cubicBezTo>
                    <a:pt x="492" y="1205"/>
                    <a:pt x="492" y="1205"/>
                    <a:pt x="492" y="1205"/>
                  </a:cubicBezTo>
                  <a:cubicBezTo>
                    <a:pt x="492" y="1212"/>
                    <a:pt x="492" y="1212"/>
                    <a:pt x="492" y="1212"/>
                  </a:cubicBezTo>
                  <a:cubicBezTo>
                    <a:pt x="499" y="1212"/>
                    <a:pt x="499" y="1212"/>
                    <a:pt x="499" y="1212"/>
                  </a:cubicBezTo>
                  <a:cubicBezTo>
                    <a:pt x="499" y="1205"/>
                    <a:pt x="499" y="1205"/>
                    <a:pt x="499" y="1205"/>
                  </a:cubicBezTo>
                  <a:moveTo>
                    <a:pt x="514" y="1205"/>
                  </a:moveTo>
                  <a:cubicBezTo>
                    <a:pt x="507" y="1205"/>
                    <a:pt x="507" y="1205"/>
                    <a:pt x="507" y="1205"/>
                  </a:cubicBezTo>
                  <a:cubicBezTo>
                    <a:pt x="507" y="1212"/>
                    <a:pt x="507" y="1212"/>
                    <a:pt x="507" y="1212"/>
                  </a:cubicBezTo>
                  <a:cubicBezTo>
                    <a:pt x="514" y="1212"/>
                    <a:pt x="514" y="1212"/>
                    <a:pt x="514" y="1212"/>
                  </a:cubicBezTo>
                  <a:cubicBezTo>
                    <a:pt x="514" y="1205"/>
                    <a:pt x="514" y="1205"/>
                    <a:pt x="514" y="1205"/>
                  </a:cubicBezTo>
                  <a:moveTo>
                    <a:pt x="529" y="1205"/>
                  </a:moveTo>
                  <a:cubicBezTo>
                    <a:pt x="522" y="1205"/>
                    <a:pt x="522" y="1205"/>
                    <a:pt x="522" y="1205"/>
                  </a:cubicBezTo>
                  <a:cubicBezTo>
                    <a:pt x="522" y="1212"/>
                    <a:pt x="522" y="1212"/>
                    <a:pt x="522" y="1212"/>
                  </a:cubicBezTo>
                  <a:cubicBezTo>
                    <a:pt x="529" y="1212"/>
                    <a:pt x="529" y="1212"/>
                    <a:pt x="529" y="1212"/>
                  </a:cubicBezTo>
                  <a:cubicBezTo>
                    <a:pt x="529" y="1205"/>
                    <a:pt x="529" y="1205"/>
                    <a:pt x="529" y="1205"/>
                  </a:cubicBezTo>
                  <a:moveTo>
                    <a:pt x="544" y="1205"/>
                  </a:moveTo>
                  <a:cubicBezTo>
                    <a:pt x="537" y="1205"/>
                    <a:pt x="537" y="1205"/>
                    <a:pt x="537" y="1205"/>
                  </a:cubicBezTo>
                  <a:cubicBezTo>
                    <a:pt x="537" y="1212"/>
                    <a:pt x="537" y="1212"/>
                    <a:pt x="537" y="1212"/>
                  </a:cubicBezTo>
                  <a:cubicBezTo>
                    <a:pt x="544" y="1212"/>
                    <a:pt x="544" y="1212"/>
                    <a:pt x="544" y="1212"/>
                  </a:cubicBezTo>
                  <a:cubicBezTo>
                    <a:pt x="544" y="1205"/>
                    <a:pt x="544" y="1205"/>
                    <a:pt x="544" y="1205"/>
                  </a:cubicBezTo>
                  <a:moveTo>
                    <a:pt x="558" y="1205"/>
                  </a:moveTo>
                  <a:cubicBezTo>
                    <a:pt x="551" y="1205"/>
                    <a:pt x="551" y="1205"/>
                    <a:pt x="551" y="1205"/>
                  </a:cubicBezTo>
                  <a:cubicBezTo>
                    <a:pt x="551" y="1212"/>
                    <a:pt x="551" y="1212"/>
                    <a:pt x="551" y="1212"/>
                  </a:cubicBezTo>
                  <a:cubicBezTo>
                    <a:pt x="558" y="1212"/>
                    <a:pt x="558" y="1212"/>
                    <a:pt x="558" y="1212"/>
                  </a:cubicBezTo>
                  <a:cubicBezTo>
                    <a:pt x="558" y="1205"/>
                    <a:pt x="558" y="1205"/>
                    <a:pt x="558" y="1205"/>
                  </a:cubicBezTo>
                  <a:moveTo>
                    <a:pt x="190" y="1190"/>
                  </a:moveTo>
                  <a:cubicBezTo>
                    <a:pt x="183" y="1190"/>
                    <a:pt x="183" y="1190"/>
                    <a:pt x="183" y="1190"/>
                  </a:cubicBezTo>
                  <a:cubicBezTo>
                    <a:pt x="183" y="1197"/>
                    <a:pt x="183" y="1197"/>
                    <a:pt x="183" y="1197"/>
                  </a:cubicBezTo>
                  <a:cubicBezTo>
                    <a:pt x="190" y="1197"/>
                    <a:pt x="190" y="1197"/>
                    <a:pt x="190" y="1197"/>
                  </a:cubicBezTo>
                  <a:cubicBezTo>
                    <a:pt x="190" y="1190"/>
                    <a:pt x="190" y="1190"/>
                    <a:pt x="190" y="1190"/>
                  </a:cubicBezTo>
                  <a:moveTo>
                    <a:pt x="204" y="1190"/>
                  </a:moveTo>
                  <a:cubicBezTo>
                    <a:pt x="197" y="1190"/>
                    <a:pt x="197" y="1190"/>
                    <a:pt x="197" y="1190"/>
                  </a:cubicBezTo>
                  <a:cubicBezTo>
                    <a:pt x="197" y="1197"/>
                    <a:pt x="197" y="1197"/>
                    <a:pt x="197" y="1197"/>
                  </a:cubicBezTo>
                  <a:cubicBezTo>
                    <a:pt x="204" y="1197"/>
                    <a:pt x="204" y="1197"/>
                    <a:pt x="204" y="1197"/>
                  </a:cubicBezTo>
                  <a:cubicBezTo>
                    <a:pt x="204" y="1190"/>
                    <a:pt x="204" y="1190"/>
                    <a:pt x="204" y="1190"/>
                  </a:cubicBezTo>
                  <a:moveTo>
                    <a:pt x="219" y="1190"/>
                  </a:moveTo>
                  <a:cubicBezTo>
                    <a:pt x="212" y="1190"/>
                    <a:pt x="212" y="1190"/>
                    <a:pt x="212" y="1190"/>
                  </a:cubicBezTo>
                  <a:cubicBezTo>
                    <a:pt x="212" y="1197"/>
                    <a:pt x="212" y="1197"/>
                    <a:pt x="212" y="1197"/>
                  </a:cubicBezTo>
                  <a:cubicBezTo>
                    <a:pt x="219" y="1197"/>
                    <a:pt x="219" y="1197"/>
                    <a:pt x="219" y="1197"/>
                  </a:cubicBezTo>
                  <a:cubicBezTo>
                    <a:pt x="219" y="1190"/>
                    <a:pt x="219" y="1190"/>
                    <a:pt x="219" y="1190"/>
                  </a:cubicBezTo>
                  <a:moveTo>
                    <a:pt x="234" y="1190"/>
                  </a:moveTo>
                  <a:cubicBezTo>
                    <a:pt x="227" y="1190"/>
                    <a:pt x="227" y="1190"/>
                    <a:pt x="227" y="1190"/>
                  </a:cubicBezTo>
                  <a:cubicBezTo>
                    <a:pt x="227" y="1197"/>
                    <a:pt x="227" y="1197"/>
                    <a:pt x="227" y="1197"/>
                  </a:cubicBezTo>
                  <a:cubicBezTo>
                    <a:pt x="234" y="1197"/>
                    <a:pt x="234" y="1197"/>
                    <a:pt x="234" y="1197"/>
                  </a:cubicBezTo>
                  <a:cubicBezTo>
                    <a:pt x="234" y="1190"/>
                    <a:pt x="234" y="1190"/>
                    <a:pt x="234" y="1190"/>
                  </a:cubicBezTo>
                  <a:moveTo>
                    <a:pt x="249" y="1190"/>
                  </a:moveTo>
                  <a:cubicBezTo>
                    <a:pt x="242" y="1190"/>
                    <a:pt x="242" y="1190"/>
                    <a:pt x="242" y="1190"/>
                  </a:cubicBezTo>
                  <a:cubicBezTo>
                    <a:pt x="242" y="1197"/>
                    <a:pt x="242" y="1197"/>
                    <a:pt x="242" y="1197"/>
                  </a:cubicBezTo>
                  <a:cubicBezTo>
                    <a:pt x="249" y="1197"/>
                    <a:pt x="249" y="1197"/>
                    <a:pt x="249" y="1197"/>
                  </a:cubicBezTo>
                  <a:cubicBezTo>
                    <a:pt x="249" y="1190"/>
                    <a:pt x="249" y="1190"/>
                    <a:pt x="249" y="1190"/>
                  </a:cubicBezTo>
                  <a:moveTo>
                    <a:pt x="263" y="1190"/>
                  </a:moveTo>
                  <a:cubicBezTo>
                    <a:pt x="256" y="1190"/>
                    <a:pt x="256" y="1190"/>
                    <a:pt x="256" y="1190"/>
                  </a:cubicBezTo>
                  <a:cubicBezTo>
                    <a:pt x="256" y="1197"/>
                    <a:pt x="256" y="1197"/>
                    <a:pt x="256" y="1197"/>
                  </a:cubicBezTo>
                  <a:cubicBezTo>
                    <a:pt x="263" y="1197"/>
                    <a:pt x="263" y="1197"/>
                    <a:pt x="263" y="1197"/>
                  </a:cubicBezTo>
                  <a:cubicBezTo>
                    <a:pt x="263" y="1190"/>
                    <a:pt x="263" y="1190"/>
                    <a:pt x="263" y="1190"/>
                  </a:cubicBezTo>
                  <a:moveTo>
                    <a:pt x="278" y="1190"/>
                  </a:moveTo>
                  <a:cubicBezTo>
                    <a:pt x="271" y="1190"/>
                    <a:pt x="271" y="1190"/>
                    <a:pt x="271" y="1190"/>
                  </a:cubicBezTo>
                  <a:cubicBezTo>
                    <a:pt x="271" y="1197"/>
                    <a:pt x="271" y="1197"/>
                    <a:pt x="271" y="1197"/>
                  </a:cubicBezTo>
                  <a:cubicBezTo>
                    <a:pt x="278" y="1197"/>
                    <a:pt x="278" y="1197"/>
                    <a:pt x="278" y="1197"/>
                  </a:cubicBezTo>
                  <a:cubicBezTo>
                    <a:pt x="278" y="1190"/>
                    <a:pt x="278" y="1190"/>
                    <a:pt x="278" y="1190"/>
                  </a:cubicBezTo>
                  <a:moveTo>
                    <a:pt x="293" y="1190"/>
                  </a:moveTo>
                  <a:cubicBezTo>
                    <a:pt x="286" y="1190"/>
                    <a:pt x="286" y="1190"/>
                    <a:pt x="286" y="1190"/>
                  </a:cubicBezTo>
                  <a:cubicBezTo>
                    <a:pt x="286" y="1197"/>
                    <a:pt x="286" y="1197"/>
                    <a:pt x="286" y="1197"/>
                  </a:cubicBezTo>
                  <a:cubicBezTo>
                    <a:pt x="293" y="1197"/>
                    <a:pt x="293" y="1197"/>
                    <a:pt x="293" y="1197"/>
                  </a:cubicBezTo>
                  <a:cubicBezTo>
                    <a:pt x="293" y="1190"/>
                    <a:pt x="293" y="1190"/>
                    <a:pt x="293" y="1190"/>
                  </a:cubicBezTo>
                  <a:moveTo>
                    <a:pt x="308" y="1190"/>
                  </a:moveTo>
                  <a:cubicBezTo>
                    <a:pt x="301" y="1190"/>
                    <a:pt x="301" y="1190"/>
                    <a:pt x="301" y="1190"/>
                  </a:cubicBezTo>
                  <a:cubicBezTo>
                    <a:pt x="301" y="1197"/>
                    <a:pt x="301" y="1197"/>
                    <a:pt x="301" y="1197"/>
                  </a:cubicBezTo>
                  <a:cubicBezTo>
                    <a:pt x="308" y="1197"/>
                    <a:pt x="308" y="1197"/>
                    <a:pt x="308" y="1197"/>
                  </a:cubicBezTo>
                  <a:cubicBezTo>
                    <a:pt x="308" y="1190"/>
                    <a:pt x="308" y="1190"/>
                    <a:pt x="308" y="1190"/>
                  </a:cubicBezTo>
                  <a:moveTo>
                    <a:pt x="322" y="1190"/>
                  </a:moveTo>
                  <a:cubicBezTo>
                    <a:pt x="315" y="1190"/>
                    <a:pt x="315" y="1190"/>
                    <a:pt x="315" y="1190"/>
                  </a:cubicBezTo>
                  <a:cubicBezTo>
                    <a:pt x="315" y="1197"/>
                    <a:pt x="315" y="1197"/>
                    <a:pt x="315" y="1197"/>
                  </a:cubicBezTo>
                  <a:cubicBezTo>
                    <a:pt x="322" y="1197"/>
                    <a:pt x="322" y="1197"/>
                    <a:pt x="322" y="1197"/>
                  </a:cubicBezTo>
                  <a:cubicBezTo>
                    <a:pt x="322" y="1190"/>
                    <a:pt x="322" y="1190"/>
                    <a:pt x="322" y="1190"/>
                  </a:cubicBezTo>
                  <a:moveTo>
                    <a:pt x="337" y="1190"/>
                  </a:moveTo>
                  <a:cubicBezTo>
                    <a:pt x="330" y="1190"/>
                    <a:pt x="330" y="1190"/>
                    <a:pt x="330" y="1190"/>
                  </a:cubicBezTo>
                  <a:cubicBezTo>
                    <a:pt x="330" y="1197"/>
                    <a:pt x="330" y="1197"/>
                    <a:pt x="330" y="1197"/>
                  </a:cubicBezTo>
                  <a:cubicBezTo>
                    <a:pt x="337" y="1197"/>
                    <a:pt x="337" y="1197"/>
                    <a:pt x="337" y="1197"/>
                  </a:cubicBezTo>
                  <a:cubicBezTo>
                    <a:pt x="337" y="1190"/>
                    <a:pt x="337" y="1190"/>
                    <a:pt x="337" y="1190"/>
                  </a:cubicBezTo>
                  <a:moveTo>
                    <a:pt x="352" y="1190"/>
                  </a:moveTo>
                  <a:cubicBezTo>
                    <a:pt x="345" y="1190"/>
                    <a:pt x="345" y="1190"/>
                    <a:pt x="345" y="1190"/>
                  </a:cubicBezTo>
                  <a:cubicBezTo>
                    <a:pt x="345" y="1197"/>
                    <a:pt x="345" y="1197"/>
                    <a:pt x="345" y="1197"/>
                  </a:cubicBezTo>
                  <a:cubicBezTo>
                    <a:pt x="352" y="1197"/>
                    <a:pt x="352" y="1197"/>
                    <a:pt x="352" y="1197"/>
                  </a:cubicBezTo>
                  <a:cubicBezTo>
                    <a:pt x="352" y="1190"/>
                    <a:pt x="352" y="1190"/>
                    <a:pt x="352" y="1190"/>
                  </a:cubicBezTo>
                  <a:moveTo>
                    <a:pt x="367" y="1190"/>
                  </a:moveTo>
                  <a:cubicBezTo>
                    <a:pt x="360" y="1190"/>
                    <a:pt x="360" y="1190"/>
                    <a:pt x="360" y="1190"/>
                  </a:cubicBezTo>
                  <a:cubicBezTo>
                    <a:pt x="360" y="1197"/>
                    <a:pt x="360" y="1197"/>
                    <a:pt x="360" y="1197"/>
                  </a:cubicBezTo>
                  <a:cubicBezTo>
                    <a:pt x="367" y="1197"/>
                    <a:pt x="367" y="1197"/>
                    <a:pt x="367" y="1197"/>
                  </a:cubicBezTo>
                  <a:cubicBezTo>
                    <a:pt x="367" y="1190"/>
                    <a:pt x="367" y="1190"/>
                    <a:pt x="367" y="1190"/>
                  </a:cubicBezTo>
                  <a:moveTo>
                    <a:pt x="381" y="1190"/>
                  </a:moveTo>
                  <a:cubicBezTo>
                    <a:pt x="374" y="1190"/>
                    <a:pt x="374" y="1190"/>
                    <a:pt x="374" y="1190"/>
                  </a:cubicBezTo>
                  <a:cubicBezTo>
                    <a:pt x="374" y="1197"/>
                    <a:pt x="374" y="1197"/>
                    <a:pt x="374" y="1197"/>
                  </a:cubicBezTo>
                  <a:cubicBezTo>
                    <a:pt x="381" y="1197"/>
                    <a:pt x="381" y="1197"/>
                    <a:pt x="381" y="1197"/>
                  </a:cubicBezTo>
                  <a:cubicBezTo>
                    <a:pt x="381" y="1190"/>
                    <a:pt x="381" y="1190"/>
                    <a:pt x="381" y="1190"/>
                  </a:cubicBezTo>
                  <a:moveTo>
                    <a:pt x="396" y="1190"/>
                  </a:moveTo>
                  <a:cubicBezTo>
                    <a:pt x="389" y="1190"/>
                    <a:pt x="389" y="1190"/>
                    <a:pt x="389" y="1190"/>
                  </a:cubicBezTo>
                  <a:cubicBezTo>
                    <a:pt x="389" y="1197"/>
                    <a:pt x="389" y="1197"/>
                    <a:pt x="389" y="1197"/>
                  </a:cubicBezTo>
                  <a:cubicBezTo>
                    <a:pt x="396" y="1197"/>
                    <a:pt x="396" y="1197"/>
                    <a:pt x="396" y="1197"/>
                  </a:cubicBezTo>
                  <a:cubicBezTo>
                    <a:pt x="396" y="1190"/>
                    <a:pt x="396" y="1190"/>
                    <a:pt x="396" y="1190"/>
                  </a:cubicBezTo>
                  <a:moveTo>
                    <a:pt x="411" y="1190"/>
                  </a:moveTo>
                  <a:cubicBezTo>
                    <a:pt x="404" y="1190"/>
                    <a:pt x="404" y="1190"/>
                    <a:pt x="404" y="1190"/>
                  </a:cubicBezTo>
                  <a:cubicBezTo>
                    <a:pt x="404" y="1197"/>
                    <a:pt x="404" y="1197"/>
                    <a:pt x="404" y="1197"/>
                  </a:cubicBezTo>
                  <a:cubicBezTo>
                    <a:pt x="411" y="1197"/>
                    <a:pt x="411" y="1197"/>
                    <a:pt x="411" y="1197"/>
                  </a:cubicBezTo>
                  <a:cubicBezTo>
                    <a:pt x="411" y="1190"/>
                    <a:pt x="411" y="1190"/>
                    <a:pt x="411" y="1190"/>
                  </a:cubicBezTo>
                  <a:moveTo>
                    <a:pt x="426" y="1190"/>
                  </a:moveTo>
                  <a:cubicBezTo>
                    <a:pt x="419" y="1190"/>
                    <a:pt x="419" y="1190"/>
                    <a:pt x="419" y="1190"/>
                  </a:cubicBezTo>
                  <a:cubicBezTo>
                    <a:pt x="419" y="1197"/>
                    <a:pt x="419" y="1197"/>
                    <a:pt x="419" y="1197"/>
                  </a:cubicBezTo>
                  <a:cubicBezTo>
                    <a:pt x="426" y="1197"/>
                    <a:pt x="426" y="1197"/>
                    <a:pt x="426" y="1197"/>
                  </a:cubicBezTo>
                  <a:cubicBezTo>
                    <a:pt x="426" y="1190"/>
                    <a:pt x="426" y="1190"/>
                    <a:pt x="426" y="1190"/>
                  </a:cubicBezTo>
                  <a:moveTo>
                    <a:pt x="440" y="1190"/>
                  </a:moveTo>
                  <a:cubicBezTo>
                    <a:pt x="433" y="1190"/>
                    <a:pt x="433" y="1190"/>
                    <a:pt x="433" y="1190"/>
                  </a:cubicBezTo>
                  <a:cubicBezTo>
                    <a:pt x="433" y="1197"/>
                    <a:pt x="433" y="1197"/>
                    <a:pt x="433" y="1197"/>
                  </a:cubicBezTo>
                  <a:cubicBezTo>
                    <a:pt x="440" y="1197"/>
                    <a:pt x="440" y="1197"/>
                    <a:pt x="440" y="1197"/>
                  </a:cubicBezTo>
                  <a:cubicBezTo>
                    <a:pt x="440" y="1190"/>
                    <a:pt x="440" y="1190"/>
                    <a:pt x="440" y="1190"/>
                  </a:cubicBezTo>
                  <a:moveTo>
                    <a:pt x="455" y="1190"/>
                  </a:moveTo>
                  <a:cubicBezTo>
                    <a:pt x="448" y="1190"/>
                    <a:pt x="448" y="1190"/>
                    <a:pt x="448" y="1190"/>
                  </a:cubicBezTo>
                  <a:cubicBezTo>
                    <a:pt x="448" y="1197"/>
                    <a:pt x="448" y="1197"/>
                    <a:pt x="448" y="1197"/>
                  </a:cubicBezTo>
                  <a:cubicBezTo>
                    <a:pt x="455" y="1197"/>
                    <a:pt x="455" y="1197"/>
                    <a:pt x="455" y="1197"/>
                  </a:cubicBezTo>
                  <a:cubicBezTo>
                    <a:pt x="455" y="1190"/>
                    <a:pt x="455" y="1190"/>
                    <a:pt x="455" y="1190"/>
                  </a:cubicBezTo>
                  <a:moveTo>
                    <a:pt x="470" y="1190"/>
                  </a:moveTo>
                  <a:cubicBezTo>
                    <a:pt x="463" y="1190"/>
                    <a:pt x="463" y="1190"/>
                    <a:pt x="463" y="1190"/>
                  </a:cubicBezTo>
                  <a:cubicBezTo>
                    <a:pt x="463" y="1197"/>
                    <a:pt x="463" y="1197"/>
                    <a:pt x="463" y="1197"/>
                  </a:cubicBezTo>
                  <a:cubicBezTo>
                    <a:pt x="470" y="1197"/>
                    <a:pt x="470" y="1197"/>
                    <a:pt x="470" y="1197"/>
                  </a:cubicBezTo>
                  <a:cubicBezTo>
                    <a:pt x="470" y="1190"/>
                    <a:pt x="470" y="1190"/>
                    <a:pt x="470" y="1190"/>
                  </a:cubicBezTo>
                  <a:moveTo>
                    <a:pt x="485" y="1190"/>
                  </a:moveTo>
                  <a:cubicBezTo>
                    <a:pt x="478" y="1190"/>
                    <a:pt x="478" y="1190"/>
                    <a:pt x="478" y="1190"/>
                  </a:cubicBezTo>
                  <a:cubicBezTo>
                    <a:pt x="478" y="1197"/>
                    <a:pt x="478" y="1197"/>
                    <a:pt x="478" y="1197"/>
                  </a:cubicBezTo>
                  <a:cubicBezTo>
                    <a:pt x="485" y="1197"/>
                    <a:pt x="485" y="1197"/>
                    <a:pt x="485" y="1197"/>
                  </a:cubicBezTo>
                  <a:cubicBezTo>
                    <a:pt x="485" y="1190"/>
                    <a:pt x="485" y="1190"/>
                    <a:pt x="485" y="1190"/>
                  </a:cubicBezTo>
                  <a:moveTo>
                    <a:pt x="499" y="1190"/>
                  </a:moveTo>
                  <a:cubicBezTo>
                    <a:pt x="492" y="1190"/>
                    <a:pt x="492" y="1190"/>
                    <a:pt x="492" y="1190"/>
                  </a:cubicBezTo>
                  <a:cubicBezTo>
                    <a:pt x="492" y="1197"/>
                    <a:pt x="492" y="1197"/>
                    <a:pt x="492" y="1197"/>
                  </a:cubicBezTo>
                  <a:cubicBezTo>
                    <a:pt x="499" y="1197"/>
                    <a:pt x="499" y="1197"/>
                    <a:pt x="499" y="1197"/>
                  </a:cubicBezTo>
                  <a:cubicBezTo>
                    <a:pt x="499" y="1190"/>
                    <a:pt x="499" y="1190"/>
                    <a:pt x="499" y="1190"/>
                  </a:cubicBezTo>
                  <a:moveTo>
                    <a:pt x="514" y="1190"/>
                  </a:moveTo>
                  <a:cubicBezTo>
                    <a:pt x="507" y="1190"/>
                    <a:pt x="507" y="1190"/>
                    <a:pt x="507" y="1190"/>
                  </a:cubicBezTo>
                  <a:cubicBezTo>
                    <a:pt x="507" y="1197"/>
                    <a:pt x="507" y="1197"/>
                    <a:pt x="507" y="1197"/>
                  </a:cubicBezTo>
                  <a:cubicBezTo>
                    <a:pt x="514" y="1197"/>
                    <a:pt x="514" y="1197"/>
                    <a:pt x="514" y="1197"/>
                  </a:cubicBezTo>
                  <a:cubicBezTo>
                    <a:pt x="514" y="1190"/>
                    <a:pt x="514" y="1190"/>
                    <a:pt x="514" y="1190"/>
                  </a:cubicBezTo>
                  <a:moveTo>
                    <a:pt x="529" y="1190"/>
                  </a:moveTo>
                  <a:cubicBezTo>
                    <a:pt x="522" y="1190"/>
                    <a:pt x="522" y="1190"/>
                    <a:pt x="522" y="1190"/>
                  </a:cubicBezTo>
                  <a:cubicBezTo>
                    <a:pt x="522" y="1197"/>
                    <a:pt x="522" y="1197"/>
                    <a:pt x="522" y="1197"/>
                  </a:cubicBezTo>
                  <a:cubicBezTo>
                    <a:pt x="529" y="1197"/>
                    <a:pt x="529" y="1197"/>
                    <a:pt x="529" y="1197"/>
                  </a:cubicBezTo>
                  <a:cubicBezTo>
                    <a:pt x="529" y="1190"/>
                    <a:pt x="529" y="1190"/>
                    <a:pt x="529" y="1190"/>
                  </a:cubicBezTo>
                  <a:moveTo>
                    <a:pt x="544" y="1190"/>
                  </a:moveTo>
                  <a:cubicBezTo>
                    <a:pt x="537" y="1190"/>
                    <a:pt x="537" y="1190"/>
                    <a:pt x="537" y="1190"/>
                  </a:cubicBezTo>
                  <a:cubicBezTo>
                    <a:pt x="537" y="1197"/>
                    <a:pt x="537" y="1197"/>
                    <a:pt x="537" y="1197"/>
                  </a:cubicBezTo>
                  <a:cubicBezTo>
                    <a:pt x="544" y="1197"/>
                    <a:pt x="544" y="1197"/>
                    <a:pt x="544" y="1197"/>
                  </a:cubicBezTo>
                  <a:cubicBezTo>
                    <a:pt x="544" y="1190"/>
                    <a:pt x="544" y="1190"/>
                    <a:pt x="544" y="1190"/>
                  </a:cubicBezTo>
                  <a:moveTo>
                    <a:pt x="558" y="1190"/>
                  </a:moveTo>
                  <a:cubicBezTo>
                    <a:pt x="551" y="1190"/>
                    <a:pt x="551" y="1190"/>
                    <a:pt x="551" y="1190"/>
                  </a:cubicBezTo>
                  <a:cubicBezTo>
                    <a:pt x="551" y="1197"/>
                    <a:pt x="551" y="1197"/>
                    <a:pt x="551" y="1197"/>
                  </a:cubicBezTo>
                  <a:cubicBezTo>
                    <a:pt x="558" y="1197"/>
                    <a:pt x="558" y="1197"/>
                    <a:pt x="558" y="1197"/>
                  </a:cubicBezTo>
                  <a:cubicBezTo>
                    <a:pt x="558" y="1190"/>
                    <a:pt x="558" y="1190"/>
                    <a:pt x="558" y="1190"/>
                  </a:cubicBezTo>
                  <a:moveTo>
                    <a:pt x="190" y="1176"/>
                  </a:moveTo>
                  <a:cubicBezTo>
                    <a:pt x="183" y="1176"/>
                    <a:pt x="183" y="1176"/>
                    <a:pt x="183" y="1176"/>
                  </a:cubicBezTo>
                  <a:cubicBezTo>
                    <a:pt x="183" y="1183"/>
                    <a:pt x="183" y="1183"/>
                    <a:pt x="183" y="1183"/>
                  </a:cubicBezTo>
                  <a:cubicBezTo>
                    <a:pt x="190" y="1183"/>
                    <a:pt x="190" y="1183"/>
                    <a:pt x="190" y="1183"/>
                  </a:cubicBezTo>
                  <a:cubicBezTo>
                    <a:pt x="190" y="1176"/>
                    <a:pt x="190" y="1176"/>
                    <a:pt x="190" y="1176"/>
                  </a:cubicBezTo>
                  <a:moveTo>
                    <a:pt x="204" y="1176"/>
                  </a:moveTo>
                  <a:cubicBezTo>
                    <a:pt x="197" y="1176"/>
                    <a:pt x="197" y="1176"/>
                    <a:pt x="197" y="1176"/>
                  </a:cubicBezTo>
                  <a:cubicBezTo>
                    <a:pt x="197" y="1183"/>
                    <a:pt x="197" y="1183"/>
                    <a:pt x="197" y="1183"/>
                  </a:cubicBezTo>
                  <a:cubicBezTo>
                    <a:pt x="204" y="1183"/>
                    <a:pt x="204" y="1183"/>
                    <a:pt x="204" y="1183"/>
                  </a:cubicBezTo>
                  <a:cubicBezTo>
                    <a:pt x="204" y="1176"/>
                    <a:pt x="204" y="1176"/>
                    <a:pt x="204" y="1176"/>
                  </a:cubicBezTo>
                  <a:moveTo>
                    <a:pt x="219" y="1176"/>
                  </a:moveTo>
                  <a:cubicBezTo>
                    <a:pt x="212" y="1176"/>
                    <a:pt x="212" y="1176"/>
                    <a:pt x="212" y="1176"/>
                  </a:cubicBezTo>
                  <a:cubicBezTo>
                    <a:pt x="212" y="1183"/>
                    <a:pt x="212" y="1183"/>
                    <a:pt x="212" y="1183"/>
                  </a:cubicBezTo>
                  <a:cubicBezTo>
                    <a:pt x="219" y="1183"/>
                    <a:pt x="219" y="1183"/>
                    <a:pt x="219" y="1183"/>
                  </a:cubicBezTo>
                  <a:cubicBezTo>
                    <a:pt x="219" y="1176"/>
                    <a:pt x="219" y="1176"/>
                    <a:pt x="219" y="1176"/>
                  </a:cubicBezTo>
                  <a:moveTo>
                    <a:pt x="234" y="1176"/>
                  </a:moveTo>
                  <a:cubicBezTo>
                    <a:pt x="227" y="1176"/>
                    <a:pt x="227" y="1176"/>
                    <a:pt x="227" y="1176"/>
                  </a:cubicBezTo>
                  <a:cubicBezTo>
                    <a:pt x="227" y="1183"/>
                    <a:pt x="227" y="1183"/>
                    <a:pt x="227" y="1183"/>
                  </a:cubicBezTo>
                  <a:cubicBezTo>
                    <a:pt x="234" y="1183"/>
                    <a:pt x="234" y="1183"/>
                    <a:pt x="234" y="1183"/>
                  </a:cubicBezTo>
                  <a:cubicBezTo>
                    <a:pt x="234" y="1176"/>
                    <a:pt x="234" y="1176"/>
                    <a:pt x="234" y="1176"/>
                  </a:cubicBezTo>
                  <a:moveTo>
                    <a:pt x="249" y="1176"/>
                  </a:moveTo>
                  <a:cubicBezTo>
                    <a:pt x="242" y="1176"/>
                    <a:pt x="242" y="1176"/>
                    <a:pt x="242" y="1176"/>
                  </a:cubicBezTo>
                  <a:cubicBezTo>
                    <a:pt x="242" y="1183"/>
                    <a:pt x="242" y="1183"/>
                    <a:pt x="242" y="1183"/>
                  </a:cubicBezTo>
                  <a:cubicBezTo>
                    <a:pt x="249" y="1183"/>
                    <a:pt x="249" y="1183"/>
                    <a:pt x="249" y="1183"/>
                  </a:cubicBezTo>
                  <a:cubicBezTo>
                    <a:pt x="249" y="1176"/>
                    <a:pt x="249" y="1176"/>
                    <a:pt x="249" y="1176"/>
                  </a:cubicBezTo>
                  <a:moveTo>
                    <a:pt x="263" y="1176"/>
                  </a:moveTo>
                  <a:cubicBezTo>
                    <a:pt x="256" y="1176"/>
                    <a:pt x="256" y="1176"/>
                    <a:pt x="256" y="1176"/>
                  </a:cubicBezTo>
                  <a:cubicBezTo>
                    <a:pt x="256" y="1183"/>
                    <a:pt x="256" y="1183"/>
                    <a:pt x="256" y="1183"/>
                  </a:cubicBezTo>
                  <a:cubicBezTo>
                    <a:pt x="263" y="1183"/>
                    <a:pt x="263" y="1183"/>
                    <a:pt x="263" y="1183"/>
                  </a:cubicBezTo>
                  <a:cubicBezTo>
                    <a:pt x="263" y="1176"/>
                    <a:pt x="263" y="1176"/>
                    <a:pt x="263" y="1176"/>
                  </a:cubicBezTo>
                  <a:moveTo>
                    <a:pt x="278" y="1176"/>
                  </a:moveTo>
                  <a:cubicBezTo>
                    <a:pt x="271" y="1176"/>
                    <a:pt x="271" y="1176"/>
                    <a:pt x="271" y="1176"/>
                  </a:cubicBezTo>
                  <a:cubicBezTo>
                    <a:pt x="271" y="1183"/>
                    <a:pt x="271" y="1183"/>
                    <a:pt x="271" y="1183"/>
                  </a:cubicBezTo>
                  <a:cubicBezTo>
                    <a:pt x="278" y="1183"/>
                    <a:pt x="278" y="1183"/>
                    <a:pt x="278" y="1183"/>
                  </a:cubicBezTo>
                  <a:cubicBezTo>
                    <a:pt x="278" y="1176"/>
                    <a:pt x="278" y="1176"/>
                    <a:pt x="278" y="1176"/>
                  </a:cubicBezTo>
                  <a:moveTo>
                    <a:pt x="293" y="1176"/>
                  </a:moveTo>
                  <a:cubicBezTo>
                    <a:pt x="286" y="1176"/>
                    <a:pt x="286" y="1176"/>
                    <a:pt x="286" y="1176"/>
                  </a:cubicBezTo>
                  <a:cubicBezTo>
                    <a:pt x="286" y="1183"/>
                    <a:pt x="286" y="1183"/>
                    <a:pt x="286" y="1183"/>
                  </a:cubicBezTo>
                  <a:cubicBezTo>
                    <a:pt x="293" y="1183"/>
                    <a:pt x="293" y="1183"/>
                    <a:pt x="293" y="1183"/>
                  </a:cubicBezTo>
                  <a:cubicBezTo>
                    <a:pt x="293" y="1176"/>
                    <a:pt x="293" y="1176"/>
                    <a:pt x="293" y="1176"/>
                  </a:cubicBezTo>
                  <a:moveTo>
                    <a:pt x="308" y="1176"/>
                  </a:moveTo>
                  <a:cubicBezTo>
                    <a:pt x="301" y="1176"/>
                    <a:pt x="301" y="1176"/>
                    <a:pt x="301" y="1176"/>
                  </a:cubicBezTo>
                  <a:cubicBezTo>
                    <a:pt x="301" y="1183"/>
                    <a:pt x="301" y="1183"/>
                    <a:pt x="301" y="1183"/>
                  </a:cubicBezTo>
                  <a:cubicBezTo>
                    <a:pt x="308" y="1183"/>
                    <a:pt x="308" y="1183"/>
                    <a:pt x="308" y="1183"/>
                  </a:cubicBezTo>
                  <a:cubicBezTo>
                    <a:pt x="308" y="1176"/>
                    <a:pt x="308" y="1176"/>
                    <a:pt x="308" y="1176"/>
                  </a:cubicBezTo>
                  <a:moveTo>
                    <a:pt x="322" y="1176"/>
                  </a:moveTo>
                  <a:cubicBezTo>
                    <a:pt x="315" y="1176"/>
                    <a:pt x="315" y="1176"/>
                    <a:pt x="315" y="1176"/>
                  </a:cubicBezTo>
                  <a:cubicBezTo>
                    <a:pt x="315" y="1183"/>
                    <a:pt x="315" y="1183"/>
                    <a:pt x="315" y="1183"/>
                  </a:cubicBezTo>
                  <a:cubicBezTo>
                    <a:pt x="322" y="1183"/>
                    <a:pt x="322" y="1183"/>
                    <a:pt x="322" y="1183"/>
                  </a:cubicBezTo>
                  <a:cubicBezTo>
                    <a:pt x="322" y="1176"/>
                    <a:pt x="322" y="1176"/>
                    <a:pt x="322" y="1176"/>
                  </a:cubicBezTo>
                  <a:moveTo>
                    <a:pt x="337" y="1176"/>
                  </a:moveTo>
                  <a:cubicBezTo>
                    <a:pt x="330" y="1176"/>
                    <a:pt x="330" y="1176"/>
                    <a:pt x="330" y="1176"/>
                  </a:cubicBezTo>
                  <a:cubicBezTo>
                    <a:pt x="330" y="1183"/>
                    <a:pt x="330" y="1183"/>
                    <a:pt x="330" y="1183"/>
                  </a:cubicBezTo>
                  <a:cubicBezTo>
                    <a:pt x="337" y="1183"/>
                    <a:pt x="337" y="1183"/>
                    <a:pt x="337" y="1183"/>
                  </a:cubicBezTo>
                  <a:cubicBezTo>
                    <a:pt x="337" y="1176"/>
                    <a:pt x="337" y="1176"/>
                    <a:pt x="337" y="1176"/>
                  </a:cubicBezTo>
                  <a:moveTo>
                    <a:pt x="352" y="1176"/>
                  </a:moveTo>
                  <a:cubicBezTo>
                    <a:pt x="345" y="1176"/>
                    <a:pt x="345" y="1176"/>
                    <a:pt x="345" y="1176"/>
                  </a:cubicBezTo>
                  <a:cubicBezTo>
                    <a:pt x="345" y="1183"/>
                    <a:pt x="345" y="1183"/>
                    <a:pt x="345" y="1183"/>
                  </a:cubicBezTo>
                  <a:cubicBezTo>
                    <a:pt x="352" y="1183"/>
                    <a:pt x="352" y="1183"/>
                    <a:pt x="352" y="1183"/>
                  </a:cubicBezTo>
                  <a:cubicBezTo>
                    <a:pt x="352" y="1176"/>
                    <a:pt x="352" y="1176"/>
                    <a:pt x="352" y="1176"/>
                  </a:cubicBezTo>
                  <a:moveTo>
                    <a:pt x="367" y="1176"/>
                  </a:moveTo>
                  <a:cubicBezTo>
                    <a:pt x="360" y="1176"/>
                    <a:pt x="360" y="1176"/>
                    <a:pt x="360" y="1176"/>
                  </a:cubicBezTo>
                  <a:cubicBezTo>
                    <a:pt x="360" y="1183"/>
                    <a:pt x="360" y="1183"/>
                    <a:pt x="360" y="1183"/>
                  </a:cubicBezTo>
                  <a:cubicBezTo>
                    <a:pt x="367" y="1183"/>
                    <a:pt x="367" y="1183"/>
                    <a:pt x="367" y="1183"/>
                  </a:cubicBezTo>
                  <a:cubicBezTo>
                    <a:pt x="367" y="1176"/>
                    <a:pt x="367" y="1176"/>
                    <a:pt x="367" y="1176"/>
                  </a:cubicBezTo>
                  <a:moveTo>
                    <a:pt x="381" y="1176"/>
                  </a:moveTo>
                  <a:cubicBezTo>
                    <a:pt x="374" y="1176"/>
                    <a:pt x="374" y="1176"/>
                    <a:pt x="374" y="1176"/>
                  </a:cubicBezTo>
                  <a:cubicBezTo>
                    <a:pt x="374" y="1183"/>
                    <a:pt x="374" y="1183"/>
                    <a:pt x="374" y="1183"/>
                  </a:cubicBezTo>
                  <a:cubicBezTo>
                    <a:pt x="381" y="1183"/>
                    <a:pt x="381" y="1183"/>
                    <a:pt x="381" y="1183"/>
                  </a:cubicBezTo>
                  <a:cubicBezTo>
                    <a:pt x="381" y="1176"/>
                    <a:pt x="381" y="1176"/>
                    <a:pt x="381" y="1176"/>
                  </a:cubicBezTo>
                  <a:moveTo>
                    <a:pt x="396" y="1176"/>
                  </a:moveTo>
                  <a:cubicBezTo>
                    <a:pt x="389" y="1176"/>
                    <a:pt x="389" y="1176"/>
                    <a:pt x="389" y="1176"/>
                  </a:cubicBezTo>
                  <a:cubicBezTo>
                    <a:pt x="389" y="1183"/>
                    <a:pt x="389" y="1183"/>
                    <a:pt x="389" y="1183"/>
                  </a:cubicBezTo>
                  <a:cubicBezTo>
                    <a:pt x="396" y="1183"/>
                    <a:pt x="396" y="1183"/>
                    <a:pt x="396" y="1183"/>
                  </a:cubicBezTo>
                  <a:cubicBezTo>
                    <a:pt x="396" y="1176"/>
                    <a:pt x="396" y="1176"/>
                    <a:pt x="396" y="1176"/>
                  </a:cubicBezTo>
                  <a:moveTo>
                    <a:pt x="411" y="1176"/>
                  </a:moveTo>
                  <a:cubicBezTo>
                    <a:pt x="404" y="1176"/>
                    <a:pt x="404" y="1176"/>
                    <a:pt x="404" y="1176"/>
                  </a:cubicBezTo>
                  <a:cubicBezTo>
                    <a:pt x="404" y="1183"/>
                    <a:pt x="404" y="1183"/>
                    <a:pt x="404" y="1183"/>
                  </a:cubicBezTo>
                  <a:cubicBezTo>
                    <a:pt x="411" y="1183"/>
                    <a:pt x="411" y="1183"/>
                    <a:pt x="411" y="1183"/>
                  </a:cubicBezTo>
                  <a:cubicBezTo>
                    <a:pt x="411" y="1176"/>
                    <a:pt x="411" y="1176"/>
                    <a:pt x="411" y="1176"/>
                  </a:cubicBezTo>
                  <a:moveTo>
                    <a:pt x="426" y="1176"/>
                  </a:moveTo>
                  <a:cubicBezTo>
                    <a:pt x="419" y="1176"/>
                    <a:pt x="419" y="1176"/>
                    <a:pt x="419" y="1176"/>
                  </a:cubicBezTo>
                  <a:cubicBezTo>
                    <a:pt x="419" y="1183"/>
                    <a:pt x="419" y="1183"/>
                    <a:pt x="419" y="1183"/>
                  </a:cubicBezTo>
                  <a:cubicBezTo>
                    <a:pt x="426" y="1183"/>
                    <a:pt x="426" y="1183"/>
                    <a:pt x="426" y="1183"/>
                  </a:cubicBezTo>
                  <a:cubicBezTo>
                    <a:pt x="426" y="1176"/>
                    <a:pt x="426" y="1176"/>
                    <a:pt x="426" y="1176"/>
                  </a:cubicBezTo>
                  <a:moveTo>
                    <a:pt x="440" y="1176"/>
                  </a:moveTo>
                  <a:cubicBezTo>
                    <a:pt x="433" y="1176"/>
                    <a:pt x="433" y="1176"/>
                    <a:pt x="433" y="1176"/>
                  </a:cubicBezTo>
                  <a:cubicBezTo>
                    <a:pt x="433" y="1183"/>
                    <a:pt x="433" y="1183"/>
                    <a:pt x="433" y="1183"/>
                  </a:cubicBezTo>
                  <a:cubicBezTo>
                    <a:pt x="440" y="1183"/>
                    <a:pt x="440" y="1183"/>
                    <a:pt x="440" y="1183"/>
                  </a:cubicBezTo>
                  <a:cubicBezTo>
                    <a:pt x="440" y="1176"/>
                    <a:pt x="440" y="1176"/>
                    <a:pt x="440" y="1176"/>
                  </a:cubicBezTo>
                  <a:moveTo>
                    <a:pt x="455" y="1176"/>
                  </a:moveTo>
                  <a:cubicBezTo>
                    <a:pt x="448" y="1176"/>
                    <a:pt x="448" y="1176"/>
                    <a:pt x="448" y="1176"/>
                  </a:cubicBezTo>
                  <a:cubicBezTo>
                    <a:pt x="448" y="1183"/>
                    <a:pt x="448" y="1183"/>
                    <a:pt x="448" y="1183"/>
                  </a:cubicBezTo>
                  <a:cubicBezTo>
                    <a:pt x="455" y="1183"/>
                    <a:pt x="455" y="1183"/>
                    <a:pt x="455" y="1183"/>
                  </a:cubicBezTo>
                  <a:cubicBezTo>
                    <a:pt x="455" y="1176"/>
                    <a:pt x="455" y="1176"/>
                    <a:pt x="455" y="1176"/>
                  </a:cubicBezTo>
                  <a:moveTo>
                    <a:pt x="470" y="1176"/>
                  </a:moveTo>
                  <a:cubicBezTo>
                    <a:pt x="463" y="1176"/>
                    <a:pt x="463" y="1176"/>
                    <a:pt x="463" y="1176"/>
                  </a:cubicBezTo>
                  <a:cubicBezTo>
                    <a:pt x="463" y="1183"/>
                    <a:pt x="463" y="1183"/>
                    <a:pt x="463" y="1183"/>
                  </a:cubicBezTo>
                  <a:cubicBezTo>
                    <a:pt x="470" y="1183"/>
                    <a:pt x="470" y="1183"/>
                    <a:pt x="470" y="1183"/>
                  </a:cubicBezTo>
                  <a:cubicBezTo>
                    <a:pt x="470" y="1176"/>
                    <a:pt x="470" y="1176"/>
                    <a:pt x="470" y="1176"/>
                  </a:cubicBezTo>
                  <a:moveTo>
                    <a:pt x="485" y="1176"/>
                  </a:moveTo>
                  <a:cubicBezTo>
                    <a:pt x="478" y="1176"/>
                    <a:pt x="478" y="1176"/>
                    <a:pt x="478" y="1176"/>
                  </a:cubicBezTo>
                  <a:cubicBezTo>
                    <a:pt x="478" y="1183"/>
                    <a:pt x="478" y="1183"/>
                    <a:pt x="478" y="1183"/>
                  </a:cubicBezTo>
                  <a:cubicBezTo>
                    <a:pt x="485" y="1183"/>
                    <a:pt x="485" y="1183"/>
                    <a:pt x="485" y="1183"/>
                  </a:cubicBezTo>
                  <a:cubicBezTo>
                    <a:pt x="485" y="1176"/>
                    <a:pt x="485" y="1176"/>
                    <a:pt x="485" y="1176"/>
                  </a:cubicBezTo>
                  <a:moveTo>
                    <a:pt x="499" y="1176"/>
                  </a:moveTo>
                  <a:cubicBezTo>
                    <a:pt x="492" y="1176"/>
                    <a:pt x="492" y="1176"/>
                    <a:pt x="492" y="1176"/>
                  </a:cubicBezTo>
                  <a:cubicBezTo>
                    <a:pt x="492" y="1183"/>
                    <a:pt x="492" y="1183"/>
                    <a:pt x="492" y="1183"/>
                  </a:cubicBezTo>
                  <a:cubicBezTo>
                    <a:pt x="499" y="1183"/>
                    <a:pt x="499" y="1183"/>
                    <a:pt x="499" y="1183"/>
                  </a:cubicBezTo>
                  <a:cubicBezTo>
                    <a:pt x="499" y="1176"/>
                    <a:pt x="499" y="1176"/>
                    <a:pt x="499" y="1176"/>
                  </a:cubicBezTo>
                  <a:moveTo>
                    <a:pt x="514" y="1176"/>
                  </a:moveTo>
                  <a:cubicBezTo>
                    <a:pt x="507" y="1176"/>
                    <a:pt x="507" y="1176"/>
                    <a:pt x="507" y="1176"/>
                  </a:cubicBezTo>
                  <a:cubicBezTo>
                    <a:pt x="507" y="1183"/>
                    <a:pt x="507" y="1183"/>
                    <a:pt x="507" y="1183"/>
                  </a:cubicBezTo>
                  <a:cubicBezTo>
                    <a:pt x="514" y="1183"/>
                    <a:pt x="514" y="1183"/>
                    <a:pt x="514" y="1183"/>
                  </a:cubicBezTo>
                  <a:cubicBezTo>
                    <a:pt x="514" y="1176"/>
                    <a:pt x="514" y="1176"/>
                    <a:pt x="514" y="1176"/>
                  </a:cubicBezTo>
                  <a:moveTo>
                    <a:pt x="529" y="1176"/>
                  </a:moveTo>
                  <a:cubicBezTo>
                    <a:pt x="522" y="1176"/>
                    <a:pt x="522" y="1176"/>
                    <a:pt x="522" y="1176"/>
                  </a:cubicBezTo>
                  <a:cubicBezTo>
                    <a:pt x="522" y="1183"/>
                    <a:pt x="522" y="1183"/>
                    <a:pt x="522" y="1183"/>
                  </a:cubicBezTo>
                  <a:cubicBezTo>
                    <a:pt x="529" y="1183"/>
                    <a:pt x="529" y="1183"/>
                    <a:pt x="529" y="1183"/>
                  </a:cubicBezTo>
                  <a:cubicBezTo>
                    <a:pt x="529" y="1176"/>
                    <a:pt x="529" y="1176"/>
                    <a:pt x="529" y="1176"/>
                  </a:cubicBezTo>
                  <a:moveTo>
                    <a:pt x="544" y="1176"/>
                  </a:moveTo>
                  <a:cubicBezTo>
                    <a:pt x="537" y="1176"/>
                    <a:pt x="537" y="1176"/>
                    <a:pt x="537" y="1176"/>
                  </a:cubicBezTo>
                  <a:cubicBezTo>
                    <a:pt x="537" y="1183"/>
                    <a:pt x="537" y="1183"/>
                    <a:pt x="537" y="1183"/>
                  </a:cubicBezTo>
                  <a:cubicBezTo>
                    <a:pt x="544" y="1183"/>
                    <a:pt x="544" y="1183"/>
                    <a:pt x="544" y="1183"/>
                  </a:cubicBezTo>
                  <a:cubicBezTo>
                    <a:pt x="544" y="1176"/>
                    <a:pt x="544" y="1176"/>
                    <a:pt x="544" y="1176"/>
                  </a:cubicBezTo>
                  <a:moveTo>
                    <a:pt x="558" y="1176"/>
                  </a:moveTo>
                  <a:cubicBezTo>
                    <a:pt x="551" y="1176"/>
                    <a:pt x="551" y="1176"/>
                    <a:pt x="551" y="1176"/>
                  </a:cubicBezTo>
                  <a:cubicBezTo>
                    <a:pt x="551" y="1183"/>
                    <a:pt x="551" y="1183"/>
                    <a:pt x="551" y="1183"/>
                  </a:cubicBezTo>
                  <a:cubicBezTo>
                    <a:pt x="558" y="1183"/>
                    <a:pt x="558" y="1183"/>
                    <a:pt x="558" y="1183"/>
                  </a:cubicBezTo>
                  <a:cubicBezTo>
                    <a:pt x="558" y="1176"/>
                    <a:pt x="558" y="1176"/>
                    <a:pt x="558" y="1176"/>
                  </a:cubicBezTo>
                  <a:moveTo>
                    <a:pt x="204" y="1161"/>
                  </a:moveTo>
                  <a:cubicBezTo>
                    <a:pt x="197" y="1161"/>
                    <a:pt x="197" y="1161"/>
                    <a:pt x="197" y="1161"/>
                  </a:cubicBezTo>
                  <a:cubicBezTo>
                    <a:pt x="197" y="1168"/>
                    <a:pt x="197" y="1168"/>
                    <a:pt x="197" y="1168"/>
                  </a:cubicBezTo>
                  <a:cubicBezTo>
                    <a:pt x="204" y="1168"/>
                    <a:pt x="204" y="1168"/>
                    <a:pt x="204" y="1168"/>
                  </a:cubicBezTo>
                  <a:cubicBezTo>
                    <a:pt x="204" y="1161"/>
                    <a:pt x="204" y="1161"/>
                    <a:pt x="204" y="1161"/>
                  </a:cubicBezTo>
                  <a:moveTo>
                    <a:pt x="219" y="1161"/>
                  </a:moveTo>
                  <a:cubicBezTo>
                    <a:pt x="212" y="1161"/>
                    <a:pt x="212" y="1161"/>
                    <a:pt x="212" y="1161"/>
                  </a:cubicBezTo>
                  <a:cubicBezTo>
                    <a:pt x="212" y="1168"/>
                    <a:pt x="212" y="1168"/>
                    <a:pt x="212" y="1168"/>
                  </a:cubicBezTo>
                  <a:cubicBezTo>
                    <a:pt x="219" y="1168"/>
                    <a:pt x="219" y="1168"/>
                    <a:pt x="219" y="1168"/>
                  </a:cubicBezTo>
                  <a:cubicBezTo>
                    <a:pt x="219" y="1161"/>
                    <a:pt x="219" y="1161"/>
                    <a:pt x="219" y="1161"/>
                  </a:cubicBezTo>
                  <a:moveTo>
                    <a:pt x="234" y="1161"/>
                  </a:moveTo>
                  <a:cubicBezTo>
                    <a:pt x="227" y="1161"/>
                    <a:pt x="227" y="1161"/>
                    <a:pt x="227" y="1161"/>
                  </a:cubicBezTo>
                  <a:cubicBezTo>
                    <a:pt x="227" y="1168"/>
                    <a:pt x="227" y="1168"/>
                    <a:pt x="227" y="1168"/>
                  </a:cubicBezTo>
                  <a:cubicBezTo>
                    <a:pt x="234" y="1168"/>
                    <a:pt x="234" y="1168"/>
                    <a:pt x="234" y="1168"/>
                  </a:cubicBezTo>
                  <a:cubicBezTo>
                    <a:pt x="234" y="1161"/>
                    <a:pt x="234" y="1161"/>
                    <a:pt x="234" y="1161"/>
                  </a:cubicBezTo>
                  <a:moveTo>
                    <a:pt x="249" y="1161"/>
                  </a:moveTo>
                  <a:cubicBezTo>
                    <a:pt x="242" y="1161"/>
                    <a:pt x="242" y="1161"/>
                    <a:pt x="242" y="1161"/>
                  </a:cubicBezTo>
                  <a:cubicBezTo>
                    <a:pt x="242" y="1168"/>
                    <a:pt x="242" y="1168"/>
                    <a:pt x="242" y="1168"/>
                  </a:cubicBezTo>
                  <a:cubicBezTo>
                    <a:pt x="249" y="1168"/>
                    <a:pt x="249" y="1168"/>
                    <a:pt x="249" y="1168"/>
                  </a:cubicBezTo>
                  <a:cubicBezTo>
                    <a:pt x="249" y="1161"/>
                    <a:pt x="249" y="1161"/>
                    <a:pt x="249" y="1161"/>
                  </a:cubicBezTo>
                  <a:moveTo>
                    <a:pt x="263" y="1161"/>
                  </a:moveTo>
                  <a:cubicBezTo>
                    <a:pt x="256" y="1161"/>
                    <a:pt x="256" y="1161"/>
                    <a:pt x="256" y="1161"/>
                  </a:cubicBezTo>
                  <a:cubicBezTo>
                    <a:pt x="256" y="1168"/>
                    <a:pt x="256" y="1168"/>
                    <a:pt x="256" y="1168"/>
                  </a:cubicBezTo>
                  <a:cubicBezTo>
                    <a:pt x="263" y="1168"/>
                    <a:pt x="263" y="1168"/>
                    <a:pt x="263" y="1168"/>
                  </a:cubicBezTo>
                  <a:cubicBezTo>
                    <a:pt x="263" y="1161"/>
                    <a:pt x="263" y="1161"/>
                    <a:pt x="263" y="1161"/>
                  </a:cubicBezTo>
                  <a:moveTo>
                    <a:pt x="278" y="1161"/>
                  </a:moveTo>
                  <a:cubicBezTo>
                    <a:pt x="271" y="1161"/>
                    <a:pt x="271" y="1161"/>
                    <a:pt x="271" y="1161"/>
                  </a:cubicBezTo>
                  <a:cubicBezTo>
                    <a:pt x="271" y="1168"/>
                    <a:pt x="271" y="1168"/>
                    <a:pt x="271" y="1168"/>
                  </a:cubicBezTo>
                  <a:cubicBezTo>
                    <a:pt x="278" y="1168"/>
                    <a:pt x="278" y="1168"/>
                    <a:pt x="278" y="1168"/>
                  </a:cubicBezTo>
                  <a:cubicBezTo>
                    <a:pt x="278" y="1161"/>
                    <a:pt x="278" y="1161"/>
                    <a:pt x="278" y="1161"/>
                  </a:cubicBezTo>
                  <a:moveTo>
                    <a:pt x="293" y="1161"/>
                  </a:moveTo>
                  <a:cubicBezTo>
                    <a:pt x="286" y="1161"/>
                    <a:pt x="286" y="1161"/>
                    <a:pt x="286" y="1161"/>
                  </a:cubicBezTo>
                  <a:cubicBezTo>
                    <a:pt x="286" y="1168"/>
                    <a:pt x="286" y="1168"/>
                    <a:pt x="286" y="1168"/>
                  </a:cubicBezTo>
                  <a:cubicBezTo>
                    <a:pt x="293" y="1168"/>
                    <a:pt x="293" y="1168"/>
                    <a:pt x="293" y="1168"/>
                  </a:cubicBezTo>
                  <a:cubicBezTo>
                    <a:pt x="293" y="1161"/>
                    <a:pt x="293" y="1161"/>
                    <a:pt x="293" y="1161"/>
                  </a:cubicBezTo>
                  <a:moveTo>
                    <a:pt x="308" y="1161"/>
                  </a:moveTo>
                  <a:cubicBezTo>
                    <a:pt x="301" y="1161"/>
                    <a:pt x="301" y="1161"/>
                    <a:pt x="301" y="1161"/>
                  </a:cubicBezTo>
                  <a:cubicBezTo>
                    <a:pt x="301" y="1168"/>
                    <a:pt x="301" y="1168"/>
                    <a:pt x="301" y="1168"/>
                  </a:cubicBezTo>
                  <a:cubicBezTo>
                    <a:pt x="308" y="1168"/>
                    <a:pt x="308" y="1168"/>
                    <a:pt x="308" y="1168"/>
                  </a:cubicBezTo>
                  <a:cubicBezTo>
                    <a:pt x="308" y="1161"/>
                    <a:pt x="308" y="1161"/>
                    <a:pt x="308" y="1161"/>
                  </a:cubicBezTo>
                  <a:moveTo>
                    <a:pt x="322" y="1161"/>
                  </a:moveTo>
                  <a:cubicBezTo>
                    <a:pt x="315" y="1161"/>
                    <a:pt x="315" y="1161"/>
                    <a:pt x="315" y="1161"/>
                  </a:cubicBezTo>
                  <a:cubicBezTo>
                    <a:pt x="315" y="1168"/>
                    <a:pt x="315" y="1168"/>
                    <a:pt x="315" y="1168"/>
                  </a:cubicBezTo>
                  <a:cubicBezTo>
                    <a:pt x="322" y="1168"/>
                    <a:pt x="322" y="1168"/>
                    <a:pt x="322" y="1168"/>
                  </a:cubicBezTo>
                  <a:cubicBezTo>
                    <a:pt x="322" y="1161"/>
                    <a:pt x="322" y="1161"/>
                    <a:pt x="322" y="1161"/>
                  </a:cubicBezTo>
                  <a:moveTo>
                    <a:pt x="337" y="1161"/>
                  </a:moveTo>
                  <a:cubicBezTo>
                    <a:pt x="330" y="1161"/>
                    <a:pt x="330" y="1161"/>
                    <a:pt x="330" y="1161"/>
                  </a:cubicBezTo>
                  <a:cubicBezTo>
                    <a:pt x="330" y="1168"/>
                    <a:pt x="330" y="1168"/>
                    <a:pt x="330" y="1168"/>
                  </a:cubicBezTo>
                  <a:cubicBezTo>
                    <a:pt x="337" y="1168"/>
                    <a:pt x="337" y="1168"/>
                    <a:pt x="337" y="1168"/>
                  </a:cubicBezTo>
                  <a:cubicBezTo>
                    <a:pt x="337" y="1161"/>
                    <a:pt x="337" y="1161"/>
                    <a:pt x="337" y="1161"/>
                  </a:cubicBezTo>
                  <a:moveTo>
                    <a:pt x="352" y="1161"/>
                  </a:moveTo>
                  <a:cubicBezTo>
                    <a:pt x="345" y="1161"/>
                    <a:pt x="345" y="1161"/>
                    <a:pt x="345" y="1161"/>
                  </a:cubicBezTo>
                  <a:cubicBezTo>
                    <a:pt x="345" y="1168"/>
                    <a:pt x="345" y="1168"/>
                    <a:pt x="345" y="1168"/>
                  </a:cubicBezTo>
                  <a:cubicBezTo>
                    <a:pt x="352" y="1168"/>
                    <a:pt x="352" y="1168"/>
                    <a:pt x="352" y="1168"/>
                  </a:cubicBezTo>
                  <a:cubicBezTo>
                    <a:pt x="352" y="1161"/>
                    <a:pt x="352" y="1161"/>
                    <a:pt x="352" y="1161"/>
                  </a:cubicBezTo>
                  <a:moveTo>
                    <a:pt x="367" y="1161"/>
                  </a:moveTo>
                  <a:cubicBezTo>
                    <a:pt x="360" y="1161"/>
                    <a:pt x="360" y="1161"/>
                    <a:pt x="360" y="1161"/>
                  </a:cubicBezTo>
                  <a:cubicBezTo>
                    <a:pt x="360" y="1168"/>
                    <a:pt x="360" y="1168"/>
                    <a:pt x="360" y="1168"/>
                  </a:cubicBezTo>
                  <a:cubicBezTo>
                    <a:pt x="367" y="1168"/>
                    <a:pt x="367" y="1168"/>
                    <a:pt x="367" y="1168"/>
                  </a:cubicBezTo>
                  <a:cubicBezTo>
                    <a:pt x="367" y="1161"/>
                    <a:pt x="367" y="1161"/>
                    <a:pt x="367" y="1161"/>
                  </a:cubicBezTo>
                  <a:moveTo>
                    <a:pt x="381" y="1161"/>
                  </a:moveTo>
                  <a:cubicBezTo>
                    <a:pt x="374" y="1161"/>
                    <a:pt x="374" y="1161"/>
                    <a:pt x="374" y="1161"/>
                  </a:cubicBezTo>
                  <a:cubicBezTo>
                    <a:pt x="374" y="1168"/>
                    <a:pt x="374" y="1168"/>
                    <a:pt x="374" y="1168"/>
                  </a:cubicBezTo>
                  <a:cubicBezTo>
                    <a:pt x="381" y="1168"/>
                    <a:pt x="381" y="1168"/>
                    <a:pt x="381" y="1168"/>
                  </a:cubicBezTo>
                  <a:cubicBezTo>
                    <a:pt x="381" y="1161"/>
                    <a:pt x="381" y="1161"/>
                    <a:pt x="381" y="1161"/>
                  </a:cubicBezTo>
                  <a:moveTo>
                    <a:pt x="396" y="1161"/>
                  </a:moveTo>
                  <a:cubicBezTo>
                    <a:pt x="389" y="1161"/>
                    <a:pt x="389" y="1161"/>
                    <a:pt x="389" y="1161"/>
                  </a:cubicBezTo>
                  <a:cubicBezTo>
                    <a:pt x="389" y="1168"/>
                    <a:pt x="389" y="1168"/>
                    <a:pt x="389" y="1168"/>
                  </a:cubicBezTo>
                  <a:cubicBezTo>
                    <a:pt x="396" y="1168"/>
                    <a:pt x="396" y="1168"/>
                    <a:pt x="396" y="1168"/>
                  </a:cubicBezTo>
                  <a:cubicBezTo>
                    <a:pt x="396" y="1161"/>
                    <a:pt x="396" y="1161"/>
                    <a:pt x="396" y="1161"/>
                  </a:cubicBezTo>
                  <a:moveTo>
                    <a:pt x="411" y="1161"/>
                  </a:moveTo>
                  <a:cubicBezTo>
                    <a:pt x="404" y="1161"/>
                    <a:pt x="404" y="1161"/>
                    <a:pt x="404" y="1161"/>
                  </a:cubicBezTo>
                  <a:cubicBezTo>
                    <a:pt x="404" y="1168"/>
                    <a:pt x="404" y="1168"/>
                    <a:pt x="404" y="1168"/>
                  </a:cubicBezTo>
                  <a:cubicBezTo>
                    <a:pt x="411" y="1168"/>
                    <a:pt x="411" y="1168"/>
                    <a:pt x="411" y="1168"/>
                  </a:cubicBezTo>
                  <a:cubicBezTo>
                    <a:pt x="411" y="1161"/>
                    <a:pt x="411" y="1161"/>
                    <a:pt x="411" y="1161"/>
                  </a:cubicBezTo>
                  <a:moveTo>
                    <a:pt x="426" y="1161"/>
                  </a:moveTo>
                  <a:cubicBezTo>
                    <a:pt x="419" y="1161"/>
                    <a:pt x="419" y="1161"/>
                    <a:pt x="419" y="1161"/>
                  </a:cubicBezTo>
                  <a:cubicBezTo>
                    <a:pt x="419" y="1168"/>
                    <a:pt x="419" y="1168"/>
                    <a:pt x="419" y="1168"/>
                  </a:cubicBezTo>
                  <a:cubicBezTo>
                    <a:pt x="426" y="1168"/>
                    <a:pt x="426" y="1168"/>
                    <a:pt x="426" y="1168"/>
                  </a:cubicBezTo>
                  <a:cubicBezTo>
                    <a:pt x="426" y="1161"/>
                    <a:pt x="426" y="1161"/>
                    <a:pt x="426" y="1161"/>
                  </a:cubicBezTo>
                  <a:moveTo>
                    <a:pt x="440" y="1161"/>
                  </a:moveTo>
                  <a:cubicBezTo>
                    <a:pt x="433" y="1161"/>
                    <a:pt x="433" y="1161"/>
                    <a:pt x="433" y="1161"/>
                  </a:cubicBezTo>
                  <a:cubicBezTo>
                    <a:pt x="433" y="1168"/>
                    <a:pt x="433" y="1168"/>
                    <a:pt x="433" y="1168"/>
                  </a:cubicBezTo>
                  <a:cubicBezTo>
                    <a:pt x="440" y="1168"/>
                    <a:pt x="440" y="1168"/>
                    <a:pt x="440" y="1168"/>
                  </a:cubicBezTo>
                  <a:cubicBezTo>
                    <a:pt x="440" y="1161"/>
                    <a:pt x="440" y="1161"/>
                    <a:pt x="440" y="1161"/>
                  </a:cubicBezTo>
                  <a:moveTo>
                    <a:pt x="455" y="1161"/>
                  </a:moveTo>
                  <a:cubicBezTo>
                    <a:pt x="448" y="1161"/>
                    <a:pt x="448" y="1161"/>
                    <a:pt x="448" y="1161"/>
                  </a:cubicBezTo>
                  <a:cubicBezTo>
                    <a:pt x="448" y="1168"/>
                    <a:pt x="448" y="1168"/>
                    <a:pt x="448" y="1168"/>
                  </a:cubicBezTo>
                  <a:cubicBezTo>
                    <a:pt x="455" y="1168"/>
                    <a:pt x="455" y="1168"/>
                    <a:pt x="455" y="1168"/>
                  </a:cubicBezTo>
                  <a:cubicBezTo>
                    <a:pt x="455" y="1161"/>
                    <a:pt x="455" y="1161"/>
                    <a:pt x="455" y="1161"/>
                  </a:cubicBezTo>
                  <a:moveTo>
                    <a:pt x="470" y="1161"/>
                  </a:moveTo>
                  <a:cubicBezTo>
                    <a:pt x="463" y="1161"/>
                    <a:pt x="463" y="1161"/>
                    <a:pt x="463" y="1161"/>
                  </a:cubicBezTo>
                  <a:cubicBezTo>
                    <a:pt x="463" y="1168"/>
                    <a:pt x="463" y="1168"/>
                    <a:pt x="463" y="1168"/>
                  </a:cubicBezTo>
                  <a:cubicBezTo>
                    <a:pt x="470" y="1168"/>
                    <a:pt x="470" y="1168"/>
                    <a:pt x="470" y="1168"/>
                  </a:cubicBezTo>
                  <a:cubicBezTo>
                    <a:pt x="470" y="1161"/>
                    <a:pt x="470" y="1161"/>
                    <a:pt x="470" y="1161"/>
                  </a:cubicBezTo>
                  <a:moveTo>
                    <a:pt x="485" y="1161"/>
                  </a:moveTo>
                  <a:cubicBezTo>
                    <a:pt x="478" y="1161"/>
                    <a:pt x="478" y="1161"/>
                    <a:pt x="478" y="1161"/>
                  </a:cubicBezTo>
                  <a:cubicBezTo>
                    <a:pt x="478" y="1168"/>
                    <a:pt x="478" y="1168"/>
                    <a:pt x="478" y="1168"/>
                  </a:cubicBezTo>
                  <a:cubicBezTo>
                    <a:pt x="485" y="1168"/>
                    <a:pt x="485" y="1168"/>
                    <a:pt x="485" y="1168"/>
                  </a:cubicBezTo>
                  <a:cubicBezTo>
                    <a:pt x="485" y="1161"/>
                    <a:pt x="485" y="1161"/>
                    <a:pt x="485" y="1161"/>
                  </a:cubicBezTo>
                  <a:moveTo>
                    <a:pt x="499" y="1161"/>
                  </a:moveTo>
                  <a:cubicBezTo>
                    <a:pt x="492" y="1161"/>
                    <a:pt x="492" y="1161"/>
                    <a:pt x="492" y="1161"/>
                  </a:cubicBezTo>
                  <a:cubicBezTo>
                    <a:pt x="492" y="1168"/>
                    <a:pt x="492" y="1168"/>
                    <a:pt x="492" y="1168"/>
                  </a:cubicBezTo>
                  <a:cubicBezTo>
                    <a:pt x="499" y="1168"/>
                    <a:pt x="499" y="1168"/>
                    <a:pt x="499" y="1168"/>
                  </a:cubicBezTo>
                  <a:cubicBezTo>
                    <a:pt x="499" y="1161"/>
                    <a:pt x="499" y="1161"/>
                    <a:pt x="499" y="1161"/>
                  </a:cubicBezTo>
                  <a:moveTo>
                    <a:pt x="514" y="1161"/>
                  </a:moveTo>
                  <a:cubicBezTo>
                    <a:pt x="507" y="1161"/>
                    <a:pt x="507" y="1161"/>
                    <a:pt x="507" y="1161"/>
                  </a:cubicBezTo>
                  <a:cubicBezTo>
                    <a:pt x="507" y="1168"/>
                    <a:pt x="507" y="1168"/>
                    <a:pt x="507" y="1168"/>
                  </a:cubicBezTo>
                  <a:cubicBezTo>
                    <a:pt x="514" y="1168"/>
                    <a:pt x="514" y="1168"/>
                    <a:pt x="514" y="1168"/>
                  </a:cubicBezTo>
                  <a:cubicBezTo>
                    <a:pt x="514" y="1161"/>
                    <a:pt x="514" y="1161"/>
                    <a:pt x="514" y="1161"/>
                  </a:cubicBezTo>
                  <a:moveTo>
                    <a:pt x="529" y="1161"/>
                  </a:moveTo>
                  <a:cubicBezTo>
                    <a:pt x="522" y="1161"/>
                    <a:pt x="522" y="1161"/>
                    <a:pt x="522" y="1161"/>
                  </a:cubicBezTo>
                  <a:cubicBezTo>
                    <a:pt x="522" y="1168"/>
                    <a:pt x="522" y="1168"/>
                    <a:pt x="522" y="1168"/>
                  </a:cubicBezTo>
                  <a:cubicBezTo>
                    <a:pt x="529" y="1168"/>
                    <a:pt x="529" y="1168"/>
                    <a:pt x="529" y="1168"/>
                  </a:cubicBezTo>
                  <a:cubicBezTo>
                    <a:pt x="529" y="1161"/>
                    <a:pt x="529" y="1161"/>
                    <a:pt x="529" y="1161"/>
                  </a:cubicBezTo>
                  <a:moveTo>
                    <a:pt x="544" y="1161"/>
                  </a:moveTo>
                  <a:cubicBezTo>
                    <a:pt x="537" y="1161"/>
                    <a:pt x="537" y="1161"/>
                    <a:pt x="537" y="1161"/>
                  </a:cubicBezTo>
                  <a:cubicBezTo>
                    <a:pt x="537" y="1168"/>
                    <a:pt x="537" y="1168"/>
                    <a:pt x="537" y="1168"/>
                  </a:cubicBezTo>
                  <a:cubicBezTo>
                    <a:pt x="544" y="1168"/>
                    <a:pt x="544" y="1168"/>
                    <a:pt x="544" y="1168"/>
                  </a:cubicBezTo>
                  <a:cubicBezTo>
                    <a:pt x="544" y="1161"/>
                    <a:pt x="544" y="1161"/>
                    <a:pt x="544" y="1161"/>
                  </a:cubicBezTo>
                  <a:moveTo>
                    <a:pt x="204" y="1146"/>
                  </a:moveTo>
                  <a:cubicBezTo>
                    <a:pt x="197" y="1146"/>
                    <a:pt x="197" y="1146"/>
                    <a:pt x="197" y="1146"/>
                  </a:cubicBezTo>
                  <a:cubicBezTo>
                    <a:pt x="197" y="1153"/>
                    <a:pt x="197" y="1153"/>
                    <a:pt x="197" y="1153"/>
                  </a:cubicBezTo>
                  <a:cubicBezTo>
                    <a:pt x="204" y="1153"/>
                    <a:pt x="204" y="1153"/>
                    <a:pt x="204" y="1153"/>
                  </a:cubicBezTo>
                  <a:cubicBezTo>
                    <a:pt x="204" y="1146"/>
                    <a:pt x="204" y="1146"/>
                    <a:pt x="204" y="1146"/>
                  </a:cubicBezTo>
                  <a:moveTo>
                    <a:pt x="219" y="1146"/>
                  </a:moveTo>
                  <a:cubicBezTo>
                    <a:pt x="212" y="1146"/>
                    <a:pt x="212" y="1146"/>
                    <a:pt x="212" y="1146"/>
                  </a:cubicBezTo>
                  <a:cubicBezTo>
                    <a:pt x="212" y="1153"/>
                    <a:pt x="212" y="1153"/>
                    <a:pt x="212" y="1153"/>
                  </a:cubicBezTo>
                  <a:cubicBezTo>
                    <a:pt x="219" y="1153"/>
                    <a:pt x="219" y="1153"/>
                    <a:pt x="219" y="1153"/>
                  </a:cubicBezTo>
                  <a:cubicBezTo>
                    <a:pt x="219" y="1146"/>
                    <a:pt x="219" y="1146"/>
                    <a:pt x="219" y="1146"/>
                  </a:cubicBezTo>
                  <a:moveTo>
                    <a:pt x="234" y="1146"/>
                  </a:moveTo>
                  <a:cubicBezTo>
                    <a:pt x="227" y="1146"/>
                    <a:pt x="227" y="1146"/>
                    <a:pt x="227" y="1146"/>
                  </a:cubicBezTo>
                  <a:cubicBezTo>
                    <a:pt x="227" y="1153"/>
                    <a:pt x="227" y="1153"/>
                    <a:pt x="227" y="1153"/>
                  </a:cubicBezTo>
                  <a:cubicBezTo>
                    <a:pt x="234" y="1153"/>
                    <a:pt x="234" y="1153"/>
                    <a:pt x="234" y="1153"/>
                  </a:cubicBezTo>
                  <a:cubicBezTo>
                    <a:pt x="234" y="1146"/>
                    <a:pt x="234" y="1146"/>
                    <a:pt x="234" y="1146"/>
                  </a:cubicBezTo>
                  <a:moveTo>
                    <a:pt x="249" y="1146"/>
                  </a:moveTo>
                  <a:cubicBezTo>
                    <a:pt x="242" y="1146"/>
                    <a:pt x="242" y="1146"/>
                    <a:pt x="242" y="1146"/>
                  </a:cubicBezTo>
                  <a:cubicBezTo>
                    <a:pt x="242" y="1153"/>
                    <a:pt x="242" y="1153"/>
                    <a:pt x="242" y="1153"/>
                  </a:cubicBezTo>
                  <a:cubicBezTo>
                    <a:pt x="249" y="1153"/>
                    <a:pt x="249" y="1153"/>
                    <a:pt x="249" y="1153"/>
                  </a:cubicBezTo>
                  <a:cubicBezTo>
                    <a:pt x="249" y="1146"/>
                    <a:pt x="249" y="1146"/>
                    <a:pt x="249" y="1146"/>
                  </a:cubicBezTo>
                  <a:moveTo>
                    <a:pt x="263" y="1146"/>
                  </a:moveTo>
                  <a:cubicBezTo>
                    <a:pt x="256" y="1146"/>
                    <a:pt x="256" y="1146"/>
                    <a:pt x="256" y="1146"/>
                  </a:cubicBezTo>
                  <a:cubicBezTo>
                    <a:pt x="256" y="1153"/>
                    <a:pt x="256" y="1153"/>
                    <a:pt x="256" y="1153"/>
                  </a:cubicBezTo>
                  <a:cubicBezTo>
                    <a:pt x="263" y="1153"/>
                    <a:pt x="263" y="1153"/>
                    <a:pt x="263" y="1153"/>
                  </a:cubicBezTo>
                  <a:cubicBezTo>
                    <a:pt x="263" y="1146"/>
                    <a:pt x="263" y="1146"/>
                    <a:pt x="263" y="1146"/>
                  </a:cubicBezTo>
                  <a:moveTo>
                    <a:pt x="278" y="1146"/>
                  </a:moveTo>
                  <a:cubicBezTo>
                    <a:pt x="271" y="1146"/>
                    <a:pt x="271" y="1146"/>
                    <a:pt x="271" y="1146"/>
                  </a:cubicBezTo>
                  <a:cubicBezTo>
                    <a:pt x="271" y="1153"/>
                    <a:pt x="271" y="1153"/>
                    <a:pt x="271" y="1153"/>
                  </a:cubicBezTo>
                  <a:cubicBezTo>
                    <a:pt x="278" y="1153"/>
                    <a:pt x="278" y="1153"/>
                    <a:pt x="278" y="1153"/>
                  </a:cubicBezTo>
                  <a:cubicBezTo>
                    <a:pt x="278" y="1146"/>
                    <a:pt x="278" y="1146"/>
                    <a:pt x="278" y="1146"/>
                  </a:cubicBezTo>
                  <a:moveTo>
                    <a:pt x="293" y="1146"/>
                  </a:moveTo>
                  <a:cubicBezTo>
                    <a:pt x="286" y="1146"/>
                    <a:pt x="286" y="1146"/>
                    <a:pt x="286" y="1146"/>
                  </a:cubicBezTo>
                  <a:cubicBezTo>
                    <a:pt x="286" y="1153"/>
                    <a:pt x="286" y="1153"/>
                    <a:pt x="286" y="1153"/>
                  </a:cubicBezTo>
                  <a:cubicBezTo>
                    <a:pt x="293" y="1153"/>
                    <a:pt x="293" y="1153"/>
                    <a:pt x="293" y="1153"/>
                  </a:cubicBezTo>
                  <a:cubicBezTo>
                    <a:pt x="293" y="1146"/>
                    <a:pt x="293" y="1146"/>
                    <a:pt x="293" y="1146"/>
                  </a:cubicBezTo>
                  <a:moveTo>
                    <a:pt x="308" y="1146"/>
                  </a:moveTo>
                  <a:cubicBezTo>
                    <a:pt x="301" y="1146"/>
                    <a:pt x="301" y="1146"/>
                    <a:pt x="301" y="1146"/>
                  </a:cubicBezTo>
                  <a:cubicBezTo>
                    <a:pt x="301" y="1153"/>
                    <a:pt x="301" y="1153"/>
                    <a:pt x="301" y="1153"/>
                  </a:cubicBezTo>
                  <a:cubicBezTo>
                    <a:pt x="308" y="1153"/>
                    <a:pt x="308" y="1153"/>
                    <a:pt x="308" y="1153"/>
                  </a:cubicBezTo>
                  <a:cubicBezTo>
                    <a:pt x="308" y="1146"/>
                    <a:pt x="308" y="1146"/>
                    <a:pt x="308" y="1146"/>
                  </a:cubicBezTo>
                  <a:moveTo>
                    <a:pt x="322" y="1146"/>
                  </a:moveTo>
                  <a:cubicBezTo>
                    <a:pt x="315" y="1146"/>
                    <a:pt x="315" y="1146"/>
                    <a:pt x="315" y="1146"/>
                  </a:cubicBezTo>
                  <a:cubicBezTo>
                    <a:pt x="315" y="1153"/>
                    <a:pt x="315" y="1153"/>
                    <a:pt x="315" y="1153"/>
                  </a:cubicBezTo>
                  <a:cubicBezTo>
                    <a:pt x="322" y="1153"/>
                    <a:pt x="322" y="1153"/>
                    <a:pt x="322" y="1153"/>
                  </a:cubicBezTo>
                  <a:cubicBezTo>
                    <a:pt x="322" y="1146"/>
                    <a:pt x="322" y="1146"/>
                    <a:pt x="322" y="1146"/>
                  </a:cubicBezTo>
                  <a:moveTo>
                    <a:pt x="337" y="1146"/>
                  </a:moveTo>
                  <a:cubicBezTo>
                    <a:pt x="330" y="1146"/>
                    <a:pt x="330" y="1146"/>
                    <a:pt x="330" y="1146"/>
                  </a:cubicBezTo>
                  <a:cubicBezTo>
                    <a:pt x="330" y="1153"/>
                    <a:pt x="330" y="1153"/>
                    <a:pt x="330" y="1153"/>
                  </a:cubicBezTo>
                  <a:cubicBezTo>
                    <a:pt x="337" y="1153"/>
                    <a:pt x="337" y="1153"/>
                    <a:pt x="337" y="1153"/>
                  </a:cubicBezTo>
                  <a:cubicBezTo>
                    <a:pt x="337" y="1146"/>
                    <a:pt x="337" y="1146"/>
                    <a:pt x="337" y="1146"/>
                  </a:cubicBezTo>
                  <a:moveTo>
                    <a:pt x="352" y="1146"/>
                  </a:moveTo>
                  <a:cubicBezTo>
                    <a:pt x="345" y="1146"/>
                    <a:pt x="345" y="1146"/>
                    <a:pt x="345" y="1146"/>
                  </a:cubicBezTo>
                  <a:cubicBezTo>
                    <a:pt x="345" y="1153"/>
                    <a:pt x="345" y="1153"/>
                    <a:pt x="345" y="1153"/>
                  </a:cubicBezTo>
                  <a:cubicBezTo>
                    <a:pt x="352" y="1153"/>
                    <a:pt x="352" y="1153"/>
                    <a:pt x="352" y="1153"/>
                  </a:cubicBezTo>
                  <a:cubicBezTo>
                    <a:pt x="352" y="1146"/>
                    <a:pt x="352" y="1146"/>
                    <a:pt x="352" y="1146"/>
                  </a:cubicBezTo>
                  <a:moveTo>
                    <a:pt x="367" y="1146"/>
                  </a:moveTo>
                  <a:cubicBezTo>
                    <a:pt x="360" y="1146"/>
                    <a:pt x="360" y="1146"/>
                    <a:pt x="360" y="1146"/>
                  </a:cubicBezTo>
                  <a:cubicBezTo>
                    <a:pt x="360" y="1153"/>
                    <a:pt x="360" y="1153"/>
                    <a:pt x="360" y="1153"/>
                  </a:cubicBezTo>
                  <a:cubicBezTo>
                    <a:pt x="367" y="1153"/>
                    <a:pt x="367" y="1153"/>
                    <a:pt x="367" y="1153"/>
                  </a:cubicBezTo>
                  <a:cubicBezTo>
                    <a:pt x="367" y="1146"/>
                    <a:pt x="367" y="1146"/>
                    <a:pt x="367" y="1146"/>
                  </a:cubicBezTo>
                  <a:moveTo>
                    <a:pt x="381" y="1146"/>
                  </a:moveTo>
                  <a:cubicBezTo>
                    <a:pt x="374" y="1146"/>
                    <a:pt x="374" y="1146"/>
                    <a:pt x="374" y="1146"/>
                  </a:cubicBezTo>
                  <a:cubicBezTo>
                    <a:pt x="374" y="1153"/>
                    <a:pt x="374" y="1153"/>
                    <a:pt x="374" y="1153"/>
                  </a:cubicBezTo>
                  <a:cubicBezTo>
                    <a:pt x="381" y="1153"/>
                    <a:pt x="381" y="1153"/>
                    <a:pt x="381" y="1153"/>
                  </a:cubicBezTo>
                  <a:cubicBezTo>
                    <a:pt x="381" y="1146"/>
                    <a:pt x="381" y="1146"/>
                    <a:pt x="381" y="1146"/>
                  </a:cubicBezTo>
                  <a:moveTo>
                    <a:pt x="396" y="1146"/>
                  </a:moveTo>
                  <a:cubicBezTo>
                    <a:pt x="389" y="1146"/>
                    <a:pt x="389" y="1146"/>
                    <a:pt x="389" y="1146"/>
                  </a:cubicBezTo>
                  <a:cubicBezTo>
                    <a:pt x="389" y="1153"/>
                    <a:pt x="389" y="1153"/>
                    <a:pt x="389" y="1153"/>
                  </a:cubicBezTo>
                  <a:cubicBezTo>
                    <a:pt x="396" y="1153"/>
                    <a:pt x="396" y="1153"/>
                    <a:pt x="396" y="1153"/>
                  </a:cubicBezTo>
                  <a:cubicBezTo>
                    <a:pt x="396" y="1146"/>
                    <a:pt x="396" y="1146"/>
                    <a:pt x="396" y="1146"/>
                  </a:cubicBezTo>
                  <a:moveTo>
                    <a:pt x="411" y="1146"/>
                  </a:moveTo>
                  <a:cubicBezTo>
                    <a:pt x="404" y="1146"/>
                    <a:pt x="404" y="1146"/>
                    <a:pt x="404" y="1146"/>
                  </a:cubicBezTo>
                  <a:cubicBezTo>
                    <a:pt x="404" y="1153"/>
                    <a:pt x="404" y="1153"/>
                    <a:pt x="404" y="1153"/>
                  </a:cubicBezTo>
                  <a:cubicBezTo>
                    <a:pt x="411" y="1153"/>
                    <a:pt x="411" y="1153"/>
                    <a:pt x="411" y="1153"/>
                  </a:cubicBezTo>
                  <a:cubicBezTo>
                    <a:pt x="411" y="1146"/>
                    <a:pt x="411" y="1146"/>
                    <a:pt x="411" y="1146"/>
                  </a:cubicBezTo>
                  <a:moveTo>
                    <a:pt x="426" y="1146"/>
                  </a:moveTo>
                  <a:cubicBezTo>
                    <a:pt x="419" y="1146"/>
                    <a:pt x="419" y="1146"/>
                    <a:pt x="419" y="1146"/>
                  </a:cubicBezTo>
                  <a:cubicBezTo>
                    <a:pt x="419" y="1153"/>
                    <a:pt x="419" y="1153"/>
                    <a:pt x="419" y="1153"/>
                  </a:cubicBezTo>
                  <a:cubicBezTo>
                    <a:pt x="426" y="1153"/>
                    <a:pt x="426" y="1153"/>
                    <a:pt x="426" y="1153"/>
                  </a:cubicBezTo>
                  <a:cubicBezTo>
                    <a:pt x="426" y="1146"/>
                    <a:pt x="426" y="1146"/>
                    <a:pt x="426" y="1146"/>
                  </a:cubicBezTo>
                  <a:moveTo>
                    <a:pt x="440" y="1146"/>
                  </a:moveTo>
                  <a:cubicBezTo>
                    <a:pt x="433" y="1146"/>
                    <a:pt x="433" y="1146"/>
                    <a:pt x="433" y="1146"/>
                  </a:cubicBezTo>
                  <a:cubicBezTo>
                    <a:pt x="433" y="1153"/>
                    <a:pt x="433" y="1153"/>
                    <a:pt x="433" y="1153"/>
                  </a:cubicBezTo>
                  <a:cubicBezTo>
                    <a:pt x="440" y="1153"/>
                    <a:pt x="440" y="1153"/>
                    <a:pt x="440" y="1153"/>
                  </a:cubicBezTo>
                  <a:cubicBezTo>
                    <a:pt x="440" y="1146"/>
                    <a:pt x="440" y="1146"/>
                    <a:pt x="440" y="1146"/>
                  </a:cubicBezTo>
                  <a:moveTo>
                    <a:pt x="455" y="1146"/>
                  </a:moveTo>
                  <a:cubicBezTo>
                    <a:pt x="448" y="1146"/>
                    <a:pt x="448" y="1146"/>
                    <a:pt x="448" y="1146"/>
                  </a:cubicBezTo>
                  <a:cubicBezTo>
                    <a:pt x="448" y="1153"/>
                    <a:pt x="448" y="1153"/>
                    <a:pt x="448" y="1153"/>
                  </a:cubicBezTo>
                  <a:cubicBezTo>
                    <a:pt x="455" y="1153"/>
                    <a:pt x="455" y="1153"/>
                    <a:pt x="455" y="1153"/>
                  </a:cubicBezTo>
                  <a:cubicBezTo>
                    <a:pt x="455" y="1146"/>
                    <a:pt x="455" y="1146"/>
                    <a:pt x="455" y="1146"/>
                  </a:cubicBezTo>
                  <a:moveTo>
                    <a:pt x="470" y="1146"/>
                  </a:moveTo>
                  <a:cubicBezTo>
                    <a:pt x="463" y="1146"/>
                    <a:pt x="463" y="1146"/>
                    <a:pt x="463" y="1146"/>
                  </a:cubicBezTo>
                  <a:cubicBezTo>
                    <a:pt x="463" y="1153"/>
                    <a:pt x="463" y="1153"/>
                    <a:pt x="463" y="1153"/>
                  </a:cubicBezTo>
                  <a:cubicBezTo>
                    <a:pt x="470" y="1153"/>
                    <a:pt x="470" y="1153"/>
                    <a:pt x="470" y="1153"/>
                  </a:cubicBezTo>
                  <a:cubicBezTo>
                    <a:pt x="470" y="1146"/>
                    <a:pt x="470" y="1146"/>
                    <a:pt x="470" y="1146"/>
                  </a:cubicBezTo>
                  <a:moveTo>
                    <a:pt x="485" y="1146"/>
                  </a:moveTo>
                  <a:cubicBezTo>
                    <a:pt x="478" y="1146"/>
                    <a:pt x="478" y="1146"/>
                    <a:pt x="478" y="1146"/>
                  </a:cubicBezTo>
                  <a:cubicBezTo>
                    <a:pt x="478" y="1153"/>
                    <a:pt x="478" y="1153"/>
                    <a:pt x="478" y="1153"/>
                  </a:cubicBezTo>
                  <a:cubicBezTo>
                    <a:pt x="485" y="1153"/>
                    <a:pt x="485" y="1153"/>
                    <a:pt x="485" y="1153"/>
                  </a:cubicBezTo>
                  <a:cubicBezTo>
                    <a:pt x="485" y="1146"/>
                    <a:pt x="485" y="1146"/>
                    <a:pt x="485" y="1146"/>
                  </a:cubicBezTo>
                  <a:moveTo>
                    <a:pt x="499" y="1146"/>
                  </a:moveTo>
                  <a:cubicBezTo>
                    <a:pt x="492" y="1146"/>
                    <a:pt x="492" y="1146"/>
                    <a:pt x="492" y="1146"/>
                  </a:cubicBezTo>
                  <a:cubicBezTo>
                    <a:pt x="492" y="1153"/>
                    <a:pt x="492" y="1153"/>
                    <a:pt x="492" y="1153"/>
                  </a:cubicBezTo>
                  <a:cubicBezTo>
                    <a:pt x="499" y="1153"/>
                    <a:pt x="499" y="1153"/>
                    <a:pt x="499" y="1153"/>
                  </a:cubicBezTo>
                  <a:cubicBezTo>
                    <a:pt x="499" y="1146"/>
                    <a:pt x="499" y="1146"/>
                    <a:pt x="499" y="1146"/>
                  </a:cubicBezTo>
                  <a:moveTo>
                    <a:pt x="514" y="1146"/>
                  </a:moveTo>
                  <a:cubicBezTo>
                    <a:pt x="507" y="1146"/>
                    <a:pt x="507" y="1146"/>
                    <a:pt x="507" y="1146"/>
                  </a:cubicBezTo>
                  <a:cubicBezTo>
                    <a:pt x="507" y="1153"/>
                    <a:pt x="507" y="1153"/>
                    <a:pt x="507" y="1153"/>
                  </a:cubicBezTo>
                  <a:cubicBezTo>
                    <a:pt x="514" y="1153"/>
                    <a:pt x="514" y="1153"/>
                    <a:pt x="514" y="1153"/>
                  </a:cubicBezTo>
                  <a:cubicBezTo>
                    <a:pt x="514" y="1146"/>
                    <a:pt x="514" y="1146"/>
                    <a:pt x="514" y="1146"/>
                  </a:cubicBezTo>
                  <a:moveTo>
                    <a:pt x="529" y="1146"/>
                  </a:moveTo>
                  <a:cubicBezTo>
                    <a:pt x="522" y="1146"/>
                    <a:pt x="522" y="1146"/>
                    <a:pt x="522" y="1146"/>
                  </a:cubicBezTo>
                  <a:cubicBezTo>
                    <a:pt x="522" y="1153"/>
                    <a:pt x="522" y="1153"/>
                    <a:pt x="522" y="1153"/>
                  </a:cubicBezTo>
                  <a:cubicBezTo>
                    <a:pt x="529" y="1153"/>
                    <a:pt x="529" y="1153"/>
                    <a:pt x="529" y="1153"/>
                  </a:cubicBezTo>
                  <a:cubicBezTo>
                    <a:pt x="529" y="1146"/>
                    <a:pt x="529" y="1146"/>
                    <a:pt x="529" y="1146"/>
                  </a:cubicBezTo>
                  <a:moveTo>
                    <a:pt x="544" y="1146"/>
                  </a:moveTo>
                  <a:cubicBezTo>
                    <a:pt x="537" y="1146"/>
                    <a:pt x="537" y="1146"/>
                    <a:pt x="537" y="1146"/>
                  </a:cubicBezTo>
                  <a:cubicBezTo>
                    <a:pt x="537" y="1153"/>
                    <a:pt x="537" y="1153"/>
                    <a:pt x="537" y="1153"/>
                  </a:cubicBezTo>
                  <a:cubicBezTo>
                    <a:pt x="544" y="1153"/>
                    <a:pt x="544" y="1153"/>
                    <a:pt x="544" y="1153"/>
                  </a:cubicBezTo>
                  <a:cubicBezTo>
                    <a:pt x="544" y="1146"/>
                    <a:pt x="544" y="1146"/>
                    <a:pt x="544" y="1146"/>
                  </a:cubicBezTo>
                  <a:moveTo>
                    <a:pt x="204" y="1131"/>
                  </a:moveTo>
                  <a:cubicBezTo>
                    <a:pt x="197" y="1131"/>
                    <a:pt x="197" y="1131"/>
                    <a:pt x="197" y="1131"/>
                  </a:cubicBezTo>
                  <a:cubicBezTo>
                    <a:pt x="197" y="1138"/>
                    <a:pt x="197" y="1138"/>
                    <a:pt x="197" y="1138"/>
                  </a:cubicBezTo>
                  <a:cubicBezTo>
                    <a:pt x="204" y="1138"/>
                    <a:pt x="204" y="1138"/>
                    <a:pt x="204" y="1138"/>
                  </a:cubicBezTo>
                  <a:cubicBezTo>
                    <a:pt x="204" y="1131"/>
                    <a:pt x="204" y="1131"/>
                    <a:pt x="204" y="1131"/>
                  </a:cubicBezTo>
                  <a:moveTo>
                    <a:pt x="219" y="1131"/>
                  </a:moveTo>
                  <a:cubicBezTo>
                    <a:pt x="212" y="1131"/>
                    <a:pt x="212" y="1131"/>
                    <a:pt x="212" y="1131"/>
                  </a:cubicBezTo>
                  <a:cubicBezTo>
                    <a:pt x="212" y="1138"/>
                    <a:pt x="212" y="1138"/>
                    <a:pt x="212" y="1138"/>
                  </a:cubicBezTo>
                  <a:cubicBezTo>
                    <a:pt x="219" y="1138"/>
                    <a:pt x="219" y="1138"/>
                    <a:pt x="219" y="1138"/>
                  </a:cubicBezTo>
                  <a:cubicBezTo>
                    <a:pt x="219" y="1131"/>
                    <a:pt x="219" y="1131"/>
                    <a:pt x="219" y="1131"/>
                  </a:cubicBezTo>
                  <a:moveTo>
                    <a:pt x="234" y="1131"/>
                  </a:moveTo>
                  <a:cubicBezTo>
                    <a:pt x="227" y="1131"/>
                    <a:pt x="227" y="1131"/>
                    <a:pt x="227" y="1131"/>
                  </a:cubicBezTo>
                  <a:cubicBezTo>
                    <a:pt x="227" y="1138"/>
                    <a:pt x="227" y="1138"/>
                    <a:pt x="227" y="1138"/>
                  </a:cubicBezTo>
                  <a:cubicBezTo>
                    <a:pt x="234" y="1138"/>
                    <a:pt x="234" y="1138"/>
                    <a:pt x="234" y="1138"/>
                  </a:cubicBezTo>
                  <a:cubicBezTo>
                    <a:pt x="234" y="1131"/>
                    <a:pt x="234" y="1131"/>
                    <a:pt x="234" y="1131"/>
                  </a:cubicBezTo>
                  <a:moveTo>
                    <a:pt x="249" y="1131"/>
                  </a:moveTo>
                  <a:cubicBezTo>
                    <a:pt x="242" y="1131"/>
                    <a:pt x="242" y="1131"/>
                    <a:pt x="242" y="1131"/>
                  </a:cubicBezTo>
                  <a:cubicBezTo>
                    <a:pt x="242" y="1138"/>
                    <a:pt x="242" y="1138"/>
                    <a:pt x="242" y="1138"/>
                  </a:cubicBezTo>
                  <a:cubicBezTo>
                    <a:pt x="249" y="1138"/>
                    <a:pt x="249" y="1138"/>
                    <a:pt x="249" y="1138"/>
                  </a:cubicBezTo>
                  <a:cubicBezTo>
                    <a:pt x="249" y="1131"/>
                    <a:pt x="249" y="1131"/>
                    <a:pt x="249" y="1131"/>
                  </a:cubicBezTo>
                  <a:moveTo>
                    <a:pt x="263" y="1131"/>
                  </a:moveTo>
                  <a:cubicBezTo>
                    <a:pt x="256" y="1131"/>
                    <a:pt x="256" y="1131"/>
                    <a:pt x="256" y="1131"/>
                  </a:cubicBezTo>
                  <a:cubicBezTo>
                    <a:pt x="256" y="1138"/>
                    <a:pt x="256" y="1138"/>
                    <a:pt x="256" y="1138"/>
                  </a:cubicBezTo>
                  <a:cubicBezTo>
                    <a:pt x="263" y="1138"/>
                    <a:pt x="263" y="1138"/>
                    <a:pt x="263" y="1138"/>
                  </a:cubicBezTo>
                  <a:cubicBezTo>
                    <a:pt x="263" y="1131"/>
                    <a:pt x="263" y="1131"/>
                    <a:pt x="263" y="1131"/>
                  </a:cubicBezTo>
                  <a:moveTo>
                    <a:pt x="278" y="1131"/>
                  </a:moveTo>
                  <a:cubicBezTo>
                    <a:pt x="271" y="1131"/>
                    <a:pt x="271" y="1131"/>
                    <a:pt x="271" y="1131"/>
                  </a:cubicBezTo>
                  <a:cubicBezTo>
                    <a:pt x="271" y="1138"/>
                    <a:pt x="271" y="1138"/>
                    <a:pt x="271" y="1138"/>
                  </a:cubicBezTo>
                  <a:cubicBezTo>
                    <a:pt x="278" y="1138"/>
                    <a:pt x="278" y="1138"/>
                    <a:pt x="278" y="1138"/>
                  </a:cubicBezTo>
                  <a:cubicBezTo>
                    <a:pt x="278" y="1131"/>
                    <a:pt x="278" y="1131"/>
                    <a:pt x="278" y="1131"/>
                  </a:cubicBezTo>
                  <a:moveTo>
                    <a:pt x="293" y="1131"/>
                  </a:moveTo>
                  <a:cubicBezTo>
                    <a:pt x="286" y="1131"/>
                    <a:pt x="286" y="1131"/>
                    <a:pt x="286" y="1131"/>
                  </a:cubicBezTo>
                  <a:cubicBezTo>
                    <a:pt x="286" y="1138"/>
                    <a:pt x="286" y="1138"/>
                    <a:pt x="286" y="1138"/>
                  </a:cubicBezTo>
                  <a:cubicBezTo>
                    <a:pt x="293" y="1138"/>
                    <a:pt x="293" y="1138"/>
                    <a:pt x="293" y="1138"/>
                  </a:cubicBezTo>
                  <a:cubicBezTo>
                    <a:pt x="293" y="1131"/>
                    <a:pt x="293" y="1131"/>
                    <a:pt x="293" y="1131"/>
                  </a:cubicBezTo>
                  <a:moveTo>
                    <a:pt x="308" y="1131"/>
                  </a:moveTo>
                  <a:cubicBezTo>
                    <a:pt x="301" y="1131"/>
                    <a:pt x="301" y="1131"/>
                    <a:pt x="301" y="1131"/>
                  </a:cubicBezTo>
                  <a:cubicBezTo>
                    <a:pt x="301" y="1138"/>
                    <a:pt x="301" y="1138"/>
                    <a:pt x="301" y="1138"/>
                  </a:cubicBezTo>
                  <a:cubicBezTo>
                    <a:pt x="308" y="1138"/>
                    <a:pt x="308" y="1138"/>
                    <a:pt x="308" y="1138"/>
                  </a:cubicBezTo>
                  <a:cubicBezTo>
                    <a:pt x="308" y="1131"/>
                    <a:pt x="308" y="1131"/>
                    <a:pt x="308" y="1131"/>
                  </a:cubicBezTo>
                  <a:moveTo>
                    <a:pt x="322" y="1131"/>
                  </a:moveTo>
                  <a:cubicBezTo>
                    <a:pt x="315" y="1131"/>
                    <a:pt x="315" y="1131"/>
                    <a:pt x="315" y="1131"/>
                  </a:cubicBezTo>
                  <a:cubicBezTo>
                    <a:pt x="315" y="1138"/>
                    <a:pt x="315" y="1138"/>
                    <a:pt x="315" y="1138"/>
                  </a:cubicBezTo>
                  <a:cubicBezTo>
                    <a:pt x="322" y="1138"/>
                    <a:pt x="322" y="1138"/>
                    <a:pt x="322" y="1138"/>
                  </a:cubicBezTo>
                  <a:cubicBezTo>
                    <a:pt x="322" y="1131"/>
                    <a:pt x="322" y="1131"/>
                    <a:pt x="322" y="1131"/>
                  </a:cubicBezTo>
                  <a:moveTo>
                    <a:pt x="337" y="1131"/>
                  </a:moveTo>
                  <a:cubicBezTo>
                    <a:pt x="330" y="1131"/>
                    <a:pt x="330" y="1131"/>
                    <a:pt x="330" y="1131"/>
                  </a:cubicBezTo>
                  <a:cubicBezTo>
                    <a:pt x="330" y="1138"/>
                    <a:pt x="330" y="1138"/>
                    <a:pt x="330" y="1138"/>
                  </a:cubicBezTo>
                  <a:cubicBezTo>
                    <a:pt x="337" y="1138"/>
                    <a:pt x="337" y="1138"/>
                    <a:pt x="337" y="1138"/>
                  </a:cubicBezTo>
                  <a:cubicBezTo>
                    <a:pt x="337" y="1131"/>
                    <a:pt x="337" y="1131"/>
                    <a:pt x="337" y="1131"/>
                  </a:cubicBezTo>
                  <a:moveTo>
                    <a:pt x="352" y="1131"/>
                  </a:moveTo>
                  <a:cubicBezTo>
                    <a:pt x="345" y="1131"/>
                    <a:pt x="345" y="1131"/>
                    <a:pt x="345" y="1131"/>
                  </a:cubicBezTo>
                  <a:cubicBezTo>
                    <a:pt x="345" y="1138"/>
                    <a:pt x="345" y="1138"/>
                    <a:pt x="345" y="1138"/>
                  </a:cubicBezTo>
                  <a:cubicBezTo>
                    <a:pt x="352" y="1138"/>
                    <a:pt x="352" y="1138"/>
                    <a:pt x="352" y="1138"/>
                  </a:cubicBezTo>
                  <a:cubicBezTo>
                    <a:pt x="352" y="1131"/>
                    <a:pt x="352" y="1131"/>
                    <a:pt x="352" y="1131"/>
                  </a:cubicBezTo>
                  <a:moveTo>
                    <a:pt x="367" y="1131"/>
                  </a:moveTo>
                  <a:cubicBezTo>
                    <a:pt x="360" y="1131"/>
                    <a:pt x="360" y="1131"/>
                    <a:pt x="360" y="1131"/>
                  </a:cubicBezTo>
                  <a:cubicBezTo>
                    <a:pt x="360" y="1138"/>
                    <a:pt x="360" y="1138"/>
                    <a:pt x="360" y="1138"/>
                  </a:cubicBezTo>
                  <a:cubicBezTo>
                    <a:pt x="367" y="1138"/>
                    <a:pt x="367" y="1138"/>
                    <a:pt x="367" y="1138"/>
                  </a:cubicBezTo>
                  <a:cubicBezTo>
                    <a:pt x="367" y="1131"/>
                    <a:pt x="367" y="1131"/>
                    <a:pt x="367" y="1131"/>
                  </a:cubicBezTo>
                  <a:moveTo>
                    <a:pt x="381" y="1131"/>
                  </a:moveTo>
                  <a:cubicBezTo>
                    <a:pt x="374" y="1131"/>
                    <a:pt x="374" y="1131"/>
                    <a:pt x="374" y="1131"/>
                  </a:cubicBezTo>
                  <a:cubicBezTo>
                    <a:pt x="374" y="1138"/>
                    <a:pt x="374" y="1138"/>
                    <a:pt x="374" y="1138"/>
                  </a:cubicBezTo>
                  <a:cubicBezTo>
                    <a:pt x="381" y="1138"/>
                    <a:pt x="381" y="1138"/>
                    <a:pt x="381" y="1138"/>
                  </a:cubicBezTo>
                  <a:cubicBezTo>
                    <a:pt x="381" y="1131"/>
                    <a:pt x="381" y="1131"/>
                    <a:pt x="381" y="1131"/>
                  </a:cubicBezTo>
                  <a:moveTo>
                    <a:pt x="396" y="1131"/>
                  </a:moveTo>
                  <a:cubicBezTo>
                    <a:pt x="389" y="1131"/>
                    <a:pt x="389" y="1131"/>
                    <a:pt x="389" y="1131"/>
                  </a:cubicBezTo>
                  <a:cubicBezTo>
                    <a:pt x="389" y="1138"/>
                    <a:pt x="389" y="1138"/>
                    <a:pt x="389" y="1138"/>
                  </a:cubicBezTo>
                  <a:cubicBezTo>
                    <a:pt x="396" y="1138"/>
                    <a:pt x="396" y="1138"/>
                    <a:pt x="396" y="1138"/>
                  </a:cubicBezTo>
                  <a:cubicBezTo>
                    <a:pt x="396" y="1131"/>
                    <a:pt x="396" y="1131"/>
                    <a:pt x="396" y="1131"/>
                  </a:cubicBezTo>
                  <a:moveTo>
                    <a:pt x="411" y="1131"/>
                  </a:moveTo>
                  <a:cubicBezTo>
                    <a:pt x="404" y="1131"/>
                    <a:pt x="404" y="1131"/>
                    <a:pt x="404" y="1131"/>
                  </a:cubicBezTo>
                  <a:cubicBezTo>
                    <a:pt x="404" y="1138"/>
                    <a:pt x="404" y="1138"/>
                    <a:pt x="404" y="1138"/>
                  </a:cubicBezTo>
                  <a:cubicBezTo>
                    <a:pt x="411" y="1138"/>
                    <a:pt x="411" y="1138"/>
                    <a:pt x="411" y="1138"/>
                  </a:cubicBezTo>
                  <a:cubicBezTo>
                    <a:pt x="411" y="1131"/>
                    <a:pt x="411" y="1131"/>
                    <a:pt x="411" y="1131"/>
                  </a:cubicBezTo>
                  <a:moveTo>
                    <a:pt x="426" y="1131"/>
                  </a:moveTo>
                  <a:cubicBezTo>
                    <a:pt x="419" y="1131"/>
                    <a:pt x="419" y="1131"/>
                    <a:pt x="419" y="1131"/>
                  </a:cubicBezTo>
                  <a:cubicBezTo>
                    <a:pt x="419" y="1138"/>
                    <a:pt x="419" y="1138"/>
                    <a:pt x="419" y="1138"/>
                  </a:cubicBezTo>
                  <a:cubicBezTo>
                    <a:pt x="426" y="1138"/>
                    <a:pt x="426" y="1138"/>
                    <a:pt x="426" y="1138"/>
                  </a:cubicBezTo>
                  <a:cubicBezTo>
                    <a:pt x="426" y="1131"/>
                    <a:pt x="426" y="1131"/>
                    <a:pt x="426" y="1131"/>
                  </a:cubicBezTo>
                  <a:moveTo>
                    <a:pt x="440" y="1131"/>
                  </a:moveTo>
                  <a:cubicBezTo>
                    <a:pt x="433" y="1131"/>
                    <a:pt x="433" y="1131"/>
                    <a:pt x="433" y="1131"/>
                  </a:cubicBezTo>
                  <a:cubicBezTo>
                    <a:pt x="433" y="1138"/>
                    <a:pt x="433" y="1138"/>
                    <a:pt x="433" y="1138"/>
                  </a:cubicBezTo>
                  <a:cubicBezTo>
                    <a:pt x="440" y="1138"/>
                    <a:pt x="440" y="1138"/>
                    <a:pt x="440" y="1138"/>
                  </a:cubicBezTo>
                  <a:cubicBezTo>
                    <a:pt x="440" y="1131"/>
                    <a:pt x="440" y="1131"/>
                    <a:pt x="440" y="1131"/>
                  </a:cubicBezTo>
                  <a:moveTo>
                    <a:pt x="455" y="1131"/>
                  </a:moveTo>
                  <a:cubicBezTo>
                    <a:pt x="448" y="1131"/>
                    <a:pt x="448" y="1131"/>
                    <a:pt x="448" y="1131"/>
                  </a:cubicBezTo>
                  <a:cubicBezTo>
                    <a:pt x="448" y="1138"/>
                    <a:pt x="448" y="1138"/>
                    <a:pt x="448" y="1138"/>
                  </a:cubicBezTo>
                  <a:cubicBezTo>
                    <a:pt x="455" y="1138"/>
                    <a:pt x="455" y="1138"/>
                    <a:pt x="455" y="1138"/>
                  </a:cubicBezTo>
                  <a:cubicBezTo>
                    <a:pt x="455" y="1131"/>
                    <a:pt x="455" y="1131"/>
                    <a:pt x="455" y="1131"/>
                  </a:cubicBezTo>
                  <a:moveTo>
                    <a:pt x="470" y="1131"/>
                  </a:moveTo>
                  <a:cubicBezTo>
                    <a:pt x="463" y="1131"/>
                    <a:pt x="463" y="1131"/>
                    <a:pt x="463" y="1131"/>
                  </a:cubicBezTo>
                  <a:cubicBezTo>
                    <a:pt x="463" y="1138"/>
                    <a:pt x="463" y="1138"/>
                    <a:pt x="463" y="1138"/>
                  </a:cubicBezTo>
                  <a:cubicBezTo>
                    <a:pt x="470" y="1138"/>
                    <a:pt x="470" y="1138"/>
                    <a:pt x="470" y="1138"/>
                  </a:cubicBezTo>
                  <a:cubicBezTo>
                    <a:pt x="470" y="1131"/>
                    <a:pt x="470" y="1131"/>
                    <a:pt x="470" y="1131"/>
                  </a:cubicBezTo>
                  <a:moveTo>
                    <a:pt x="485" y="1131"/>
                  </a:moveTo>
                  <a:cubicBezTo>
                    <a:pt x="478" y="1131"/>
                    <a:pt x="478" y="1131"/>
                    <a:pt x="478" y="1131"/>
                  </a:cubicBezTo>
                  <a:cubicBezTo>
                    <a:pt x="478" y="1138"/>
                    <a:pt x="478" y="1138"/>
                    <a:pt x="478" y="1138"/>
                  </a:cubicBezTo>
                  <a:cubicBezTo>
                    <a:pt x="485" y="1138"/>
                    <a:pt x="485" y="1138"/>
                    <a:pt x="485" y="1138"/>
                  </a:cubicBezTo>
                  <a:cubicBezTo>
                    <a:pt x="485" y="1131"/>
                    <a:pt x="485" y="1131"/>
                    <a:pt x="485" y="1131"/>
                  </a:cubicBezTo>
                  <a:moveTo>
                    <a:pt x="499" y="1131"/>
                  </a:moveTo>
                  <a:cubicBezTo>
                    <a:pt x="492" y="1131"/>
                    <a:pt x="492" y="1131"/>
                    <a:pt x="492" y="1131"/>
                  </a:cubicBezTo>
                  <a:cubicBezTo>
                    <a:pt x="492" y="1138"/>
                    <a:pt x="492" y="1138"/>
                    <a:pt x="492" y="1138"/>
                  </a:cubicBezTo>
                  <a:cubicBezTo>
                    <a:pt x="499" y="1138"/>
                    <a:pt x="499" y="1138"/>
                    <a:pt x="499" y="1138"/>
                  </a:cubicBezTo>
                  <a:cubicBezTo>
                    <a:pt x="499" y="1131"/>
                    <a:pt x="499" y="1131"/>
                    <a:pt x="499" y="1131"/>
                  </a:cubicBezTo>
                  <a:moveTo>
                    <a:pt x="514" y="1131"/>
                  </a:moveTo>
                  <a:cubicBezTo>
                    <a:pt x="507" y="1131"/>
                    <a:pt x="507" y="1131"/>
                    <a:pt x="507" y="1131"/>
                  </a:cubicBezTo>
                  <a:cubicBezTo>
                    <a:pt x="507" y="1138"/>
                    <a:pt x="507" y="1138"/>
                    <a:pt x="507" y="1138"/>
                  </a:cubicBezTo>
                  <a:cubicBezTo>
                    <a:pt x="514" y="1138"/>
                    <a:pt x="514" y="1138"/>
                    <a:pt x="514" y="1138"/>
                  </a:cubicBezTo>
                  <a:cubicBezTo>
                    <a:pt x="514" y="1131"/>
                    <a:pt x="514" y="1131"/>
                    <a:pt x="514" y="1131"/>
                  </a:cubicBezTo>
                  <a:moveTo>
                    <a:pt x="529" y="1131"/>
                  </a:moveTo>
                  <a:cubicBezTo>
                    <a:pt x="522" y="1131"/>
                    <a:pt x="522" y="1131"/>
                    <a:pt x="522" y="1131"/>
                  </a:cubicBezTo>
                  <a:cubicBezTo>
                    <a:pt x="522" y="1138"/>
                    <a:pt x="522" y="1138"/>
                    <a:pt x="522" y="1138"/>
                  </a:cubicBezTo>
                  <a:cubicBezTo>
                    <a:pt x="529" y="1138"/>
                    <a:pt x="529" y="1138"/>
                    <a:pt x="529" y="1138"/>
                  </a:cubicBezTo>
                  <a:cubicBezTo>
                    <a:pt x="529" y="1131"/>
                    <a:pt x="529" y="1131"/>
                    <a:pt x="529" y="1131"/>
                  </a:cubicBezTo>
                  <a:moveTo>
                    <a:pt x="544" y="1131"/>
                  </a:moveTo>
                  <a:cubicBezTo>
                    <a:pt x="537" y="1131"/>
                    <a:pt x="537" y="1131"/>
                    <a:pt x="537" y="1131"/>
                  </a:cubicBezTo>
                  <a:cubicBezTo>
                    <a:pt x="537" y="1138"/>
                    <a:pt x="537" y="1138"/>
                    <a:pt x="537" y="1138"/>
                  </a:cubicBezTo>
                  <a:cubicBezTo>
                    <a:pt x="544" y="1138"/>
                    <a:pt x="544" y="1138"/>
                    <a:pt x="544" y="1138"/>
                  </a:cubicBezTo>
                  <a:cubicBezTo>
                    <a:pt x="544" y="1131"/>
                    <a:pt x="544" y="1131"/>
                    <a:pt x="544" y="1131"/>
                  </a:cubicBezTo>
                  <a:moveTo>
                    <a:pt x="219" y="1117"/>
                  </a:moveTo>
                  <a:cubicBezTo>
                    <a:pt x="212" y="1117"/>
                    <a:pt x="212" y="1117"/>
                    <a:pt x="212" y="1117"/>
                  </a:cubicBezTo>
                  <a:cubicBezTo>
                    <a:pt x="212" y="1124"/>
                    <a:pt x="212" y="1124"/>
                    <a:pt x="212" y="1124"/>
                  </a:cubicBezTo>
                  <a:cubicBezTo>
                    <a:pt x="219" y="1124"/>
                    <a:pt x="219" y="1124"/>
                    <a:pt x="219" y="1124"/>
                  </a:cubicBezTo>
                  <a:cubicBezTo>
                    <a:pt x="219" y="1117"/>
                    <a:pt x="219" y="1117"/>
                    <a:pt x="219" y="1117"/>
                  </a:cubicBezTo>
                  <a:moveTo>
                    <a:pt x="234" y="1117"/>
                  </a:moveTo>
                  <a:cubicBezTo>
                    <a:pt x="227" y="1117"/>
                    <a:pt x="227" y="1117"/>
                    <a:pt x="227" y="1117"/>
                  </a:cubicBezTo>
                  <a:cubicBezTo>
                    <a:pt x="227" y="1124"/>
                    <a:pt x="227" y="1124"/>
                    <a:pt x="227" y="1124"/>
                  </a:cubicBezTo>
                  <a:cubicBezTo>
                    <a:pt x="234" y="1124"/>
                    <a:pt x="234" y="1124"/>
                    <a:pt x="234" y="1124"/>
                  </a:cubicBezTo>
                  <a:cubicBezTo>
                    <a:pt x="234" y="1117"/>
                    <a:pt x="234" y="1117"/>
                    <a:pt x="234" y="1117"/>
                  </a:cubicBezTo>
                  <a:moveTo>
                    <a:pt x="249" y="1117"/>
                  </a:moveTo>
                  <a:cubicBezTo>
                    <a:pt x="242" y="1117"/>
                    <a:pt x="242" y="1117"/>
                    <a:pt x="242" y="1117"/>
                  </a:cubicBezTo>
                  <a:cubicBezTo>
                    <a:pt x="242" y="1124"/>
                    <a:pt x="242" y="1124"/>
                    <a:pt x="242" y="1124"/>
                  </a:cubicBezTo>
                  <a:cubicBezTo>
                    <a:pt x="249" y="1124"/>
                    <a:pt x="249" y="1124"/>
                    <a:pt x="249" y="1124"/>
                  </a:cubicBezTo>
                  <a:cubicBezTo>
                    <a:pt x="249" y="1117"/>
                    <a:pt x="249" y="1117"/>
                    <a:pt x="249" y="1117"/>
                  </a:cubicBezTo>
                  <a:moveTo>
                    <a:pt x="263" y="1117"/>
                  </a:moveTo>
                  <a:cubicBezTo>
                    <a:pt x="256" y="1117"/>
                    <a:pt x="256" y="1117"/>
                    <a:pt x="256" y="1117"/>
                  </a:cubicBezTo>
                  <a:cubicBezTo>
                    <a:pt x="256" y="1124"/>
                    <a:pt x="256" y="1124"/>
                    <a:pt x="256" y="1124"/>
                  </a:cubicBezTo>
                  <a:cubicBezTo>
                    <a:pt x="263" y="1124"/>
                    <a:pt x="263" y="1124"/>
                    <a:pt x="263" y="1124"/>
                  </a:cubicBezTo>
                  <a:cubicBezTo>
                    <a:pt x="263" y="1117"/>
                    <a:pt x="263" y="1117"/>
                    <a:pt x="263" y="1117"/>
                  </a:cubicBezTo>
                  <a:moveTo>
                    <a:pt x="278" y="1117"/>
                  </a:moveTo>
                  <a:cubicBezTo>
                    <a:pt x="271" y="1117"/>
                    <a:pt x="271" y="1117"/>
                    <a:pt x="271" y="1117"/>
                  </a:cubicBezTo>
                  <a:cubicBezTo>
                    <a:pt x="271" y="1124"/>
                    <a:pt x="271" y="1124"/>
                    <a:pt x="271" y="1124"/>
                  </a:cubicBezTo>
                  <a:cubicBezTo>
                    <a:pt x="278" y="1124"/>
                    <a:pt x="278" y="1124"/>
                    <a:pt x="278" y="1124"/>
                  </a:cubicBezTo>
                  <a:cubicBezTo>
                    <a:pt x="278" y="1117"/>
                    <a:pt x="278" y="1117"/>
                    <a:pt x="278" y="1117"/>
                  </a:cubicBezTo>
                  <a:moveTo>
                    <a:pt x="293" y="1117"/>
                  </a:moveTo>
                  <a:cubicBezTo>
                    <a:pt x="286" y="1117"/>
                    <a:pt x="286" y="1117"/>
                    <a:pt x="286" y="1117"/>
                  </a:cubicBezTo>
                  <a:cubicBezTo>
                    <a:pt x="286" y="1124"/>
                    <a:pt x="286" y="1124"/>
                    <a:pt x="286" y="1124"/>
                  </a:cubicBezTo>
                  <a:cubicBezTo>
                    <a:pt x="293" y="1124"/>
                    <a:pt x="293" y="1124"/>
                    <a:pt x="293" y="1124"/>
                  </a:cubicBezTo>
                  <a:cubicBezTo>
                    <a:pt x="293" y="1117"/>
                    <a:pt x="293" y="1117"/>
                    <a:pt x="293" y="1117"/>
                  </a:cubicBezTo>
                  <a:moveTo>
                    <a:pt x="308" y="1117"/>
                  </a:moveTo>
                  <a:cubicBezTo>
                    <a:pt x="301" y="1117"/>
                    <a:pt x="301" y="1117"/>
                    <a:pt x="301" y="1117"/>
                  </a:cubicBezTo>
                  <a:cubicBezTo>
                    <a:pt x="301" y="1124"/>
                    <a:pt x="301" y="1124"/>
                    <a:pt x="301" y="1124"/>
                  </a:cubicBezTo>
                  <a:cubicBezTo>
                    <a:pt x="308" y="1124"/>
                    <a:pt x="308" y="1124"/>
                    <a:pt x="308" y="1124"/>
                  </a:cubicBezTo>
                  <a:cubicBezTo>
                    <a:pt x="308" y="1117"/>
                    <a:pt x="308" y="1117"/>
                    <a:pt x="308" y="1117"/>
                  </a:cubicBezTo>
                  <a:moveTo>
                    <a:pt x="322" y="1117"/>
                  </a:moveTo>
                  <a:cubicBezTo>
                    <a:pt x="315" y="1117"/>
                    <a:pt x="315" y="1117"/>
                    <a:pt x="315" y="1117"/>
                  </a:cubicBezTo>
                  <a:cubicBezTo>
                    <a:pt x="315" y="1124"/>
                    <a:pt x="315" y="1124"/>
                    <a:pt x="315" y="1124"/>
                  </a:cubicBezTo>
                  <a:cubicBezTo>
                    <a:pt x="322" y="1124"/>
                    <a:pt x="322" y="1124"/>
                    <a:pt x="322" y="1124"/>
                  </a:cubicBezTo>
                  <a:cubicBezTo>
                    <a:pt x="322" y="1117"/>
                    <a:pt x="322" y="1117"/>
                    <a:pt x="322" y="1117"/>
                  </a:cubicBezTo>
                  <a:moveTo>
                    <a:pt x="337" y="1117"/>
                  </a:moveTo>
                  <a:cubicBezTo>
                    <a:pt x="330" y="1117"/>
                    <a:pt x="330" y="1117"/>
                    <a:pt x="330" y="1117"/>
                  </a:cubicBezTo>
                  <a:cubicBezTo>
                    <a:pt x="330" y="1124"/>
                    <a:pt x="330" y="1124"/>
                    <a:pt x="330" y="1124"/>
                  </a:cubicBezTo>
                  <a:cubicBezTo>
                    <a:pt x="337" y="1124"/>
                    <a:pt x="337" y="1124"/>
                    <a:pt x="337" y="1124"/>
                  </a:cubicBezTo>
                  <a:cubicBezTo>
                    <a:pt x="337" y="1117"/>
                    <a:pt x="337" y="1117"/>
                    <a:pt x="337" y="1117"/>
                  </a:cubicBezTo>
                  <a:moveTo>
                    <a:pt x="352" y="1117"/>
                  </a:moveTo>
                  <a:cubicBezTo>
                    <a:pt x="345" y="1117"/>
                    <a:pt x="345" y="1117"/>
                    <a:pt x="345" y="1117"/>
                  </a:cubicBezTo>
                  <a:cubicBezTo>
                    <a:pt x="345" y="1124"/>
                    <a:pt x="345" y="1124"/>
                    <a:pt x="345" y="1124"/>
                  </a:cubicBezTo>
                  <a:cubicBezTo>
                    <a:pt x="352" y="1124"/>
                    <a:pt x="352" y="1124"/>
                    <a:pt x="352" y="1124"/>
                  </a:cubicBezTo>
                  <a:cubicBezTo>
                    <a:pt x="352" y="1117"/>
                    <a:pt x="352" y="1117"/>
                    <a:pt x="352" y="1117"/>
                  </a:cubicBezTo>
                  <a:moveTo>
                    <a:pt x="367" y="1117"/>
                  </a:moveTo>
                  <a:cubicBezTo>
                    <a:pt x="360" y="1117"/>
                    <a:pt x="360" y="1117"/>
                    <a:pt x="360" y="1117"/>
                  </a:cubicBezTo>
                  <a:cubicBezTo>
                    <a:pt x="360" y="1124"/>
                    <a:pt x="360" y="1124"/>
                    <a:pt x="360" y="1124"/>
                  </a:cubicBezTo>
                  <a:cubicBezTo>
                    <a:pt x="367" y="1124"/>
                    <a:pt x="367" y="1124"/>
                    <a:pt x="367" y="1124"/>
                  </a:cubicBezTo>
                  <a:cubicBezTo>
                    <a:pt x="367" y="1117"/>
                    <a:pt x="367" y="1117"/>
                    <a:pt x="367" y="1117"/>
                  </a:cubicBezTo>
                  <a:moveTo>
                    <a:pt x="381" y="1117"/>
                  </a:moveTo>
                  <a:cubicBezTo>
                    <a:pt x="374" y="1117"/>
                    <a:pt x="374" y="1117"/>
                    <a:pt x="374" y="1117"/>
                  </a:cubicBezTo>
                  <a:cubicBezTo>
                    <a:pt x="374" y="1124"/>
                    <a:pt x="374" y="1124"/>
                    <a:pt x="374" y="1124"/>
                  </a:cubicBezTo>
                  <a:cubicBezTo>
                    <a:pt x="381" y="1124"/>
                    <a:pt x="381" y="1124"/>
                    <a:pt x="381" y="1124"/>
                  </a:cubicBezTo>
                  <a:cubicBezTo>
                    <a:pt x="381" y="1117"/>
                    <a:pt x="381" y="1117"/>
                    <a:pt x="381" y="1117"/>
                  </a:cubicBezTo>
                  <a:moveTo>
                    <a:pt x="396" y="1117"/>
                  </a:moveTo>
                  <a:cubicBezTo>
                    <a:pt x="389" y="1117"/>
                    <a:pt x="389" y="1117"/>
                    <a:pt x="389" y="1117"/>
                  </a:cubicBezTo>
                  <a:cubicBezTo>
                    <a:pt x="389" y="1124"/>
                    <a:pt x="389" y="1124"/>
                    <a:pt x="389" y="1124"/>
                  </a:cubicBezTo>
                  <a:cubicBezTo>
                    <a:pt x="396" y="1124"/>
                    <a:pt x="396" y="1124"/>
                    <a:pt x="396" y="1124"/>
                  </a:cubicBezTo>
                  <a:cubicBezTo>
                    <a:pt x="396" y="1117"/>
                    <a:pt x="396" y="1117"/>
                    <a:pt x="396" y="1117"/>
                  </a:cubicBezTo>
                  <a:moveTo>
                    <a:pt x="411" y="1117"/>
                  </a:moveTo>
                  <a:cubicBezTo>
                    <a:pt x="404" y="1117"/>
                    <a:pt x="404" y="1117"/>
                    <a:pt x="404" y="1117"/>
                  </a:cubicBezTo>
                  <a:cubicBezTo>
                    <a:pt x="404" y="1124"/>
                    <a:pt x="404" y="1124"/>
                    <a:pt x="404" y="1124"/>
                  </a:cubicBezTo>
                  <a:cubicBezTo>
                    <a:pt x="411" y="1124"/>
                    <a:pt x="411" y="1124"/>
                    <a:pt x="411" y="1124"/>
                  </a:cubicBezTo>
                  <a:cubicBezTo>
                    <a:pt x="411" y="1117"/>
                    <a:pt x="411" y="1117"/>
                    <a:pt x="411" y="1117"/>
                  </a:cubicBezTo>
                  <a:moveTo>
                    <a:pt x="426" y="1117"/>
                  </a:moveTo>
                  <a:cubicBezTo>
                    <a:pt x="419" y="1117"/>
                    <a:pt x="419" y="1117"/>
                    <a:pt x="419" y="1117"/>
                  </a:cubicBezTo>
                  <a:cubicBezTo>
                    <a:pt x="419" y="1124"/>
                    <a:pt x="419" y="1124"/>
                    <a:pt x="419" y="1124"/>
                  </a:cubicBezTo>
                  <a:cubicBezTo>
                    <a:pt x="426" y="1124"/>
                    <a:pt x="426" y="1124"/>
                    <a:pt x="426" y="1124"/>
                  </a:cubicBezTo>
                  <a:cubicBezTo>
                    <a:pt x="426" y="1117"/>
                    <a:pt x="426" y="1117"/>
                    <a:pt x="426" y="1117"/>
                  </a:cubicBezTo>
                  <a:moveTo>
                    <a:pt x="440" y="1117"/>
                  </a:moveTo>
                  <a:cubicBezTo>
                    <a:pt x="433" y="1117"/>
                    <a:pt x="433" y="1117"/>
                    <a:pt x="433" y="1117"/>
                  </a:cubicBezTo>
                  <a:cubicBezTo>
                    <a:pt x="433" y="1124"/>
                    <a:pt x="433" y="1124"/>
                    <a:pt x="433" y="1124"/>
                  </a:cubicBezTo>
                  <a:cubicBezTo>
                    <a:pt x="440" y="1124"/>
                    <a:pt x="440" y="1124"/>
                    <a:pt x="440" y="1124"/>
                  </a:cubicBezTo>
                  <a:cubicBezTo>
                    <a:pt x="440" y="1117"/>
                    <a:pt x="440" y="1117"/>
                    <a:pt x="440" y="1117"/>
                  </a:cubicBezTo>
                  <a:moveTo>
                    <a:pt x="455" y="1117"/>
                  </a:moveTo>
                  <a:cubicBezTo>
                    <a:pt x="448" y="1117"/>
                    <a:pt x="448" y="1117"/>
                    <a:pt x="448" y="1117"/>
                  </a:cubicBezTo>
                  <a:cubicBezTo>
                    <a:pt x="448" y="1124"/>
                    <a:pt x="448" y="1124"/>
                    <a:pt x="448" y="1124"/>
                  </a:cubicBezTo>
                  <a:cubicBezTo>
                    <a:pt x="455" y="1124"/>
                    <a:pt x="455" y="1124"/>
                    <a:pt x="455" y="1124"/>
                  </a:cubicBezTo>
                  <a:cubicBezTo>
                    <a:pt x="455" y="1117"/>
                    <a:pt x="455" y="1117"/>
                    <a:pt x="455" y="1117"/>
                  </a:cubicBezTo>
                  <a:moveTo>
                    <a:pt x="470" y="1117"/>
                  </a:moveTo>
                  <a:cubicBezTo>
                    <a:pt x="463" y="1117"/>
                    <a:pt x="463" y="1117"/>
                    <a:pt x="463" y="1117"/>
                  </a:cubicBezTo>
                  <a:cubicBezTo>
                    <a:pt x="463" y="1124"/>
                    <a:pt x="463" y="1124"/>
                    <a:pt x="463" y="1124"/>
                  </a:cubicBezTo>
                  <a:cubicBezTo>
                    <a:pt x="470" y="1124"/>
                    <a:pt x="470" y="1124"/>
                    <a:pt x="470" y="1124"/>
                  </a:cubicBezTo>
                  <a:cubicBezTo>
                    <a:pt x="470" y="1117"/>
                    <a:pt x="470" y="1117"/>
                    <a:pt x="470" y="1117"/>
                  </a:cubicBezTo>
                  <a:moveTo>
                    <a:pt x="485" y="1117"/>
                  </a:moveTo>
                  <a:cubicBezTo>
                    <a:pt x="478" y="1117"/>
                    <a:pt x="478" y="1117"/>
                    <a:pt x="478" y="1117"/>
                  </a:cubicBezTo>
                  <a:cubicBezTo>
                    <a:pt x="478" y="1124"/>
                    <a:pt x="478" y="1124"/>
                    <a:pt x="478" y="1124"/>
                  </a:cubicBezTo>
                  <a:cubicBezTo>
                    <a:pt x="485" y="1124"/>
                    <a:pt x="485" y="1124"/>
                    <a:pt x="485" y="1124"/>
                  </a:cubicBezTo>
                  <a:cubicBezTo>
                    <a:pt x="485" y="1117"/>
                    <a:pt x="485" y="1117"/>
                    <a:pt x="485" y="1117"/>
                  </a:cubicBezTo>
                  <a:moveTo>
                    <a:pt x="499" y="1117"/>
                  </a:moveTo>
                  <a:cubicBezTo>
                    <a:pt x="492" y="1117"/>
                    <a:pt x="492" y="1117"/>
                    <a:pt x="492" y="1117"/>
                  </a:cubicBezTo>
                  <a:cubicBezTo>
                    <a:pt x="492" y="1124"/>
                    <a:pt x="492" y="1124"/>
                    <a:pt x="492" y="1124"/>
                  </a:cubicBezTo>
                  <a:cubicBezTo>
                    <a:pt x="499" y="1124"/>
                    <a:pt x="499" y="1124"/>
                    <a:pt x="499" y="1124"/>
                  </a:cubicBezTo>
                  <a:cubicBezTo>
                    <a:pt x="499" y="1117"/>
                    <a:pt x="499" y="1117"/>
                    <a:pt x="499" y="1117"/>
                  </a:cubicBezTo>
                  <a:moveTo>
                    <a:pt x="514" y="1117"/>
                  </a:moveTo>
                  <a:cubicBezTo>
                    <a:pt x="507" y="1117"/>
                    <a:pt x="507" y="1117"/>
                    <a:pt x="507" y="1117"/>
                  </a:cubicBezTo>
                  <a:cubicBezTo>
                    <a:pt x="507" y="1124"/>
                    <a:pt x="507" y="1124"/>
                    <a:pt x="507" y="1124"/>
                  </a:cubicBezTo>
                  <a:cubicBezTo>
                    <a:pt x="514" y="1124"/>
                    <a:pt x="514" y="1124"/>
                    <a:pt x="514" y="1124"/>
                  </a:cubicBezTo>
                  <a:cubicBezTo>
                    <a:pt x="514" y="1117"/>
                    <a:pt x="514" y="1117"/>
                    <a:pt x="514" y="1117"/>
                  </a:cubicBezTo>
                  <a:moveTo>
                    <a:pt x="529" y="1117"/>
                  </a:moveTo>
                  <a:cubicBezTo>
                    <a:pt x="522" y="1117"/>
                    <a:pt x="522" y="1117"/>
                    <a:pt x="522" y="1117"/>
                  </a:cubicBezTo>
                  <a:cubicBezTo>
                    <a:pt x="522" y="1124"/>
                    <a:pt x="522" y="1124"/>
                    <a:pt x="522" y="1124"/>
                  </a:cubicBezTo>
                  <a:cubicBezTo>
                    <a:pt x="529" y="1124"/>
                    <a:pt x="529" y="1124"/>
                    <a:pt x="529" y="1124"/>
                  </a:cubicBezTo>
                  <a:cubicBezTo>
                    <a:pt x="529" y="1117"/>
                    <a:pt x="529" y="1117"/>
                    <a:pt x="529" y="1117"/>
                  </a:cubicBezTo>
                  <a:moveTo>
                    <a:pt x="219" y="1102"/>
                  </a:moveTo>
                  <a:cubicBezTo>
                    <a:pt x="212" y="1102"/>
                    <a:pt x="212" y="1102"/>
                    <a:pt x="212" y="1102"/>
                  </a:cubicBezTo>
                  <a:cubicBezTo>
                    <a:pt x="212" y="1109"/>
                    <a:pt x="212" y="1109"/>
                    <a:pt x="212" y="1109"/>
                  </a:cubicBezTo>
                  <a:cubicBezTo>
                    <a:pt x="219" y="1109"/>
                    <a:pt x="219" y="1109"/>
                    <a:pt x="219" y="1109"/>
                  </a:cubicBezTo>
                  <a:cubicBezTo>
                    <a:pt x="219" y="1102"/>
                    <a:pt x="219" y="1102"/>
                    <a:pt x="219" y="1102"/>
                  </a:cubicBezTo>
                  <a:moveTo>
                    <a:pt x="234" y="1102"/>
                  </a:moveTo>
                  <a:cubicBezTo>
                    <a:pt x="227" y="1102"/>
                    <a:pt x="227" y="1102"/>
                    <a:pt x="227" y="1102"/>
                  </a:cubicBezTo>
                  <a:cubicBezTo>
                    <a:pt x="227" y="1109"/>
                    <a:pt x="227" y="1109"/>
                    <a:pt x="227" y="1109"/>
                  </a:cubicBezTo>
                  <a:cubicBezTo>
                    <a:pt x="234" y="1109"/>
                    <a:pt x="234" y="1109"/>
                    <a:pt x="234" y="1109"/>
                  </a:cubicBezTo>
                  <a:cubicBezTo>
                    <a:pt x="234" y="1102"/>
                    <a:pt x="234" y="1102"/>
                    <a:pt x="234" y="1102"/>
                  </a:cubicBezTo>
                  <a:moveTo>
                    <a:pt x="249" y="1102"/>
                  </a:moveTo>
                  <a:cubicBezTo>
                    <a:pt x="242" y="1102"/>
                    <a:pt x="242" y="1102"/>
                    <a:pt x="242" y="1102"/>
                  </a:cubicBezTo>
                  <a:cubicBezTo>
                    <a:pt x="242" y="1109"/>
                    <a:pt x="242" y="1109"/>
                    <a:pt x="242" y="1109"/>
                  </a:cubicBezTo>
                  <a:cubicBezTo>
                    <a:pt x="249" y="1109"/>
                    <a:pt x="249" y="1109"/>
                    <a:pt x="249" y="1109"/>
                  </a:cubicBezTo>
                  <a:cubicBezTo>
                    <a:pt x="249" y="1102"/>
                    <a:pt x="249" y="1102"/>
                    <a:pt x="249" y="1102"/>
                  </a:cubicBezTo>
                  <a:moveTo>
                    <a:pt x="263" y="1102"/>
                  </a:moveTo>
                  <a:cubicBezTo>
                    <a:pt x="256" y="1102"/>
                    <a:pt x="256" y="1102"/>
                    <a:pt x="256" y="1102"/>
                  </a:cubicBezTo>
                  <a:cubicBezTo>
                    <a:pt x="256" y="1109"/>
                    <a:pt x="256" y="1109"/>
                    <a:pt x="256" y="1109"/>
                  </a:cubicBezTo>
                  <a:cubicBezTo>
                    <a:pt x="263" y="1109"/>
                    <a:pt x="263" y="1109"/>
                    <a:pt x="263" y="1109"/>
                  </a:cubicBezTo>
                  <a:cubicBezTo>
                    <a:pt x="263" y="1102"/>
                    <a:pt x="263" y="1102"/>
                    <a:pt x="263" y="1102"/>
                  </a:cubicBezTo>
                  <a:moveTo>
                    <a:pt x="278" y="1102"/>
                  </a:moveTo>
                  <a:cubicBezTo>
                    <a:pt x="271" y="1102"/>
                    <a:pt x="271" y="1102"/>
                    <a:pt x="271" y="1102"/>
                  </a:cubicBezTo>
                  <a:cubicBezTo>
                    <a:pt x="271" y="1109"/>
                    <a:pt x="271" y="1109"/>
                    <a:pt x="271" y="1109"/>
                  </a:cubicBezTo>
                  <a:cubicBezTo>
                    <a:pt x="278" y="1109"/>
                    <a:pt x="278" y="1109"/>
                    <a:pt x="278" y="1109"/>
                  </a:cubicBezTo>
                  <a:cubicBezTo>
                    <a:pt x="278" y="1102"/>
                    <a:pt x="278" y="1102"/>
                    <a:pt x="278" y="1102"/>
                  </a:cubicBezTo>
                  <a:moveTo>
                    <a:pt x="293" y="1102"/>
                  </a:moveTo>
                  <a:cubicBezTo>
                    <a:pt x="286" y="1102"/>
                    <a:pt x="286" y="1102"/>
                    <a:pt x="286" y="1102"/>
                  </a:cubicBezTo>
                  <a:cubicBezTo>
                    <a:pt x="286" y="1109"/>
                    <a:pt x="286" y="1109"/>
                    <a:pt x="286" y="1109"/>
                  </a:cubicBezTo>
                  <a:cubicBezTo>
                    <a:pt x="293" y="1109"/>
                    <a:pt x="293" y="1109"/>
                    <a:pt x="293" y="1109"/>
                  </a:cubicBezTo>
                  <a:cubicBezTo>
                    <a:pt x="293" y="1102"/>
                    <a:pt x="293" y="1102"/>
                    <a:pt x="293" y="1102"/>
                  </a:cubicBezTo>
                  <a:moveTo>
                    <a:pt x="308" y="1102"/>
                  </a:moveTo>
                  <a:cubicBezTo>
                    <a:pt x="301" y="1102"/>
                    <a:pt x="301" y="1102"/>
                    <a:pt x="301" y="1102"/>
                  </a:cubicBezTo>
                  <a:cubicBezTo>
                    <a:pt x="301" y="1109"/>
                    <a:pt x="301" y="1109"/>
                    <a:pt x="301" y="1109"/>
                  </a:cubicBezTo>
                  <a:cubicBezTo>
                    <a:pt x="308" y="1109"/>
                    <a:pt x="308" y="1109"/>
                    <a:pt x="308" y="1109"/>
                  </a:cubicBezTo>
                  <a:cubicBezTo>
                    <a:pt x="308" y="1102"/>
                    <a:pt x="308" y="1102"/>
                    <a:pt x="308" y="1102"/>
                  </a:cubicBezTo>
                  <a:moveTo>
                    <a:pt x="322" y="1102"/>
                  </a:moveTo>
                  <a:cubicBezTo>
                    <a:pt x="315" y="1102"/>
                    <a:pt x="315" y="1102"/>
                    <a:pt x="315" y="1102"/>
                  </a:cubicBezTo>
                  <a:cubicBezTo>
                    <a:pt x="315" y="1109"/>
                    <a:pt x="315" y="1109"/>
                    <a:pt x="315" y="1109"/>
                  </a:cubicBezTo>
                  <a:cubicBezTo>
                    <a:pt x="322" y="1109"/>
                    <a:pt x="322" y="1109"/>
                    <a:pt x="322" y="1109"/>
                  </a:cubicBezTo>
                  <a:cubicBezTo>
                    <a:pt x="322" y="1102"/>
                    <a:pt x="322" y="1102"/>
                    <a:pt x="322" y="1102"/>
                  </a:cubicBezTo>
                  <a:moveTo>
                    <a:pt x="337" y="1102"/>
                  </a:moveTo>
                  <a:cubicBezTo>
                    <a:pt x="330" y="1102"/>
                    <a:pt x="330" y="1102"/>
                    <a:pt x="330" y="1102"/>
                  </a:cubicBezTo>
                  <a:cubicBezTo>
                    <a:pt x="330" y="1109"/>
                    <a:pt x="330" y="1109"/>
                    <a:pt x="330" y="1109"/>
                  </a:cubicBezTo>
                  <a:cubicBezTo>
                    <a:pt x="337" y="1109"/>
                    <a:pt x="337" y="1109"/>
                    <a:pt x="337" y="1109"/>
                  </a:cubicBezTo>
                  <a:cubicBezTo>
                    <a:pt x="337" y="1102"/>
                    <a:pt x="337" y="1102"/>
                    <a:pt x="337" y="1102"/>
                  </a:cubicBezTo>
                  <a:moveTo>
                    <a:pt x="352" y="1102"/>
                  </a:moveTo>
                  <a:cubicBezTo>
                    <a:pt x="345" y="1102"/>
                    <a:pt x="345" y="1102"/>
                    <a:pt x="345" y="1102"/>
                  </a:cubicBezTo>
                  <a:cubicBezTo>
                    <a:pt x="345" y="1109"/>
                    <a:pt x="345" y="1109"/>
                    <a:pt x="345" y="1109"/>
                  </a:cubicBezTo>
                  <a:cubicBezTo>
                    <a:pt x="352" y="1109"/>
                    <a:pt x="352" y="1109"/>
                    <a:pt x="352" y="1109"/>
                  </a:cubicBezTo>
                  <a:cubicBezTo>
                    <a:pt x="352" y="1102"/>
                    <a:pt x="352" y="1102"/>
                    <a:pt x="352" y="1102"/>
                  </a:cubicBezTo>
                  <a:moveTo>
                    <a:pt x="367" y="1102"/>
                  </a:moveTo>
                  <a:cubicBezTo>
                    <a:pt x="360" y="1102"/>
                    <a:pt x="360" y="1102"/>
                    <a:pt x="360" y="1102"/>
                  </a:cubicBezTo>
                  <a:cubicBezTo>
                    <a:pt x="360" y="1109"/>
                    <a:pt x="360" y="1109"/>
                    <a:pt x="360" y="1109"/>
                  </a:cubicBezTo>
                  <a:cubicBezTo>
                    <a:pt x="367" y="1109"/>
                    <a:pt x="367" y="1109"/>
                    <a:pt x="367" y="1109"/>
                  </a:cubicBezTo>
                  <a:cubicBezTo>
                    <a:pt x="367" y="1102"/>
                    <a:pt x="367" y="1102"/>
                    <a:pt x="367" y="1102"/>
                  </a:cubicBezTo>
                  <a:moveTo>
                    <a:pt x="381" y="1102"/>
                  </a:moveTo>
                  <a:cubicBezTo>
                    <a:pt x="374" y="1102"/>
                    <a:pt x="374" y="1102"/>
                    <a:pt x="374" y="1102"/>
                  </a:cubicBezTo>
                  <a:cubicBezTo>
                    <a:pt x="374" y="1109"/>
                    <a:pt x="374" y="1109"/>
                    <a:pt x="374" y="1109"/>
                  </a:cubicBezTo>
                  <a:cubicBezTo>
                    <a:pt x="381" y="1109"/>
                    <a:pt x="381" y="1109"/>
                    <a:pt x="381" y="1109"/>
                  </a:cubicBezTo>
                  <a:cubicBezTo>
                    <a:pt x="381" y="1102"/>
                    <a:pt x="381" y="1102"/>
                    <a:pt x="381" y="1102"/>
                  </a:cubicBezTo>
                  <a:moveTo>
                    <a:pt x="396" y="1102"/>
                  </a:moveTo>
                  <a:cubicBezTo>
                    <a:pt x="389" y="1102"/>
                    <a:pt x="389" y="1102"/>
                    <a:pt x="389" y="1102"/>
                  </a:cubicBezTo>
                  <a:cubicBezTo>
                    <a:pt x="389" y="1109"/>
                    <a:pt x="389" y="1109"/>
                    <a:pt x="389" y="1109"/>
                  </a:cubicBezTo>
                  <a:cubicBezTo>
                    <a:pt x="396" y="1109"/>
                    <a:pt x="396" y="1109"/>
                    <a:pt x="396" y="1109"/>
                  </a:cubicBezTo>
                  <a:cubicBezTo>
                    <a:pt x="396" y="1102"/>
                    <a:pt x="396" y="1102"/>
                    <a:pt x="396" y="1102"/>
                  </a:cubicBezTo>
                  <a:moveTo>
                    <a:pt x="411" y="1102"/>
                  </a:moveTo>
                  <a:cubicBezTo>
                    <a:pt x="404" y="1102"/>
                    <a:pt x="404" y="1102"/>
                    <a:pt x="404" y="1102"/>
                  </a:cubicBezTo>
                  <a:cubicBezTo>
                    <a:pt x="404" y="1109"/>
                    <a:pt x="404" y="1109"/>
                    <a:pt x="404" y="1109"/>
                  </a:cubicBezTo>
                  <a:cubicBezTo>
                    <a:pt x="411" y="1109"/>
                    <a:pt x="411" y="1109"/>
                    <a:pt x="411" y="1109"/>
                  </a:cubicBezTo>
                  <a:cubicBezTo>
                    <a:pt x="411" y="1102"/>
                    <a:pt x="411" y="1102"/>
                    <a:pt x="411" y="1102"/>
                  </a:cubicBezTo>
                  <a:moveTo>
                    <a:pt x="426" y="1102"/>
                  </a:moveTo>
                  <a:cubicBezTo>
                    <a:pt x="419" y="1102"/>
                    <a:pt x="419" y="1102"/>
                    <a:pt x="419" y="1102"/>
                  </a:cubicBezTo>
                  <a:cubicBezTo>
                    <a:pt x="419" y="1109"/>
                    <a:pt x="419" y="1109"/>
                    <a:pt x="419" y="1109"/>
                  </a:cubicBezTo>
                  <a:cubicBezTo>
                    <a:pt x="426" y="1109"/>
                    <a:pt x="426" y="1109"/>
                    <a:pt x="426" y="1109"/>
                  </a:cubicBezTo>
                  <a:cubicBezTo>
                    <a:pt x="426" y="1102"/>
                    <a:pt x="426" y="1102"/>
                    <a:pt x="426" y="1102"/>
                  </a:cubicBezTo>
                  <a:moveTo>
                    <a:pt x="440" y="1102"/>
                  </a:moveTo>
                  <a:cubicBezTo>
                    <a:pt x="433" y="1102"/>
                    <a:pt x="433" y="1102"/>
                    <a:pt x="433" y="1102"/>
                  </a:cubicBezTo>
                  <a:cubicBezTo>
                    <a:pt x="433" y="1109"/>
                    <a:pt x="433" y="1109"/>
                    <a:pt x="433" y="1109"/>
                  </a:cubicBezTo>
                  <a:cubicBezTo>
                    <a:pt x="440" y="1109"/>
                    <a:pt x="440" y="1109"/>
                    <a:pt x="440" y="1109"/>
                  </a:cubicBezTo>
                  <a:cubicBezTo>
                    <a:pt x="440" y="1102"/>
                    <a:pt x="440" y="1102"/>
                    <a:pt x="440" y="1102"/>
                  </a:cubicBezTo>
                  <a:moveTo>
                    <a:pt x="455" y="1102"/>
                  </a:moveTo>
                  <a:cubicBezTo>
                    <a:pt x="448" y="1102"/>
                    <a:pt x="448" y="1102"/>
                    <a:pt x="448" y="1102"/>
                  </a:cubicBezTo>
                  <a:cubicBezTo>
                    <a:pt x="448" y="1109"/>
                    <a:pt x="448" y="1109"/>
                    <a:pt x="448" y="1109"/>
                  </a:cubicBezTo>
                  <a:cubicBezTo>
                    <a:pt x="455" y="1109"/>
                    <a:pt x="455" y="1109"/>
                    <a:pt x="455" y="1109"/>
                  </a:cubicBezTo>
                  <a:cubicBezTo>
                    <a:pt x="455" y="1102"/>
                    <a:pt x="455" y="1102"/>
                    <a:pt x="455" y="1102"/>
                  </a:cubicBezTo>
                  <a:moveTo>
                    <a:pt x="470" y="1102"/>
                  </a:moveTo>
                  <a:cubicBezTo>
                    <a:pt x="463" y="1102"/>
                    <a:pt x="463" y="1102"/>
                    <a:pt x="463" y="1102"/>
                  </a:cubicBezTo>
                  <a:cubicBezTo>
                    <a:pt x="463" y="1109"/>
                    <a:pt x="463" y="1109"/>
                    <a:pt x="463" y="1109"/>
                  </a:cubicBezTo>
                  <a:cubicBezTo>
                    <a:pt x="470" y="1109"/>
                    <a:pt x="470" y="1109"/>
                    <a:pt x="470" y="1109"/>
                  </a:cubicBezTo>
                  <a:cubicBezTo>
                    <a:pt x="470" y="1102"/>
                    <a:pt x="470" y="1102"/>
                    <a:pt x="470" y="1102"/>
                  </a:cubicBezTo>
                  <a:moveTo>
                    <a:pt x="485" y="1102"/>
                  </a:moveTo>
                  <a:cubicBezTo>
                    <a:pt x="478" y="1102"/>
                    <a:pt x="478" y="1102"/>
                    <a:pt x="478" y="1102"/>
                  </a:cubicBezTo>
                  <a:cubicBezTo>
                    <a:pt x="478" y="1109"/>
                    <a:pt x="478" y="1109"/>
                    <a:pt x="478" y="1109"/>
                  </a:cubicBezTo>
                  <a:cubicBezTo>
                    <a:pt x="485" y="1109"/>
                    <a:pt x="485" y="1109"/>
                    <a:pt x="485" y="1109"/>
                  </a:cubicBezTo>
                  <a:cubicBezTo>
                    <a:pt x="485" y="1102"/>
                    <a:pt x="485" y="1102"/>
                    <a:pt x="485" y="1102"/>
                  </a:cubicBezTo>
                  <a:moveTo>
                    <a:pt x="499" y="1102"/>
                  </a:moveTo>
                  <a:cubicBezTo>
                    <a:pt x="492" y="1102"/>
                    <a:pt x="492" y="1102"/>
                    <a:pt x="492" y="1102"/>
                  </a:cubicBezTo>
                  <a:cubicBezTo>
                    <a:pt x="492" y="1109"/>
                    <a:pt x="492" y="1109"/>
                    <a:pt x="492" y="1109"/>
                  </a:cubicBezTo>
                  <a:cubicBezTo>
                    <a:pt x="499" y="1109"/>
                    <a:pt x="499" y="1109"/>
                    <a:pt x="499" y="1109"/>
                  </a:cubicBezTo>
                  <a:cubicBezTo>
                    <a:pt x="499" y="1102"/>
                    <a:pt x="499" y="1102"/>
                    <a:pt x="499" y="1102"/>
                  </a:cubicBezTo>
                  <a:moveTo>
                    <a:pt x="514" y="1102"/>
                  </a:moveTo>
                  <a:cubicBezTo>
                    <a:pt x="507" y="1102"/>
                    <a:pt x="507" y="1102"/>
                    <a:pt x="507" y="1102"/>
                  </a:cubicBezTo>
                  <a:cubicBezTo>
                    <a:pt x="507" y="1109"/>
                    <a:pt x="507" y="1109"/>
                    <a:pt x="507" y="1109"/>
                  </a:cubicBezTo>
                  <a:cubicBezTo>
                    <a:pt x="514" y="1109"/>
                    <a:pt x="514" y="1109"/>
                    <a:pt x="514" y="1109"/>
                  </a:cubicBezTo>
                  <a:cubicBezTo>
                    <a:pt x="514" y="1102"/>
                    <a:pt x="514" y="1102"/>
                    <a:pt x="514" y="1102"/>
                  </a:cubicBezTo>
                  <a:moveTo>
                    <a:pt x="529" y="1102"/>
                  </a:moveTo>
                  <a:cubicBezTo>
                    <a:pt x="522" y="1102"/>
                    <a:pt x="522" y="1102"/>
                    <a:pt x="522" y="1102"/>
                  </a:cubicBezTo>
                  <a:cubicBezTo>
                    <a:pt x="522" y="1109"/>
                    <a:pt x="522" y="1109"/>
                    <a:pt x="522" y="1109"/>
                  </a:cubicBezTo>
                  <a:cubicBezTo>
                    <a:pt x="529" y="1109"/>
                    <a:pt x="529" y="1109"/>
                    <a:pt x="529" y="1109"/>
                  </a:cubicBezTo>
                  <a:cubicBezTo>
                    <a:pt x="529" y="1102"/>
                    <a:pt x="529" y="1102"/>
                    <a:pt x="529" y="1102"/>
                  </a:cubicBezTo>
                  <a:moveTo>
                    <a:pt x="234" y="1087"/>
                  </a:moveTo>
                  <a:cubicBezTo>
                    <a:pt x="227" y="1087"/>
                    <a:pt x="227" y="1087"/>
                    <a:pt x="227" y="1087"/>
                  </a:cubicBezTo>
                  <a:cubicBezTo>
                    <a:pt x="227" y="1094"/>
                    <a:pt x="227" y="1094"/>
                    <a:pt x="227" y="1094"/>
                  </a:cubicBezTo>
                  <a:cubicBezTo>
                    <a:pt x="234" y="1094"/>
                    <a:pt x="234" y="1094"/>
                    <a:pt x="234" y="1094"/>
                  </a:cubicBezTo>
                  <a:cubicBezTo>
                    <a:pt x="234" y="1087"/>
                    <a:pt x="234" y="1087"/>
                    <a:pt x="234" y="1087"/>
                  </a:cubicBezTo>
                  <a:moveTo>
                    <a:pt x="249" y="1087"/>
                  </a:moveTo>
                  <a:cubicBezTo>
                    <a:pt x="242" y="1087"/>
                    <a:pt x="242" y="1087"/>
                    <a:pt x="242" y="1087"/>
                  </a:cubicBezTo>
                  <a:cubicBezTo>
                    <a:pt x="242" y="1094"/>
                    <a:pt x="242" y="1094"/>
                    <a:pt x="242" y="1094"/>
                  </a:cubicBezTo>
                  <a:cubicBezTo>
                    <a:pt x="249" y="1094"/>
                    <a:pt x="249" y="1094"/>
                    <a:pt x="249" y="1094"/>
                  </a:cubicBezTo>
                  <a:cubicBezTo>
                    <a:pt x="249" y="1087"/>
                    <a:pt x="249" y="1087"/>
                    <a:pt x="249" y="1087"/>
                  </a:cubicBezTo>
                  <a:moveTo>
                    <a:pt x="263" y="1087"/>
                  </a:moveTo>
                  <a:cubicBezTo>
                    <a:pt x="256" y="1087"/>
                    <a:pt x="256" y="1087"/>
                    <a:pt x="256" y="1087"/>
                  </a:cubicBezTo>
                  <a:cubicBezTo>
                    <a:pt x="256" y="1094"/>
                    <a:pt x="256" y="1094"/>
                    <a:pt x="256" y="1094"/>
                  </a:cubicBezTo>
                  <a:cubicBezTo>
                    <a:pt x="263" y="1094"/>
                    <a:pt x="263" y="1094"/>
                    <a:pt x="263" y="1094"/>
                  </a:cubicBezTo>
                  <a:cubicBezTo>
                    <a:pt x="263" y="1087"/>
                    <a:pt x="263" y="1087"/>
                    <a:pt x="263" y="1087"/>
                  </a:cubicBezTo>
                  <a:moveTo>
                    <a:pt x="278" y="1087"/>
                  </a:moveTo>
                  <a:cubicBezTo>
                    <a:pt x="271" y="1087"/>
                    <a:pt x="271" y="1087"/>
                    <a:pt x="271" y="1087"/>
                  </a:cubicBezTo>
                  <a:cubicBezTo>
                    <a:pt x="271" y="1094"/>
                    <a:pt x="271" y="1094"/>
                    <a:pt x="271" y="1094"/>
                  </a:cubicBezTo>
                  <a:cubicBezTo>
                    <a:pt x="278" y="1094"/>
                    <a:pt x="278" y="1094"/>
                    <a:pt x="278" y="1094"/>
                  </a:cubicBezTo>
                  <a:cubicBezTo>
                    <a:pt x="278" y="1087"/>
                    <a:pt x="278" y="1087"/>
                    <a:pt x="278" y="1087"/>
                  </a:cubicBezTo>
                  <a:moveTo>
                    <a:pt x="293" y="1087"/>
                  </a:moveTo>
                  <a:cubicBezTo>
                    <a:pt x="286" y="1087"/>
                    <a:pt x="286" y="1087"/>
                    <a:pt x="286" y="1087"/>
                  </a:cubicBezTo>
                  <a:cubicBezTo>
                    <a:pt x="286" y="1094"/>
                    <a:pt x="286" y="1094"/>
                    <a:pt x="286" y="1094"/>
                  </a:cubicBezTo>
                  <a:cubicBezTo>
                    <a:pt x="293" y="1094"/>
                    <a:pt x="293" y="1094"/>
                    <a:pt x="293" y="1094"/>
                  </a:cubicBezTo>
                  <a:cubicBezTo>
                    <a:pt x="293" y="1087"/>
                    <a:pt x="293" y="1087"/>
                    <a:pt x="293" y="1087"/>
                  </a:cubicBezTo>
                  <a:moveTo>
                    <a:pt x="308" y="1087"/>
                  </a:moveTo>
                  <a:cubicBezTo>
                    <a:pt x="301" y="1087"/>
                    <a:pt x="301" y="1087"/>
                    <a:pt x="301" y="1087"/>
                  </a:cubicBezTo>
                  <a:cubicBezTo>
                    <a:pt x="301" y="1094"/>
                    <a:pt x="301" y="1094"/>
                    <a:pt x="301" y="1094"/>
                  </a:cubicBezTo>
                  <a:cubicBezTo>
                    <a:pt x="308" y="1094"/>
                    <a:pt x="308" y="1094"/>
                    <a:pt x="308" y="1094"/>
                  </a:cubicBezTo>
                  <a:cubicBezTo>
                    <a:pt x="308" y="1087"/>
                    <a:pt x="308" y="1087"/>
                    <a:pt x="308" y="1087"/>
                  </a:cubicBezTo>
                  <a:moveTo>
                    <a:pt x="322" y="1087"/>
                  </a:moveTo>
                  <a:cubicBezTo>
                    <a:pt x="315" y="1087"/>
                    <a:pt x="315" y="1087"/>
                    <a:pt x="315" y="1087"/>
                  </a:cubicBezTo>
                  <a:cubicBezTo>
                    <a:pt x="315" y="1094"/>
                    <a:pt x="315" y="1094"/>
                    <a:pt x="315" y="1094"/>
                  </a:cubicBezTo>
                  <a:cubicBezTo>
                    <a:pt x="322" y="1094"/>
                    <a:pt x="322" y="1094"/>
                    <a:pt x="322" y="1094"/>
                  </a:cubicBezTo>
                  <a:cubicBezTo>
                    <a:pt x="322" y="1087"/>
                    <a:pt x="322" y="1087"/>
                    <a:pt x="322" y="1087"/>
                  </a:cubicBezTo>
                  <a:moveTo>
                    <a:pt x="337" y="1087"/>
                  </a:moveTo>
                  <a:cubicBezTo>
                    <a:pt x="330" y="1087"/>
                    <a:pt x="330" y="1087"/>
                    <a:pt x="330" y="1087"/>
                  </a:cubicBezTo>
                  <a:cubicBezTo>
                    <a:pt x="330" y="1094"/>
                    <a:pt x="330" y="1094"/>
                    <a:pt x="330" y="1094"/>
                  </a:cubicBezTo>
                  <a:cubicBezTo>
                    <a:pt x="337" y="1094"/>
                    <a:pt x="337" y="1094"/>
                    <a:pt x="337" y="1094"/>
                  </a:cubicBezTo>
                  <a:cubicBezTo>
                    <a:pt x="337" y="1087"/>
                    <a:pt x="337" y="1087"/>
                    <a:pt x="337" y="1087"/>
                  </a:cubicBezTo>
                  <a:moveTo>
                    <a:pt x="352" y="1087"/>
                  </a:moveTo>
                  <a:cubicBezTo>
                    <a:pt x="345" y="1087"/>
                    <a:pt x="345" y="1087"/>
                    <a:pt x="345" y="1087"/>
                  </a:cubicBezTo>
                  <a:cubicBezTo>
                    <a:pt x="345" y="1094"/>
                    <a:pt x="345" y="1094"/>
                    <a:pt x="345" y="1094"/>
                  </a:cubicBezTo>
                  <a:cubicBezTo>
                    <a:pt x="352" y="1094"/>
                    <a:pt x="352" y="1094"/>
                    <a:pt x="352" y="1094"/>
                  </a:cubicBezTo>
                  <a:cubicBezTo>
                    <a:pt x="352" y="1087"/>
                    <a:pt x="352" y="1087"/>
                    <a:pt x="352" y="1087"/>
                  </a:cubicBezTo>
                  <a:moveTo>
                    <a:pt x="367" y="1087"/>
                  </a:moveTo>
                  <a:cubicBezTo>
                    <a:pt x="360" y="1087"/>
                    <a:pt x="360" y="1087"/>
                    <a:pt x="360" y="1087"/>
                  </a:cubicBezTo>
                  <a:cubicBezTo>
                    <a:pt x="360" y="1094"/>
                    <a:pt x="360" y="1094"/>
                    <a:pt x="360" y="1094"/>
                  </a:cubicBezTo>
                  <a:cubicBezTo>
                    <a:pt x="367" y="1094"/>
                    <a:pt x="367" y="1094"/>
                    <a:pt x="367" y="1094"/>
                  </a:cubicBezTo>
                  <a:cubicBezTo>
                    <a:pt x="367" y="1087"/>
                    <a:pt x="367" y="1087"/>
                    <a:pt x="367" y="1087"/>
                  </a:cubicBezTo>
                  <a:moveTo>
                    <a:pt x="381" y="1087"/>
                  </a:moveTo>
                  <a:cubicBezTo>
                    <a:pt x="374" y="1087"/>
                    <a:pt x="374" y="1087"/>
                    <a:pt x="374" y="1087"/>
                  </a:cubicBezTo>
                  <a:cubicBezTo>
                    <a:pt x="374" y="1094"/>
                    <a:pt x="374" y="1094"/>
                    <a:pt x="374" y="1094"/>
                  </a:cubicBezTo>
                  <a:cubicBezTo>
                    <a:pt x="381" y="1094"/>
                    <a:pt x="381" y="1094"/>
                    <a:pt x="381" y="1094"/>
                  </a:cubicBezTo>
                  <a:cubicBezTo>
                    <a:pt x="381" y="1087"/>
                    <a:pt x="381" y="1087"/>
                    <a:pt x="381" y="1087"/>
                  </a:cubicBezTo>
                  <a:moveTo>
                    <a:pt x="396" y="1087"/>
                  </a:moveTo>
                  <a:cubicBezTo>
                    <a:pt x="389" y="1087"/>
                    <a:pt x="389" y="1087"/>
                    <a:pt x="389" y="1087"/>
                  </a:cubicBezTo>
                  <a:cubicBezTo>
                    <a:pt x="389" y="1094"/>
                    <a:pt x="389" y="1094"/>
                    <a:pt x="389" y="1094"/>
                  </a:cubicBezTo>
                  <a:cubicBezTo>
                    <a:pt x="396" y="1094"/>
                    <a:pt x="396" y="1094"/>
                    <a:pt x="396" y="1094"/>
                  </a:cubicBezTo>
                  <a:cubicBezTo>
                    <a:pt x="396" y="1087"/>
                    <a:pt x="396" y="1087"/>
                    <a:pt x="396" y="1087"/>
                  </a:cubicBezTo>
                  <a:moveTo>
                    <a:pt x="411" y="1087"/>
                  </a:moveTo>
                  <a:cubicBezTo>
                    <a:pt x="404" y="1087"/>
                    <a:pt x="404" y="1087"/>
                    <a:pt x="404" y="1087"/>
                  </a:cubicBezTo>
                  <a:cubicBezTo>
                    <a:pt x="404" y="1094"/>
                    <a:pt x="404" y="1094"/>
                    <a:pt x="404" y="1094"/>
                  </a:cubicBezTo>
                  <a:cubicBezTo>
                    <a:pt x="411" y="1094"/>
                    <a:pt x="411" y="1094"/>
                    <a:pt x="411" y="1094"/>
                  </a:cubicBezTo>
                  <a:cubicBezTo>
                    <a:pt x="411" y="1087"/>
                    <a:pt x="411" y="1087"/>
                    <a:pt x="411" y="1087"/>
                  </a:cubicBezTo>
                  <a:moveTo>
                    <a:pt x="426" y="1087"/>
                  </a:moveTo>
                  <a:cubicBezTo>
                    <a:pt x="419" y="1087"/>
                    <a:pt x="419" y="1087"/>
                    <a:pt x="419" y="1087"/>
                  </a:cubicBezTo>
                  <a:cubicBezTo>
                    <a:pt x="419" y="1094"/>
                    <a:pt x="419" y="1094"/>
                    <a:pt x="419" y="1094"/>
                  </a:cubicBezTo>
                  <a:cubicBezTo>
                    <a:pt x="426" y="1094"/>
                    <a:pt x="426" y="1094"/>
                    <a:pt x="426" y="1094"/>
                  </a:cubicBezTo>
                  <a:cubicBezTo>
                    <a:pt x="426" y="1087"/>
                    <a:pt x="426" y="1087"/>
                    <a:pt x="426" y="1087"/>
                  </a:cubicBezTo>
                  <a:moveTo>
                    <a:pt x="440" y="1087"/>
                  </a:moveTo>
                  <a:cubicBezTo>
                    <a:pt x="433" y="1087"/>
                    <a:pt x="433" y="1087"/>
                    <a:pt x="433" y="1087"/>
                  </a:cubicBezTo>
                  <a:cubicBezTo>
                    <a:pt x="433" y="1094"/>
                    <a:pt x="433" y="1094"/>
                    <a:pt x="433" y="1094"/>
                  </a:cubicBezTo>
                  <a:cubicBezTo>
                    <a:pt x="440" y="1094"/>
                    <a:pt x="440" y="1094"/>
                    <a:pt x="440" y="1094"/>
                  </a:cubicBezTo>
                  <a:cubicBezTo>
                    <a:pt x="440" y="1087"/>
                    <a:pt x="440" y="1087"/>
                    <a:pt x="440" y="1087"/>
                  </a:cubicBezTo>
                  <a:moveTo>
                    <a:pt x="455" y="1087"/>
                  </a:moveTo>
                  <a:cubicBezTo>
                    <a:pt x="448" y="1087"/>
                    <a:pt x="448" y="1087"/>
                    <a:pt x="448" y="1087"/>
                  </a:cubicBezTo>
                  <a:cubicBezTo>
                    <a:pt x="448" y="1094"/>
                    <a:pt x="448" y="1094"/>
                    <a:pt x="448" y="1094"/>
                  </a:cubicBezTo>
                  <a:cubicBezTo>
                    <a:pt x="455" y="1094"/>
                    <a:pt x="455" y="1094"/>
                    <a:pt x="455" y="1094"/>
                  </a:cubicBezTo>
                  <a:cubicBezTo>
                    <a:pt x="455" y="1087"/>
                    <a:pt x="455" y="1087"/>
                    <a:pt x="455" y="1087"/>
                  </a:cubicBezTo>
                  <a:moveTo>
                    <a:pt x="470" y="1087"/>
                  </a:moveTo>
                  <a:cubicBezTo>
                    <a:pt x="463" y="1087"/>
                    <a:pt x="463" y="1087"/>
                    <a:pt x="463" y="1087"/>
                  </a:cubicBezTo>
                  <a:cubicBezTo>
                    <a:pt x="463" y="1094"/>
                    <a:pt x="463" y="1094"/>
                    <a:pt x="463" y="1094"/>
                  </a:cubicBezTo>
                  <a:cubicBezTo>
                    <a:pt x="470" y="1094"/>
                    <a:pt x="470" y="1094"/>
                    <a:pt x="470" y="1094"/>
                  </a:cubicBezTo>
                  <a:cubicBezTo>
                    <a:pt x="470" y="1087"/>
                    <a:pt x="470" y="1087"/>
                    <a:pt x="470" y="1087"/>
                  </a:cubicBezTo>
                  <a:moveTo>
                    <a:pt x="485" y="1087"/>
                  </a:moveTo>
                  <a:cubicBezTo>
                    <a:pt x="478" y="1087"/>
                    <a:pt x="478" y="1087"/>
                    <a:pt x="478" y="1087"/>
                  </a:cubicBezTo>
                  <a:cubicBezTo>
                    <a:pt x="478" y="1094"/>
                    <a:pt x="478" y="1094"/>
                    <a:pt x="478" y="1094"/>
                  </a:cubicBezTo>
                  <a:cubicBezTo>
                    <a:pt x="485" y="1094"/>
                    <a:pt x="485" y="1094"/>
                    <a:pt x="485" y="1094"/>
                  </a:cubicBezTo>
                  <a:cubicBezTo>
                    <a:pt x="485" y="1087"/>
                    <a:pt x="485" y="1087"/>
                    <a:pt x="485" y="1087"/>
                  </a:cubicBezTo>
                  <a:moveTo>
                    <a:pt x="499" y="1087"/>
                  </a:moveTo>
                  <a:cubicBezTo>
                    <a:pt x="492" y="1087"/>
                    <a:pt x="492" y="1087"/>
                    <a:pt x="492" y="1087"/>
                  </a:cubicBezTo>
                  <a:cubicBezTo>
                    <a:pt x="492" y="1094"/>
                    <a:pt x="492" y="1094"/>
                    <a:pt x="492" y="1094"/>
                  </a:cubicBezTo>
                  <a:cubicBezTo>
                    <a:pt x="499" y="1094"/>
                    <a:pt x="499" y="1094"/>
                    <a:pt x="499" y="1094"/>
                  </a:cubicBezTo>
                  <a:cubicBezTo>
                    <a:pt x="499" y="1087"/>
                    <a:pt x="499" y="1087"/>
                    <a:pt x="499" y="1087"/>
                  </a:cubicBezTo>
                  <a:moveTo>
                    <a:pt x="514" y="1087"/>
                  </a:moveTo>
                  <a:cubicBezTo>
                    <a:pt x="507" y="1087"/>
                    <a:pt x="507" y="1087"/>
                    <a:pt x="507" y="1087"/>
                  </a:cubicBezTo>
                  <a:cubicBezTo>
                    <a:pt x="507" y="1094"/>
                    <a:pt x="507" y="1094"/>
                    <a:pt x="507" y="1094"/>
                  </a:cubicBezTo>
                  <a:cubicBezTo>
                    <a:pt x="514" y="1094"/>
                    <a:pt x="514" y="1094"/>
                    <a:pt x="514" y="1094"/>
                  </a:cubicBezTo>
                  <a:cubicBezTo>
                    <a:pt x="514" y="1087"/>
                    <a:pt x="514" y="1087"/>
                    <a:pt x="514" y="1087"/>
                  </a:cubicBezTo>
                  <a:moveTo>
                    <a:pt x="249" y="1072"/>
                  </a:moveTo>
                  <a:cubicBezTo>
                    <a:pt x="242" y="1072"/>
                    <a:pt x="242" y="1072"/>
                    <a:pt x="242" y="1072"/>
                  </a:cubicBezTo>
                  <a:cubicBezTo>
                    <a:pt x="242" y="1079"/>
                    <a:pt x="242" y="1079"/>
                    <a:pt x="242" y="1079"/>
                  </a:cubicBezTo>
                  <a:cubicBezTo>
                    <a:pt x="249" y="1079"/>
                    <a:pt x="249" y="1079"/>
                    <a:pt x="249" y="1079"/>
                  </a:cubicBezTo>
                  <a:cubicBezTo>
                    <a:pt x="249" y="1072"/>
                    <a:pt x="249" y="1072"/>
                    <a:pt x="249" y="1072"/>
                  </a:cubicBezTo>
                  <a:moveTo>
                    <a:pt x="263" y="1072"/>
                  </a:moveTo>
                  <a:cubicBezTo>
                    <a:pt x="256" y="1072"/>
                    <a:pt x="256" y="1072"/>
                    <a:pt x="256" y="1072"/>
                  </a:cubicBezTo>
                  <a:cubicBezTo>
                    <a:pt x="256" y="1079"/>
                    <a:pt x="256" y="1079"/>
                    <a:pt x="256" y="1079"/>
                  </a:cubicBezTo>
                  <a:cubicBezTo>
                    <a:pt x="263" y="1079"/>
                    <a:pt x="263" y="1079"/>
                    <a:pt x="263" y="1079"/>
                  </a:cubicBezTo>
                  <a:cubicBezTo>
                    <a:pt x="263" y="1072"/>
                    <a:pt x="263" y="1072"/>
                    <a:pt x="263" y="1072"/>
                  </a:cubicBezTo>
                  <a:moveTo>
                    <a:pt x="278" y="1072"/>
                  </a:moveTo>
                  <a:cubicBezTo>
                    <a:pt x="271" y="1072"/>
                    <a:pt x="271" y="1072"/>
                    <a:pt x="271" y="1072"/>
                  </a:cubicBezTo>
                  <a:cubicBezTo>
                    <a:pt x="271" y="1079"/>
                    <a:pt x="271" y="1079"/>
                    <a:pt x="271" y="1079"/>
                  </a:cubicBezTo>
                  <a:cubicBezTo>
                    <a:pt x="278" y="1079"/>
                    <a:pt x="278" y="1079"/>
                    <a:pt x="278" y="1079"/>
                  </a:cubicBezTo>
                  <a:cubicBezTo>
                    <a:pt x="278" y="1072"/>
                    <a:pt x="278" y="1072"/>
                    <a:pt x="278" y="1072"/>
                  </a:cubicBezTo>
                  <a:moveTo>
                    <a:pt x="293" y="1072"/>
                  </a:moveTo>
                  <a:cubicBezTo>
                    <a:pt x="286" y="1072"/>
                    <a:pt x="286" y="1072"/>
                    <a:pt x="286" y="1072"/>
                  </a:cubicBezTo>
                  <a:cubicBezTo>
                    <a:pt x="286" y="1079"/>
                    <a:pt x="286" y="1079"/>
                    <a:pt x="286" y="1079"/>
                  </a:cubicBezTo>
                  <a:cubicBezTo>
                    <a:pt x="293" y="1079"/>
                    <a:pt x="293" y="1079"/>
                    <a:pt x="293" y="1079"/>
                  </a:cubicBezTo>
                  <a:cubicBezTo>
                    <a:pt x="293" y="1072"/>
                    <a:pt x="293" y="1072"/>
                    <a:pt x="293" y="1072"/>
                  </a:cubicBezTo>
                  <a:moveTo>
                    <a:pt x="308" y="1072"/>
                  </a:moveTo>
                  <a:cubicBezTo>
                    <a:pt x="301" y="1072"/>
                    <a:pt x="301" y="1072"/>
                    <a:pt x="301" y="1072"/>
                  </a:cubicBezTo>
                  <a:cubicBezTo>
                    <a:pt x="301" y="1079"/>
                    <a:pt x="301" y="1079"/>
                    <a:pt x="301" y="1079"/>
                  </a:cubicBezTo>
                  <a:cubicBezTo>
                    <a:pt x="308" y="1079"/>
                    <a:pt x="308" y="1079"/>
                    <a:pt x="308" y="1079"/>
                  </a:cubicBezTo>
                  <a:cubicBezTo>
                    <a:pt x="308" y="1072"/>
                    <a:pt x="308" y="1072"/>
                    <a:pt x="308" y="1072"/>
                  </a:cubicBezTo>
                  <a:moveTo>
                    <a:pt x="322" y="1072"/>
                  </a:moveTo>
                  <a:cubicBezTo>
                    <a:pt x="315" y="1072"/>
                    <a:pt x="315" y="1072"/>
                    <a:pt x="315" y="1072"/>
                  </a:cubicBezTo>
                  <a:cubicBezTo>
                    <a:pt x="315" y="1079"/>
                    <a:pt x="315" y="1079"/>
                    <a:pt x="315" y="1079"/>
                  </a:cubicBezTo>
                  <a:cubicBezTo>
                    <a:pt x="322" y="1079"/>
                    <a:pt x="322" y="1079"/>
                    <a:pt x="322" y="1079"/>
                  </a:cubicBezTo>
                  <a:cubicBezTo>
                    <a:pt x="322" y="1072"/>
                    <a:pt x="322" y="1072"/>
                    <a:pt x="322" y="1072"/>
                  </a:cubicBezTo>
                  <a:moveTo>
                    <a:pt x="337" y="1072"/>
                  </a:moveTo>
                  <a:cubicBezTo>
                    <a:pt x="330" y="1072"/>
                    <a:pt x="330" y="1072"/>
                    <a:pt x="330" y="1072"/>
                  </a:cubicBezTo>
                  <a:cubicBezTo>
                    <a:pt x="330" y="1079"/>
                    <a:pt x="330" y="1079"/>
                    <a:pt x="330" y="1079"/>
                  </a:cubicBezTo>
                  <a:cubicBezTo>
                    <a:pt x="337" y="1079"/>
                    <a:pt x="337" y="1079"/>
                    <a:pt x="337" y="1079"/>
                  </a:cubicBezTo>
                  <a:cubicBezTo>
                    <a:pt x="337" y="1072"/>
                    <a:pt x="337" y="1072"/>
                    <a:pt x="337" y="1072"/>
                  </a:cubicBezTo>
                  <a:moveTo>
                    <a:pt x="352" y="1072"/>
                  </a:moveTo>
                  <a:cubicBezTo>
                    <a:pt x="345" y="1072"/>
                    <a:pt x="345" y="1072"/>
                    <a:pt x="345" y="1072"/>
                  </a:cubicBezTo>
                  <a:cubicBezTo>
                    <a:pt x="345" y="1079"/>
                    <a:pt x="345" y="1079"/>
                    <a:pt x="345" y="1079"/>
                  </a:cubicBezTo>
                  <a:cubicBezTo>
                    <a:pt x="352" y="1079"/>
                    <a:pt x="352" y="1079"/>
                    <a:pt x="352" y="1079"/>
                  </a:cubicBezTo>
                  <a:cubicBezTo>
                    <a:pt x="352" y="1072"/>
                    <a:pt x="352" y="1072"/>
                    <a:pt x="352" y="1072"/>
                  </a:cubicBezTo>
                  <a:moveTo>
                    <a:pt x="367" y="1072"/>
                  </a:moveTo>
                  <a:cubicBezTo>
                    <a:pt x="360" y="1072"/>
                    <a:pt x="360" y="1072"/>
                    <a:pt x="360" y="1072"/>
                  </a:cubicBezTo>
                  <a:cubicBezTo>
                    <a:pt x="360" y="1079"/>
                    <a:pt x="360" y="1079"/>
                    <a:pt x="360" y="1079"/>
                  </a:cubicBezTo>
                  <a:cubicBezTo>
                    <a:pt x="367" y="1079"/>
                    <a:pt x="367" y="1079"/>
                    <a:pt x="367" y="1079"/>
                  </a:cubicBezTo>
                  <a:cubicBezTo>
                    <a:pt x="367" y="1072"/>
                    <a:pt x="367" y="1072"/>
                    <a:pt x="367" y="1072"/>
                  </a:cubicBezTo>
                  <a:moveTo>
                    <a:pt x="381" y="1072"/>
                  </a:moveTo>
                  <a:cubicBezTo>
                    <a:pt x="374" y="1072"/>
                    <a:pt x="374" y="1072"/>
                    <a:pt x="374" y="1072"/>
                  </a:cubicBezTo>
                  <a:cubicBezTo>
                    <a:pt x="374" y="1079"/>
                    <a:pt x="374" y="1079"/>
                    <a:pt x="374" y="1079"/>
                  </a:cubicBezTo>
                  <a:cubicBezTo>
                    <a:pt x="381" y="1079"/>
                    <a:pt x="381" y="1079"/>
                    <a:pt x="381" y="1079"/>
                  </a:cubicBezTo>
                  <a:cubicBezTo>
                    <a:pt x="381" y="1072"/>
                    <a:pt x="381" y="1072"/>
                    <a:pt x="381" y="1072"/>
                  </a:cubicBezTo>
                  <a:moveTo>
                    <a:pt x="396" y="1072"/>
                  </a:moveTo>
                  <a:cubicBezTo>
                    <a:pt x="389" y="1072"/>
                    <a:pt x="389" y="1072"/>
                    <a:pt x="389" y="1072"/>
                  </a:cubicBezTo>
                  <a:cubicBezTo>
                    <a:pt x="389" y="1079"/>
                    <a:pt x="389" y="1079"/>
                    <a:pt x="389" y="1079"/>
                  </a:cubicBezTo>
                  <a:cubicBezTo>
                    <a:pt x="396" y="1079"/>
                    <a:pt x="396" y="1079"/>
                    <a:pt x="396" y="1079"/>
                  </a:cubicBezTo>
                  <a:cubicBezTo>
                    <a:pt x="396" y="1072"/>
                    <a:pt x="396" y="1072"/>
                    <a:pt x="396" y="1072"/>
                  </a:cubicBezTo>
                  <a:moveTo>
                    <a:pt x="411" y="1072"/>
                  </a:moveTo>
                  <a:cubicBezTo>
                    <a:pt x="404" y="1072"/>
                    <a:pt x="404" y="1072"/>
                    <a:pt x="404" y="1072"/>
                  </a:cubicBezTo>
                  <a:cubicBezTo>
                    <a:pt x="404" y="1079"/>
                    <a:pt x="404" y="1079"/>
                    <a:pt x="404" y="1079"/>
                  </a:cubicBezTo>
                  <a:cubicBezTo>
                    <a:pt x="411" y="1079"/>
                    <a:pt x="411" y="1079"/>
                    <a:pt x="411" y="1079"/>
                  </a:cubicBezTo>
                  <a:cubicBezTo>
                    <a:pt x="411" y="1072"/>
                    <a:pt x="411" y="1072"/>
                    <a:pt x="411" y="1072"/>
                  </a:cubicBezTo>
                  <a:moveTo>
                    <a:pt x="426" y="1072"/>
                  </a:moveTo>
                  <a:cubicBezTo>
                    <a:pt x="419" y="1072"/>
                    <a:pt x="419" y="1072"/>
                    <a:pt x="419" y="1072"/>
                  </a:cubicBezTo>
                  <a:cubicBezTo>
                    <a:pt x="419" y="1079"/>
                    <a:pt x="419" y="1079"/>
                    <a:pt x="419" y="1079"/>
                  </a:cubicBezTo>
                  <a:cubicBezTo>
                    <a:pt x="426" y="1079"/>
                    <a:pt x="426" y="1079"/>
                    <a:pt x="426" y="1079"/>
                  </a:cubicBezTo>
                  <a:cubicBezTo>
                    <a:pt x="426" y="1072"/>
                    <a:pt x="426" y="1072"/>
                    <a:pt x="426" y="1072"/>
                  </a:cubicBezTo>
                  <a:moveTo>
                    <a:pt x="440" y="1072"/>
                  </a:moveTo>
                  <a:cubicBezTo>
                    <a:pt x="433" y="1072"/>
                    <a:pt x="433" y="1072"/>
                    <a:pt x="433" y="1072"/>
                  </a:cubicBezTo>
                  <a:cubicBezTo>
                    <a:pt x="433" y="1079"/>
                    <a:pt x="433" y="1079"/>
                    <a:pt x="433" y="1079"/>
                  </a:cubicBezTo>
                  <a:cubicBezTo>
                    <a:pt x="440" y="1079"/>
                    <a:pt x="440" y="1079"/>
                    <a:pt x="440" y="1079"/>
                  </a:cubicBezTo>
                  <a:cubicBezTo>
                    <a:pt x="440" y="1072"/>
                    <a:pt x="440" y="1072"/>
                    <a:pt x="440" y="1072"/>
                  </a:cubicBezTo>
                  <a:moveTo>
                    <a:pt x="455" y="1072"/>
                  </a:moveTo>
                  <a:cubicBezTo>
                    <a:pt x="448" y="1072"/>
                    <a:pt x="448" y="1072"/>
                    <a:pt x="448" y="1072"/>
                  </a:cubicBezTo>
                  <a:cubicBezTo>
                    <a:pt x="448" y="1079"/>
                    <a:pt x="448" y="1079"/>
                    <a:pt x="448" y="1079"/>
                  </a:cubicBezTo>
                  <a:cubicBezTo>
                    <a:pt x="455" y="1079"/>
                    <a:pt x="455" y="1079"/>
                    <a:pt x="455" y="1079"/>
                  </a:cubicBezTo>
                  <a:cubicBezTo>
                    <a:pt x="455" y="1072"/>
                    <a:pt x="455" y="1072"/>
                    <a:pt x="455" y="1072"/>
                  </a:cubicBezTo>
                  <a:moveTo>
                    <a:pt x="470" y="1072"/>
                  </a:moveTo>
                  <a:cubicBezTo>
                    <a:pt x="463" y="1072"/>
                    <a:pt x="463" y="1072"/>
                    <a:pt x="463" y="1072"/>
                  </a:cubicBezTo>
                  <a:cubicBezTo>
                    <a:pt x="463" y="1079"/>
                    <a:pt x="463" y="1079"/>
                    <a:pt x="463" y="1079"/>
                  </a:cubicBezTo>
                  <a:cubicBezTo>
                    <a:pt x="470" y="1079"/>
                    <a:pt x="470" y="1079"/>
                    <a:pt x="470" y="1079"/>
                  </a:cubicBezTo>
                  <a:cubicBezTo>
                    <a:pt x="470" y="1072"/>
                    <a:pt x="470" y="1072"/>
                    <a:pt x="470" y="1072"/>
                  </a:cubicBezTo>
                  <a:moveTo>
                    <a:pt x="485" y="1072"/>
                  </a:moveTo>
                  <a:cubicBezTo>
                    <a:pt x="478" y="1072"/>
                    <a:pt x="478" y="1072"/>
                    <a:pt x="478" y="1072"/>
                  </a:cubicBezTo>
                  <a:cubicBezTo>
                    <a:pt x="478" y="1079"/>
                    <a:pt x="478" y="1079"/>
                    <a:pt x="478" y="1079"/>
                  </a:cubicBezTo>
                  <a:cubicBezTo>
                    <a:pt x="485" y="1079"/>
                    <a:pt x="485" y="1079"/>
                    <a:pt x="485" y="1079"/>
                  </a:cubicBezTo>
                  <a:cubicBezTo>
                    <a:pt x="485" y="1072"/>
                    <a:pt x="485" y="1072"/>
                    <a:pt x="485" y="1072"/>
                  </a:cubicBezTo>
                  <a:moveTo>
                    <a:pt x="499" y="1072"/>
                  </a:moveTo>
                  <a:cubicBezTo>
                    <a:pt x="492" y="1072"/>
                    <a:pt x="492" y="1072"/>
                    <a:pt x="492" y="1072"/>
                  </a:cubicBezTo>
                  <a:cubicBezTo>
                    <a:pt x="492" y="1079"/>
                    <a:pt x="492" y="1079"/>
                    <a:pt x="492" y="1079"/>
                  </a:cubicBezTo>
                  <a:cubicBezTo>
                    <a:pt x="499" y="1079"/>
                    <a:pt x="499" y="1079"/>
                    <a:pt x="499" y="1079"/>
                  </a:cubicBezTo>
                  <a:cubicBezTo>
                    <a:pt x="499" y="1072"/>
                    <a:pt x="499" y="1072"/>
                    <a:pt x="499" y="1072"/>
                  </a:cubicBezTo>
                  <a:moveTo>
                    <a:pt x="263" y="1058"/>
                  </a:moveTo>
                  <a:cubicBezTo>
                    <a:pt x="256" y="1058"/>
                    <a:pt x="256" y="1058"/>
                    <a:pt x="256" y="1058"/>
                  </a:cubicBezTo>
                  <a:cubicBezTo>
                    <a:pt x="256" y="1065"/>
                    <a:pt x="256" y="1065"/>
                    <a:pt x="256" y="1065"/>
                  </a:cubicBezTo>
                  <a:cubicBezTo>
                    <a:pt x="263" y="1065"/>
                    <a:pt x="263" y="1065"/>
                    <a:pt x="263" y="1065"/>
                  </a:cubicBezTo>
                  <a:cubicBezTo>
                    <a:pt x="263" y="1058"/>
                    <a:pt x="263" y="1058"/>
                    <a:pt x="263" y="1058"/>
                  </a:cubicBezTo>
                  <a:moveTo>
                    <a:pt x="278" y="1058"/>
                  </a:moveTo>
                  <a:cubicBezTo>
                    <a:pt x="271" y="1058"/>
                    <a:pt x="271" y="1058"/>
                    <a:pt x="271" y="1058"/>
                  </a:cubicBezTo>
                  <a:cubicBezTo>
                    <a:pt x="271" y="1065"/>
                    <a:pt x="271" y="1065"/>
                    <a:pt x="271" y="1065"/>
                  </a:cubicBezTo>
                  <a:cubicBezTo>
                    <a:pt x="278" y="1065"/>
                    <a:pt x="278" y="1065"/>
                    <a:pt x="278" y="1065"/>
                  </a:cubicBezTo>
                  <a:cubicBezTo>
                    <a:pt x="278" y="1058"/>
                    <a:pt x="278" y="1058"/>
                    <a:pt x="278" y="1058"/>
                  </a:cubicBezTo>
                  <a:moveTo>
                    <a:pt x="293" y="1058"/>
                  </a:moveTo>
                  <a:cubicBezTo>
                    <a:pt x="286" y="1058"/>
                    <a:pt x="286" y="1058"/>
                    <a:pt x="286" y="1058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93" y="1065"/>
                    <a:pt x="293" y="1065"/>
                    <a:pt x="293" y="1065"/>
                  </a:cubicBezTo>
                  <a:cubicBezTo>
                    <a:pt x="293" y="1058"/>
                    <a:pt x="293" y="1058"/>
                    <a:pt x="293" y="1058"/>
                  </a:cubicBezTo>
                  <a:moveTo>
                    <a:pt x="308" y="1058"/>
                  </a:moveTo>
                  <a:cubicBezTo>
                    <a:pt x="301" y="1058"/>
                    <a:pt x="301" y="1058"/>
                    <a:pt x="301" y="1058"/>
                  </a:cubicBezTo>
                  <a:cubicBezTo>
                    <a:pt x="301" y="1065"/>
                    <a:pt x="301" y="1065"/>
                    <a:pt x="301" y="1065"/>
                  </a:cubicBezTo>
                  <a:cubicBezTo>
                    <a:pt x="308" y="1065"/>
                    <a:pt x="308" y="1065"/>
                    <a:pt x="308" y="1065"/>
                  </a:cubicBezTo>
                  <a:cubicBezTo>
                    <a:pt x="308" y="1058"/>
                    <a:pt x="308" y="1058"/>
                    <a:pt x="308" y="1058"/>
                  </a:cubicBezTo>
                  <a:moveTo>
                    <a:pt x="322" y="1058"/>
                  </a:moveTo>
                  <a:cubicBezTo>
                    <a:pt x="315" y="1058"/>
                    <a:pt x="315" y="1058"/>
                    <a:pt x="315" y="1058"/>
                  </a:cubicBezTo>
                  <a:cubicBezTo>
                    <a:pt x="315" y="1065"/>
                    <a:pt x="315" y="1065"/>
                    <a:pt x="315" y="1065"/>
                  </a:cubicBezTo>
                  <a:cubicBezTo>
                    <a:pt x="322" y="1065"/>
                    <a:pt x="322" y="1065"/>
                    <a:pt x="322" y="1065"/>
                  </a:cubicBezTo>
                  <a:cubicBezTo>
                    <a:pt x="322" y="1058"/>
                    <a:pt x="322" y="1058"/>
                    <a:pt x="322" y="1058"/>
                  </a:cubicBezTo>
                  <a:moveTo>
                    <a:pt x="337" y="1058"/>
                  </a:moveTo>
                  <a:cubicBezTo>
                    <a:pt x="330" y="1058"/>
                    <a:pt x="330" y="1058"/>
                    <a:pt x="330" y="1058"/>
                  </a:cubicBezTo>
                  <a:cubicBezTo>
                    <a:pt x="330" y="1065"/>
                    <a:pt x="330" y="1065"/>
                    <a:pt x="330" y="1065"/>
                  </a:cubicBezTo>
                  <a:cubicBezTo>
                    <a:pt x="337" y="1065"/>
                    <a:pt x="337" y="1065"/>
                    <a:pt x="337" y="1065"/>
                  </a:cubicBezTo>
                  <a:cubicBezTo>
                    <a:pt x="337" y="1058"/>
                    <a:pt x="337" y="1058"/>
                    <a:pt x="337" y="1058"/>
                  </a:cubicBezTo>
                  <a:moveTo>
                    <a:pt x="352" y="1058"/>
                  </a:moveTo>
                  <a:cubicBezTo>
                    <a:pt x="345" y="1058"/>
                    <a:pt x="345" y="1058"/>
                    <a:pt x="345" y="1058"/>
                  </a:cubicBezTo>
                  <a:cubicBezTo>
                    <a:pt x="345" y="1065"/>
                    <a:pt x="345" y="1065"/>
                    <a:pt x="345" y="1065"/>
                  </a:cubicBezTo>
                  <a:cubicBezTo>
                    <a:pt x="352" y="1065"/>
                    <a:pt x="352" y="1065"/>
                    <a:pt x="352" y="1065"/>
                  </a:cubicBezTo>
                  <a:cubicBezTo>
                    <a:pt x="352" y="1058"/>
                    <a:pt x="352" y="1058"/>
                    <a:pt x="352" y="1058"/>
                  </a:cubicBezTo>
                  <a:moveTo>
                    <a:pt x="367" y="1058"/>
                  </a:moveTo>
                  <a:cubicBezTo>
                    <a:pt x="360" y="1058"/>
                    <a:pt x="360" y="1058"/>
                    <a:pt x="360" y="1058"/>
                  </a:cubicBezTo>
                  <a:cubicBezTo>
                    <a:pt x="360" y="1065"/>
                    <a:pt x="360" y="1065"/>
                    <a:pt x="360" y="1065"/>
                  </a:cubicBezTo>
                  <a:cubicBezTo>
                    <a:pt x="367" y="1065"/>
                    <a:pt x="367" y="1065"/>
                    <a:pt x="367" y="1065"/>
                  </a:cubicBezTo>
                  <a:cubicBezTo>
                    <a:pt x="367" y="1058"/>
                    <a:pt x="367" y="1058"/>
                    <a:pt x="367" y="1058"/>
                  </a:cubicBezTo>
                  <a:moveTo>
                    <a:pt x="381" y="1058"/>
                  </a:moveTo>
                  <a:cubicBezTo>
                    <a:pt x="374" y="1058"/>
                    <a:pt x="374" y="1058"/>
                    <a:pt x="374" y="1058"/>
                  </a:cubicBezTo>
                  <a:cubicBezTo>
                    <a:pt x="374" y="1065"/>
                    <a:pt x="374" y="1065"/>
                    <a:pt x="374" y="1065"/>
                  </a:cubicBezTo>
                  <a:cubicBezTo>
                    <a:pt x="381" y="1065"/>
                    <a:pt x="381" y="1065"/>
                    <a:pt x="381" y="1065"/>
                  </a:cubicBezTo>
                  <a:cubicBezTo>
                    <a:pt x="381" y="1058"/>
                    <a:pt x="381" y="1058"/>
                    <a:pt x="381" y="1058"/>
                  </a:cubicBezTo>
                  <a:moveTo>
                    <a:pt x="396" y="1058"/>
                  </a:moveTo>
                  <a:cubicBezTo>
                    <a:pt x="389" y="1058"/>
                    <a:pt x="389" y="1058"/>
                    <a:pt x="389" y="1058"/>
                  </a:cubicBezTo>
                  <a:cubicBezTo>
                    <a:pt x="389" y="1065"/>
                    <a:pt x="389" y="1065"/>
                    <a:pt x="389" y="1065"/>
                  </a:cubicBezTo>
                  <a:cubicBezTo>
                    <a:pt x="396" y="1065"/>
                    <a:pt x="396" y="1065"/>
                    <a:pt x="396" y="1065"/>
                  </a:cubicBezTo>
                  <a:cubicBezTo>
                    <a:pt x="396" y="1058"/>
                    <a:pt x="396" y="1058"/>
                    <a:pt x="396" y="1058"/>
                  </a:cubicBezTo>
                  <a:moveTo>
                    <a:pt x="411" y="1058"/>
                  </a:moveTo>
                  <a:cubicBezTo>
                    <a:pt x="404" y="1058"/>
                    <a:pt x="404" y="1058"/>
                    <a:pt x="404" y="1058"/>
                  </a:cubicBezTo>
                  <a:cubicBezTo>
                    <a:pt x="404" y="1065"/>
                    <a:pt x="404" y="1065"/>
                    <a:pt x="404" y="1065"/>
                  </a:cubicBezTo>
                  <a:cubicBezTo>
                    <a:pt x="411" y="1065"/>
                    <a:pt x="411" y="1065"/>
                    <a:pt x="411" y="1065"/>
                  </a:cubicBezTo>
                  <a:cubicBezTo>
                    <a:pt x="411" y="1058"/>
                    <a:pt x="411" y="1058"/>
                    <a:pt x="411" y="1058"/>
                  </a:cubicBezTo>
                  <a:moveTo>
                    <a:pt x="426" y="1058"/>
                  </a:moveTo>
                  <a:cubicBezTo>
                    <a:pt x="419" y="1058"/>
                    <a:pt x="419" y="1058"/>
                    <a:pt x="419" y="1058"/>
                  </a:cubicBezTo>
                  <a:cubicBezTo>
                    <a:pt x="419" y="1065"/>
                    <a:pt x="419" y="1065"/>
                    <a:pt x="419" y="1065"/>
                  </a:cubicBezTo>
                  <a:cubicBezTo>
                    <a:pt x="426" y="1065"/>
                    <a:pt x="426" y="1065"/>
                    <a:pt x="426" y="1065"/>
                  </a:cubicBezTo>
                  <a:cubicBezTo>
                    <a:pt x="426" y="1058"/>
                    <a:pt x="426" y="1058"/>
                    <a:pt x="426" y="1058"/>
                  </a:cubicBezTo>
                  <a:moveTo>
                    <a:pt x="440" y="1058"/>
                  </a:moveTo>
                  <a:cubicBezTo>
                    <a:pt x="433" y="1058"/>
                    <a:pt x="433" y="1058"/>
                    <a:pt x="433" y="1058"/>
                  </a:cubicBezTo>
                  <a:cubicBezTo>
                    <a:pt x="433" y="1065"/>
                    <a:pt x="433" y="1065"/>
                    <a:pt x="433" y="1065"/>
                  </a:cubicBezTo>
                  <a:cubicBezTo>
                    <a:pt x="440" y="1065"/>
                    <a:pt x="440" y="1065"/>
                    <a:pt x="440" y="1065"/>
                  </a:cubicBezTo>
                  <a:cubicBezTo>
                    <a:pt x="440" y="1058"/>
                    <a:pt x="440" y="1058"/>
                    <a:pt x="440" y="1058"/>
                  </a:cubicBezTo>
                  <a:moveTo>
                    <a:pt x="455" y="1058"/>
                  </a:moveTo>
                  <a:cubicBezTo>
                    <a:pt x="448" y="1058"/>
                    <a:pt x="448" y="1058"/>
                    <a:pt x="448" y="1058"/>
                  </a:cubicBezTo>
                  <a:cubicBezTo>
                    <a:pt x="448" y="1065"/>
                    <a:pt x="448" y="1065"/>
                    <a:pt x="448" y="1065"/>
                  </a:cubicBezTo>
                  <a:cubicBezTo>
                    <a:pt x="455" y="1065"/>
                    <a:pt x="455" y="1065"/>
                    <a:pt x="455" y="1065"/>
                  </a:cubicBezTo>
                  <a:cubicBezTo>
                    <a:pt x="455" y="1058"/>
                    <a:pt x="455" y="1058"/>
                    <a:pt x="455" y="1058"/>
                  </a:cubicBezTo>
                  <a:moveTo>
                    <a:pt x="470" y="1058"/>
                  </a:moveTo>
                  <a:cubicBezTo>
                    <a:pt x="463" y="1058"/>
                    <a:pt x="463" y="1058"/>
                    <a:pt x="463" y="1058"/>
                  </a:cubicBezTo>
                  <a:cubicBezTo>
                    <a:pt x="463" y="1065"/>
                    <a:pt x="463" y="1065"/>
                    <a:pt x="463" y="1065"/>
                  </a:cubicBezTo>
                  <a:cubicBezTo>
                    <a:pt x="470" y="1065"/>
                    <a:pt x="470" y="1065"/>
                    <a:pt x="470" y="1065"/>
                  </a:cubicBezTo>
                  <a:cubicBezTo>
                    <a:pt x="470" y="1058"/>
                    <a:pt x="470" y="1058"/>
                    <a:pt x="470" y="1058"/>
                  </a:cubicBezTo>
                  <a:moveTo>
                    <a:pt x="485" y="1058"/>
                  </a:moveTo>
                  <a:cubicBezTo>
                    <a:pt x="478" y="1058"/>
                    <a:pt x="478" y="1058"/>
                    <a:pt x="478" y="1058"/>
                  </a:cubicBezTo>
                  <a:cubicBezTo>
                    <a:pt x="478" y="1065"/>
                    <a:pt x="478" y="1065"/>
                    <a:pt x="478" y="1065"/>
                  </a:cubicBezTo>
                  <a:cubicBezTo>
                    <a:pt x="485" y="1065"/>
                    <a:pt x="485" y="1065"/>
                    <a:pt x="485" y="1065"/>
                  </a:cubicBezTo>
                  <a:cubicBezTo>
                    <a:pt x="485" y="1058"/>
                    <a:pt x="485" y="1058"/>
                    <a:pt x="485" y="1058"/>
                  </a:cubicBezTo>
                  <a:moveTo>
                    <a:pt x="293" y="1043"/>
                  </a:moveTo>
                  <a:cubicBezTo>
                    <a:pt x="286" y="1043"/>
                    <a:pt x="286" y="1043"/>
                    <a:pt x="286" y="1043"/>
                  </a:cubicBezTo>
                  <a:cubicBezTo>
                    <a:pt x="286" y="1050"/>
                    <a:pt x="286" y="1050"/>
                    <a:pt x="286" y="1050"/>
                  </a:cubicBezTo>
                  <a:cubicBezTo>
                    <a:pt x="293" y="1050"/>
                    <a:pt x="293" y="1050"/>
                    <a:pt x="293" y="1050"/>
                  </a:cubicBezTo>
                  <a:cubicBezTo>
                    <a:pt x="293" y="1043"/>
                    <a:pt x="293" y="1043"/>
                    <a:pt x="293" y="1043"/>
                  </a:cubicBezTo>
                  <a:moveTo>
                    <a:pt x="308" y="1043"/>
                  </a:moveTo>
                  <a:cubicBezTo>
                    <a:pt x="301" y="1043"/>
                    <a:pt x="301" y="1043"/>
                    <a:pt x="301" y="1043"/>
                  </a:cubicBezTo>
                  <a:cubicBezTo>
                    <a:pt x="301" y="1050"/>
                    <a:pt x="301" y="1050"/>
                    <a:pt x="301" y="1050"/>
                  </a:cubicBezTo>
                  <a:cubicBezTo>
                    <a:pt x="308" y="1050"/>
                    <a:pt x="308" y="1050"/>
                    <a:pt x="308" y="1050"/>
                  </a:cubicBezTo>
                  <a:cubicBezTo>
                    <a:pt x="308" y="1043"/>
                    <a:pt x="308" y="1043"/>
                    <a:pt x="308" y="1043"/>
                  </a:cubicBezTo>
                  <a:moveTo>
                    <a:pt x="322" y="1043"/>
                  </a:moveTo>
                  <a:cubicBezTo>
                    <a:pt x="315" y="1043"/>
                    <a:pt x="315" y="1043"/>
                    <a:pt x="315" y="1043"/>
                  </a:cubicBezTo>
                  <a:cubicBezTo>
                    <a:pt x="315" y="1050"/>
                    <a:pt x="315" y="1050"/>
                    <a:pt x="315" y="1050"/>
                  </a:cubicBezTo>
                  <a:cubicBezTo>
                    <a:pt x="322" y="1050"/>
                    <a:pt x="322" y="1050"/>
                    <a:pt x="322" y="1050"/>
                  </a:cubicBezTo>
                  <a:cubicBezTo>
                    <a:pt x="322" y="1043"/>
                    <a:pt x="322" y="1043"/>
                    <a:pt x="322" y="1043"/>
                  </a:cubicBezTo>
                  <a:moveTo>
                    <a:pt x="337" y="1043"/>
                  </a:moveTo>
                  <a:cubicBezTo>
                    <a:pt x="330" y="1043"/>
                    <a:pt x="330" y="1043"/>
                    <a:pt x="330" y="1043"/>
                  </a:cubicBezTo>
                  <a:cubicBezTo>
                    <a:pt x="330" y="1050"/>
                    <a:pt x="330" y="1050"/>
                    <a:pt x="330" y="1050"/>
                  </a:cubicBezTo>
                  <a:cubicBezTo>
                    <a:pt x="337" y="1050"/>
                    <a:pt x="337" y="1050"/>
                    <a:pt x="337" y="1050"/>
                  </a:cubicBezTo>
                  <a:cubicBezTo>
                    <a:pt x="337" y="1043"/>
                    <a:pt x="337" y="1043"/>
                    <a:pt x="337" y="1043"/>
                  </a:cubicBezTo>
                  <a:moveTo>
                    <a:pt x="352" y="1043"/>
                  </a:moveTo>
                  <a:cubicBezTo>
                    <a:pt x="345" y="1043"/>
                    <a:pt x="345" y="1043"/>
                    <a:pt x="345" y="1043"/>
                  </a:cubicBezTo>
                  <a:cubicBezTo>
                    <a:pt x="345" y="1050"/>
                    <a:pt x="345" y="1050"/>
                    <a:pt x="345" y="1050"/>
                  </a:cubicBezTo>
                  <a:cubicBezTo>
                    <a:pt x="352" y="1050"/>
                    <a:pt x="352" y="1050"/>
                    <a:pt x="352" y="1050"/>
                  </a:cubicBezTo>
                  <a:cubicBezTo>
                    <a:pt x="352" y="1043"/>
                    <a:pt x="352" y="1043"/>
                    <a:pt x="352" y="1043"/>
                  </a:cubicBezTo>
                  <a:moveTo>
                    <a:pt x="367" y="1043"/>
                  </a:moveTo>
                  <a:cubicBezTo>
                    <a:pt x="360" y="1043"/>
                    <a:pt x="360" y="1043"/>
                    <a:pt x="360" y="1043"/>
                  </a:cubicBezTo>
                  <a:cubicBezTo>
                    <a:pt x="360" y="1050"/>
                    <a:pt x="360" y="1050"/>
                    <a:pt x="360" y="1050"/>
                  </a:cubicBezTo>
                  <a:cubicBezTo>
                    <a:pt x="367" y="1050"/>
                    <a:pt x="367" y="1050"/>
                    <a:pt x="367" y="1050"/>
                  </a:cubicBezTo>
                  <a:cubicBezTo>
                    <a:pt x="367" y="1043"/>
                    <a:pt x="367" y="1043"/>
                    <a:pt x="367" y="1043"/>
                  </a:cubicBezTo>
                  <a:moveTo>
                    <a:pt x="381" y="1043"/>
                  </a:moveTo>
                  <a:cubicBezTo>
                    <a:pt x="374" y="1043"/>
                    <a:pt x="374" y="1043"/>
                    <a:pt x="374" y="1043"/>
                  </a:cubicBezTo>
                  <a:cubicBezTo>
                    <a:pt x="374" y="1050"/>
                    <a:pt x="374" y="1050"/>
                    <a:pt x="374" y="1050"/>
                  </a:cubicBezTo>
                  <a:cubicBezTo>
                    <a:pt x="381" y="1050"/>
                    <a:pt x="381" y="1050"/>
                    <a:pt x="381" y="1050"/>
                  </a:cubicBezTo>
                  <a:cubicBezTo>
                    <a:pt x="381" y="1043"/>
                    <a:pt x="381" y="1043"/>
                    <a:pt x="381" y="1043"/>
                  </a:cubicBezTo>
                  <a:moveTo>
                    <a:pt x="396" y="1043"/>
                  </a:moveTo>
                  <a:cubicBezTo>
                    <a:pt x="389" y="1043"/>
                    <a:pt x="389" y="1043"/>
                    <a:pt x="389" y="1043"/>
                  </a:cubicBezTo>
                  <a:cubicBezTo>
                    <a:pt x="389" y="1050"/>
                    <a:pt x="389" y="1050"/>
                    <a:pt x="389" y="1050"/>
                  </a:cubicBezTo>
                  <a:cubicBezTo>
                    <a:pt x="396" y="1050"/>
                    <a:pt x="396" y="1050"/>
                    <a:pt x="396" y="1050"/>
                  </a:cubicBezTo>
                  <a:cubicBezTo>
                    <a:pt x="396" y="1043"/>
                    <a:pt x="396" y="1043"/>
                    <a:pt x="396" y="1043"/>
                  </a:cubicBezTo>
                  <a:moveTo>
                    <a:pt x="411" y="1043"/>
                  </a:moveTo>
                  <a:cubicBezTo>
                    <a:pt x="404" y="1043"/>
                    <a:pt x="404" y="1043"/>
                    <a:pt x="404" y="1043"/>
                  </a:cubicBezTo>
                  <a:cubicBezTo>
                    <a:pt x="404" y="1050"/>
                    <a:pt x="404" y="1050"/>
                    <a:pt x="404" y="1050"/>
                  </a:cubicBezTo>
                  <a:cubicBezTo>
                    <a:pt x="411" y="1050"/>
                    <a:pt x="411" y="1050"/>
                    <a:pt x="411" y="1050"/>
                  </a:cubicBezTo>
                  <a:cubicBezTo>
                    <a:pt x="411" y="1043"/>
                    <a:pt x="411" y="1043"/>
                    <a:pt x="411" y="1043"/>
                  </a:cubicBezTo>
                  <a:moveTo>
                    <a:pt x="426" y="1043"/>
                  </a:moveTo>
                  <a:cubicBezTo>
                    <a:pt x="419" y="1043"/>
                    <a:pt x="419" y="1043"/>
                    <a:pt x="419" y="1043"/>
                  </a:cubicBezTo>
                  <a:cubicBezTo>
                    <a:pt x="419" y="1050"/>
                    <a:pt x="419" y="1050"/>
                    <a:pt x="419" y="1050"/>
                  </a:cubicBezTo>
                  <a:cubicBezTo>
                    <a:pt x="426" y="1050"/>
                    <a:pt x="426" y="1050"/>
                    <a:pt x="426" y="1050"/>
                  </a:cubicBezTo>
                  <a:cubicBezTo>
                    <a:pt x="426" y="1043"/>
                    <a:pt x="426" y="1043"/>
                    <a:pt x="426" y="1043"/>
                  </a:cubicBezTo>
                  <a:moveTo>
                    <a:pt x="440" y="1043"/>
                  </a:moveTo>
                  <a:cubicBezTo>
                    <a:pt x="433" y="1043"/>
                    <a:pt x="433" y="1043"/>
                    <a:pt x="433" y="1043"/>
                  </a:cubicBezTo>
                  <a:cubicBezTo>
                    <a:pt x="433" y="1050"/>
                    <a:pt x="433" y="1050"/>
                    <a:pt x="433" y="1050"/>
                  </a:cubicBezTo>
                  <a:cubicBezTo>
                    <a:pt x="440" y="1050"/>
                    <a:pt x="440" y="1050"/>
                    <a:pt x="440" y="1050"/>
                  </a:cubicBezTo>
                  <a:cubicBezTo>
                    <a:pt x="440" y="1043"/>
                    <a:pt x="440" y="1043"/>
                    <a:pt x="440" y="1043"/>
                  </a:cubicBezTo>
                  <a:moveTo>
                    <a:pt x="455" y="1043"/>
                  </a:moveTo>
                  <a:cubicBezTo>
                    <a:pt x="448" y="1043"/>
                    <a:pt x="448" y="1043"/>
                    <a:pt x="448" y="1043"/>
                  </a:cubicBezTo>
                  <a:cubicBezTo>
                    <a:pt x="448" y="1050"/>
                    <a:pt x="448" y="1050"/>
                    <a:pt x="448" y="1050"/>
                  </a:cubicBezTo>
                  <a:cubicBezTo>
                    <a:pt x="455" y="1050"/>
                    <a:pt x="455" y="1050"/>
                    <a:pt x="455" y="1050"/>
                  </a:cubicBezTo>
                  <a:cubicBezTo>
                    <a:pt x="455" y="1043"/>
                    <a:pt x="455" y="1043"/>
                    <a:pt x="455" y="1043"/>
                  </a:cubicBezTo>
                  <a:moveTo>
                    <a:pt x="337" y="1028"/>
                  </a:moveTo>
                  <a:cubicBezTo>
                    <a:pt x="330" y="1028"/>
                    <a:pt x="330" y="1028"/>
                    <a:pt x="330" y="1028"/>
                  </a:cubicBezTo>
                  <a:cubicBezTo>
                    <a:pt x="330" y="1035"/>
                    <a:pt x="330" y="1035"/>
                    <a:pt x="330" y="1035"/>
                  </a:cubicBezTo>
                  <a:cubicBezTo>
                    <a:pt x="337" y="1035"/>
                    <a:pt x="337" y="1035"/>
                    <a:pt x="337" y="1035"/>
                  </a:cubicBezTo>
                  <a:cubicBezTo>
                    <a:pt x="337" y="1028"/>
                    <a:pt x="337" y="1028"/>
                    <a:pt x="337" y="1028"/>
                  </a:cubicBezTo>
                  <a:moveTo>
                    <a:pt x="352" y="1028"/>
                  </a:moveTo>
                  <a:cubicBezTo>
                    <a:pt x="345" y="1028"/>
                    <a:pt x="345" y="1028"/>
                    <a:pt x="345" y="1028"/>
                  </a:cubicBezTo>
                  <a:cubicBezTo>
                    <a:pt x="345" y="1035"/>
                    <a:pt x="345" y="1035"/>
                    <a:pt x="345" y="1035"/>
                  </a:cubicBezTo>
                  <a:cubicBezTo>
                    <a:pt x="352" y="1035"/>
                    <a:pt x="352" y="1035"/>
                    <a:pt x="352" y="1035"/>
                  </a:cubicBezTo>
                  <a:cubicBezTo>
                    <a:pt x="352" y="1028"/>
                    <a:pt x="352" y="1028"/>
                    <a:pt x="352" y="1028"/>
                  </a:cubicBezTo>
                  <a:moveTo>
                    <a:pt x="367" y="1028"/>
                  </a:moveTo>
                  <a:cubicBezTo>
                    <a:pt x="360" y="1028"/>
                    <a:pt x="360" y="1028"/>
                    <a:pt x="360" y="1028"/>
                  </a:cubicBezTo>
                  <a:cubicBezTo>
                    <a:pt x="360" y="1035"/>
                    <a:pt x="360" y="1035"/>
                    <a:pt x="360" y="1035"/>
                  </a:cubicBezTo>
                  <a:cubicBezTo>
                    <a:pt x="367" y="1035"/>
                    <a:pt x="367" y="1035"/>
                    <a:pt x="367" y="1035"/>
                  </a:cubicBezTo>
                  <a:cubicBezTo>
                    <a:pt x="367" y="1028"/>
                    <a:pt x="367" y="1028"/>
                    <a:pt x="367" y="1028"/>
                  </a:cubicBezTo>
                  <a:moveTo>
                    <a:pt x="381" y="1028"/>
                  </a:moveTo>
                  <a:cubicBezTo>
                    <a:pt x="374" y="1028"/>
                    <a:pt x="374" y="1028"/>
                    <a:pt x="374" y="1028"/>
                  </a:cubicBezTo>
                  <a:cubicBezTo>
                    <a:pt x="374" y="1035"/>
                    <a:pt x="374" y="1035"/>
                    <a:pt x="374" y="1035"/>
                  </a:cubicBezTo>
                  <a:cubicBezTo>
                    <a:pt x="381" y="1035"/>
                    <a:pt x="381" y="1035"/>
                    <a:pt x="381" y="1035"/>
                  </a:cubicBezTo>
                  <a:cubicBezTo>
                    <a:pt x="381" y="1028"/>
                    <a:pt x="381" y="1028"/>
                    <a:pt x="381" y="1028"/>
                  </a:cubicBezTo>
                  <a:moveTo>
                    <a:pt x="396" y="1028"/>
                  </a:moveTo>
                  <a:cubicBezTo>
                    <a:pt x="389" y="1028"/>
                    <a:pt x="389" y="1028"/>
                    <a:pt x="389" y="1028"/>
                  </a:cubicBezTo>
                  <a:cubicBezTo>
                    <a:pt x="389" y="1035"/>
                    <a:pt x="389" y="1035"/>
                    <a:pt x="389" y="1035"/>
                  </a:cubicBezTo>
                  <a:cubicBezTo>
                    <a:pt x="396" y="1035"/>
                    <a:pt x="396" y="1035"/>
                    <a:pt x="396" y="1035"/>
                  </a:cubicBezTo>
                  <a:cubicBezTo>
                    <a:pt x="396" y="1028"/>
                    <a:pt x="396" y="1028"/>
                    <a:pt x="396" y="1028"/>
                  </a:cubicBezTo>
                  <a:moveTo>
                    <a:pt x="411" y="1028"/>
                  </a:moveTo>
                  <a:cubicBezTo>
                    <a:pt x="404" y="1028"/>
                    <a:pt x="404" y="1028"/>
                    <a:pt x="404" y="1028"/>
                  </a:cubicBezTo>
                  <a:cubicBezTo>
                    <a:pt x="404" y="1035"/>
                    <a:pt x="404" y="1035"/>
                    <a:pt x="404" y="1035"/>
                  </a:cubicBezTo>
                  <a:cubicBezTo>
                    <a:pt x="411" y="1035"/>
                    <a:pt x="411" y="1035"/>
                    <a:pt x="411" y="1035"/>
                  </a:cubicBezTo>
                  <a:cubicBezTo>
                    <a:pt x="411" y="1028"/>
                    <a:pt x="411" y="1028"/>
                    <a:pt x="411" y="1028"/>
                  </a:cubicBezTo>
                  <a:moveTo>
                    <a:pt x="109" y="786"/>
                  </a:moveTo>
                  <a:cubicBezTo>
                    <a:pt x="109" y="769"/>
                    <a:pt x="109" y="769"/>
                    <a:pt x="109" y="769"/>
                  </a:cubicBezTo>
                  <a:cubicBezTo>
                    <a:pt x="150" y="769"/>
                    <a:pt x="150" y="769"/>
                    <a:pt x="150" y="769"/>
                  </a:cubicBezTo>
                  <a:cubicBezTo>
                    <a:pt x="150" y="786"/>
                    <a:pt x="150" y="786"/>
                    <a:pt x="150" y="786"/>
                  </a:cubicBezTo>
                  <a:cubicBezTo>
                    <a:pt x="109" y="786"/>
                    <a:pt x="109" y="786"/>
                    <a:pt x="109" y="786"/>
                  </a:cubicBezTo>
                  <a:moveTo>
                    <a:pt x="178" y="786"/>
                  </a:moveTo>
                  <a:cubicBezTo>
                    <a:pt x="174" y="786"/>
                    <a:pt x="170" y="782"/>
                    <a:pt x="170" y="777"/>
                  </a:cubicBezTo>
                  <a:cubicBezTo>
                    <a:pt x="170" y="773"/>
                    <a:pt x="174" y="769"/>
                    <a:pt x="178" y="769"/>
                  </a:cubicBezTo>
                  <a:cubicBezTo>
                    <a:pt x="183" y="769"/>
                    <a:pt x="187" y="773"/>
                    <a:pt x="187" y="777"/>
                  </a:cubicBezTo>
                  <a:cubicBezTo>
                    <a:pt x="187" y="782"/>
                    <a:pt x="183" y="786"/>
                    <a:pt x="178" y="786"/>
                  </a:cubicBezTo>
                  <a:moveTo>
                    <a:pt x="227" y="786"/>
                  </a:moveTo>
                  <a:cubicBezTo>
                    <a:pt x="223" y="786"/>
                    <a:pt x="219" y="782"/>
                    <a:pt x="219" y="777"/>
                  </a:cubicBezTo>
                  <a:cubicBezTo>
                    <a:pt x="219" y="773"/>
                    <a:pt x="223" y="769"/>
                    <a:pt x="227" y="769"/>
                  </a:cubicBezTo>
                  <a:cubicBezTo>
                    <a:pt x="232" y="769"/>
                    <a:pt x="236" y="773"/>
                    <a:pt x="236" y="777"/>
                  </a:cubicBezTo>
                  <a:cubicBezTo>
                    <a:pt x="236" y="782"/>
                    <a:pt x="232" y="786"/>
                    <a:pt x="227" y="786"/>
                  </a:cubicBezTo>
                  <a:moveTo>
                    <a:pt x="256" y="786"/>
                  </a:moveTo>
                  <a:cubicBezTo>
                    <a:pt x="256" y="769"/>
                    <a:pt x="256" y="769"/>
                    <a:pt x="256" y="769"/>
                  </a:cubicBezTo>
                  <a:cubicBezTo>
                    <a:pt x="296" y="769"/>
                    <a:pt x="296" y="769"/>
                    <a:pt x="296" y="769"/>
                  </a:cubicBezTo>
                  <a:cubicBezTo>
                    <a:pt x="296" y="786"/>
                    <a:pt x="296" y="786"/>
                    <a:pt x="296" y="786"/>
                  </a:cubicBezTo>
                  <a:cubicBezTo>
                    <a:pt x="256" y="786"/>
                    <a:pt x="256" y="786"/>
                    <a:pt x="256" y="786"/>
                  </a:cubicBezTo>
                  <a:moveTo>
                    <a:pt x="318" y="802"/>
                  </a:moveTo>
                  <a:cubicBezTo>
                    <a:pt x="318" y="753"/>
                    <a:pt x="318" y="753"/>
                    <a:pt x="318" y="753"/>
                  </a:cubicBezTo>
                  <a:cubicBezTo>
                    <a:pt x="561" y="753"/>
                    <a:pt x="561" y="753"/>
                    <a:pt x="561" y="753"/>
                  </a:cubicBezTo>
                  <a:cubicBezTo>
                    <a:pt x="561" y="802"/>
                    <a:pt x="561" y="802"/>
                    <a:pt x="561" y="802"/>
                  </a:cubicBezTo>
                  <a:cubicBezTo>
                    <a:pt x="318" y="802"/>
                    <a:pt x="318" y="802"/>
                    <a:pt x="318" y="802"/>
                  </a:cubicBezTo>
                  <a:moveTo>
                    <a:pt x="590" y="802"/>
                  </a:moveTo>
                  <a:cubicBezTo>
                    <a:pt x="586" y="802"/>
                    <a:pt x="583" y="798"/>
                    <a:pt x="583" y="794"/>
                  </a:cubicBezTo>
                  <a:cubicBezTo>
                    <a:pt x="583" y="760"/>
                    <a:pt x="583" y="760"/>
                    <a:pt x="583" y="760"/>
                  </a:cubicBezTo>
                  <a:cubicBezTo>
                    <a:pt x="583" y="756"/>
                    <a:pt x="586" y="753"/>
                    <a:pt x="590" y="753"/>
                  </a:cubicBezTo>
                  <a:cubicBezTo>
                    <a:pt x="624" y="753"/>
                    <a:pt x="624" y="753"/>
                    <a:pt x="624" y="753"/>
                  </a:cubicBezTo>
                  <a:cubicBezTo>
                    <a:pt x="628" y="753"/>
                    <a:pt x="632" y="756"/>
                    <a:pt x="632" y="760"/>
                  </a:cubicBezTo>
                  <a:cubicBezTo>
                    <a:pt x="632" y="794"/>
                    <a:pt x="632" y="794"/>
                    <a:pt x="632" y="794"/>
                  </a:cubicBezTo>
                  <a:cubicBezTo>
                    <a:pt x="632" y="798"/>
                    <a:pt x="628" y="802"/>
                    <a:pt x="624" y="802"/>
                  </a:cubicBezTo>
                  <a:cubicBezTo>
                    <a:pt x="590" y="802"/>
                    <a:pt x="590" y="802"/>
                    <a:pt x="590" y="802"/>
                  </a:cubicBezTo>
                  <a:moveTo>
                    <a:pt x="692" y="689"/>
                  </a:moveTo>
                  <a:cubicBezTo>
                    <a:pt x="49" y="689"/>
                    <a:pt x="49" y="689"/>
                    <a:pt x="49" y="689"/>
                  </a:cubicBezTo>
                  <a:cubicBezTo>
                    <a:pt x="49" y="865"/>
                    <a:pt x="49" y="865"/>
                    <a:pt x="49" y="865"/>
                  </a:cubicBezTo>
                  <a:cubicBezTo>
                    <a:pt x="692" y="865"/>
                    <a:pt x="692" y="865"/>
                    <a:pt x="692" y="865"/>
                  </a:cubicBezTo>
                  <a:cubicBezTo>
                    <a:pt x="692" y="689"/>
                    <a:pt x="692" y="689"/>
                    <a:pt x="692" y="689"/>
                  </a:cubicBezTo>
                  <a:moveTo>
                    <a:pt x="316" y="1028"/>
                  </a:moveTo>
                  <a:cubicBezTo>
                    <a:pt x="333" y="1023"/>
                    <a:pt x="352" y="1020"/>
                    <a:pt x="371" y="1020"/>
                  </a:cubicBezTo>
                  <a:cubicBezTo>
                    <a:pt x="389" y="1020"/>
                    <a:pt x="408" y="1023"/>
                    <a:pt x="425" y="1028"/>
                  </a:cubicBezTo>
                  <a:cubicBezTo>
                    <a:pt x="419" y="1028"/>
                    <a:pt x="419" y="1028"/>
                    <a:pt x="419" y="1028"/>
                  </a:cubicBezTo>
                  <a:cubicBezTo>
                    <a:pt x="419" y="1035"/>
                    <a:pt x="419" y="1035"/>
                    <a:pt x="419" y="1035"/>
                  </a:cubicBezTo>
                  <a:cubicBezTo>
                    <a:pt x="426" y="1035"/>
                    <a:pt x="426" y="1035"/>
                    <a:pt x="426" y="1035"/>
                  </a:cubicBezTo>
                  <a:cubicBezTo>
                    <a:pt x="426" y="1028"/>
                    <a:pt x="426" y="1028"/>
                    <a:pt x="426" y="1028"/>
                  </a:cubicBezTo>
                  <a:cubicBezTo>
                    <a:pt x="428" y="1029"/>
                    <a:pt x="431" y="1030"/>
                    <a:pt x="433" y="1031"/>
                  </a:cubicBezTo>
                  <a:cubicBezTo>
                    <a:pt x="433" y="1035"/>
                    <a:pt x="433" y="1035"/>
                    <a:pt x="433" y="1035"/>
                  </a:cubicBezTo>
                  <a:cubicBezTo>
                    <a:pt x="440" y="1035"/>
                    <a:pt x="440" y="1035"/>
                    <a:pt x="440" y="1035"/>
                  </a:cubicBezTo>
                  <a:cubicBezTo>
                    <a:pt x="440" y="1033"/>
                    <a:pt x="440" y="1033"/>
                    <a:pt x="440" y="1033"/>
                  </a:cubicBezTo>
                  <a:cubicBezTo>
                    <a:pt x="448" y="1036"/>
                    <a:pt x="456" y="1040"/>
                    <a:pt x="463" y="1044"/>
                  </a:cubicBezTo>
                  <a:cubicBezTo>
                    <a:pt x="463" y="1050"/>
                    <a:pt x="463" y="1050"/>
                    <a:pt x="463" y="1050"/>
                  </a:cubicBezTo>
                  <a:cubicBezTo>
                    <a:pt x="470" y="1050"/>
                    <a:pt x="470" y="1050"/>
                    <a:pt x="470" y="1050"/>
                  </a:cubicBezTo>
                  <a:cubicBezTo>
                    <a:pt x="470" y="1048"/>
                    <a:pt x="470" y="1048"/>
                    <a:pt x="470" y="1048"/>
                  </a:cubicBezTo>
                  <a:cubicBezTo>
                    <a:pt x="478" y="1052"/>
                    <a:pt x="485" y="1057"/>
                    <a:pt x="492" y="1063"/>
                  </a:cubicBezTo>
                  <a:cubicBezTo>
                    <a:pt x="492" y="1065"/>
                    <a:pt x="492" y="1065"/>
                    <a:pt x="492" y="1065"/>
                  </a:cubicBezTo>
                  <a:cubicBezTo>
                    <a:pt x="494" y="1065"/>
                    <a:pt x="494" y="1065"/>
                    <a:pt x="494" y="1065"/>
                  </a:cubicBezTo>
                  <a:cubicBezTo>
                    <a:pt x="499" y="1068"/>
                    <a:pt x="503" y="1072"/>
                    <a:pt x="507" y="1076"/>
                  </a:cubicBezTo>
                  <a:cubicBezTo>
                    <a:pt x="507" y="1079"/>
                    <a:pt x="507" y="1079"/>
                    <a:pt x="507" y="1079"/>
                  </a:cubicBezTo>
                  <a:cubicBezTo>
                    <a:pt x="511" y="1079"/>
                    <a:pt x="511" y="1079"/>
                    <a:pt x="511" y="1079"/>
                  </a:cubicBezTo>
                  <a:cubicBezTo>
                    <a:pt x="514" y="1083"/>
                    <a:pt x="518" y="1088"/>
                    <a:pt x="522" y="1092"/>
                  </a:cubicBezTo>
                  <a:cubicBezTo>
                    <a:pt x="522" y="1094"/>
                    <a:pt x="522" y="1094"/>
                    <a:pt x="522" y="1094"/>
                  </a:cubicBezTo>
                  <a:cubicBezTo>
                    <a:pt x="524" y="1094"/>
                    <a:pt x="524" y="1094"/>
                    <a:pt x="524" y="1094"/>
                  </a:cubicBezTo>
                  <a:cubicBezTo>
                    <a:pt x="529" y="1101"/>
                    <a:pt x="534" y="1109"/>
                    <a:pt x="539" y="1117"/>
                  </a:cubicBezTo>
                  <a:cubicBezTo>
                    <a:pt x="537" y="1117"/>
                    <a:pt x="537" y="1117"/>
                    <a:pt x="537" y="1117"/>
                  </a:cubicBezTo>
                  <a:cubicBezTo>
                    <a:pt x="537" y="1124"/>
                    <a:pt x="537" y="1124"/>
                    <a:pt x="537" y="1124"/>
                  </a:cubicBezTo>
                  <a:cubicBezTo>
                    <a:pt x="543" y="1124"/>
                    <a:pt x="543" y="1124"/>
                    <a:pt x="543" y="1124"/>
                  </a:cubicBezTo>
                  <a:cubicBezTo>
                    <a:pt x="547" y="1131"/>
                    <a:pt x="550" y="1138"/>
                    <a:pt x="553" y="1146"/>
                  </a:cubicBezTo>
                  <a:cubicBezTo>
                    <a:pt x="551" y="1146"/>
                    <a:pt x="551" y="1146"/>
                    <a:pt x="551" y="1146"/>
                  </a:cubicBezTo>
                  <a:cubicBezTo>
                    <a:pt x="551" y="1153"/>
                    <a:pt x="551" y="1153"/>
                    <a:pt x="551" y="1153"/>
                  </a:cubicBezTo>
                  <a:cubicBezTo>
                    <a:pt x="556" y="1153"/>
                    <a:pt x="556" y="1153"/>
                    <a:pt x="556" y="1153"/>
                  </a:cubicBezTo>
                  <a:cubicBezTo>
                    <a:pt x="557" y="1156"/>
                    <a:pt x="557" y="1158"/>
                    <a:pt x="558" y="1161"/>
                  </a:cubicBezTo>
                  <a:cubicBezTo>
                    <a:pt x="551" y="1161"/>
                    <a:pt x="551" y="1161"/>
                    <a:pt x="551" y="1161"/>
                  </a:cubicBezTo>
                  <a:cubicBezTo>
                    <a:pt x="551" y="1168"/>
                    <a:pt x="551" y="1168"/>
                    <a:pt x="551" y="1168"/>
                  </a:cubicBezTo>
                  <a:cubicBezTo>
                    <a:pt x="558" y="1168"/>
                    <a:pt x="558" y="1168"/>
                    <a:pt x="558" y="1168"/>
                  </a:cubicBezTo>
                  <a:cubicBezTo>
                    <a:pt x="558" y="1161"/>
                    <a:pt x="558" y="1161"/>
                    <a:pt x="558" y="1161"/>
                  </a:cubicBezTo>
                  <a:cubicBezTo>
                    <a:pt x="563" y="1179"/>
                    <a:pt x="566" y="1197"/>
                    <a:pt x="566" y="1216"/>
                  </a:cubicBezTo>
                  <a:cubicBezTo>
                    <a:pt x="566" y="1235"/>
                    <a:pt x="563" y="1253"/>
                    <a:pt x="558" y="1271"/>
                  </a:cubicBezTo>
                  <a:cubicBezTo>
                    <a:pt x="558" y="1264"/>
                    <a:pt x="558" y="1264"/>
                    <a:pt x="558" y="1264"/>
                  </a:cubicBezTo>
                  <a:cubicBezTo>
                    <a:pt x="551" y="1264"/>
                    <a:pt x="551" y="1264"/>
                    <a:pt x="551" y="1264"/>
                  </a:cubicBezTo>
                  <a:cubicBezTo>
                    <a:pt x="551" y="1271"/>
                    <a:pt x="551" y="1271"/>
                    <a:pt x="551" y="1271"/>
                  </a:cubicBezTo>
                  <a:cubicBezTo>
                    <a:pt x="558" y="1271"/>
                    <a:pt x="558" y="1271"/>
                    <a:pt x="558" y="1271"/>
                  </a:cubicBezTo>
                  <a:cubicBezTo>
                    <a:pt x="557" y="1274"/>
                    <a:pt x="557" y="1276"/>
                    <a:pt x="556" y="1279"/>
                  </a:cubicBezTo>
                  <a:cubicBezTo>
                    <a:pt x="551" y="1279"/>
                    <a:pt x="551" y="1279"/>
                    <a:pt x="551" y="1279"/>
                  </a:cubicBezTo>
                  <a:cubicBezTo>
                    <a:pt x="551" y="1286"/>
                    <a:pt x="551" y="1286"/>
                    <a:pt x="551" y="1286"/>
                  </a:cubicBezTo>
                  <a:cubicBezTo>
                    <a:pt x="553" y="1286"/>
                    <a:pt x="553" y="1286"/>
                    <a:pt x="553" y="1286"/>
                  </a:cubicBezTo>
                  <a:cubicBezTo>
                    <a:pt x="550" y="1294"/>
                    <a:pt x="547" y="1301"/>
                    <a:pt x="543" y="1308"/>
                  </a:cubicBezTo>
                  <a:cubicBezTo>
                    <a:pt x="537" y="1308"/>
                    <a:pt x="537" y="1308"/>
                    <a:pt x="537" y="1308"/>
                  </a:cubicBezTo>
                  <a:cubicBezTo>
                    <a:pt x="537" y="1315"/>
                    <a:pt x="537" y="1315"/>
                    <a:pt x="537" y="1315"/>
                  </a:cubicBezTo>
                  <a:cubicBezTo>
                    <a:pt x="539" y="1315"/>
                    <a:pt x="539" y="1315"/>
                    <a:pt x="539" y="1315"/>
                  </a:cubicBezTo>
                  <a:cubicBezTo>
                    <a:pt x="534" y="1323"/>
                    <a:pt x="529" y="1331"/>
                    <a:pt x="524" y="1338"/>
                  </a:cubicBezTo>
                  <a:cubicBezTo>
                    <a:pt x="522" y="1338"/>
                    <a:pt x="522" y="1338"/>
                    <a:pt x="522" y="1338"/>
                  </a:cubicBezTo>
                  <a:cubicBezTo>
                    <a:pt x="522" y="1340"/>
                    <a:pt x="522" y="1340"/>
                    <a:pt x="522" y="1340"/>
                  </a:cubicBezTo>
                  <a:cubicBezTo>
                    <a:pt x="518" y="1344"/>
                    <a:pt x="514" y="1349"/>
                    <a:pt x="511" y="1353"/>
                  </a:cubicBezTo>
                  <a:cubicBezTo>
                    <a:pt x="507" y="1353"/>
                    <a:pt x="507" y="1353"/>
                    <a:pt x="507" y="1353"/>
                  </a:cubicBezTo>
                  <a:cubicBezTo>
                    <a:pt x="507" y="1356"/>
                    <a:pt x="507" y="1356"/>
                    <a:pt x="507" y="1356"/>
                  </a:cubicBezTo>
                  <a:cubicBezTo>
                    <a:pt x="503" y="1360"/>
                    <a:pt x="499" y="1364"/>
                    <a:pt x="494" y="1367"/>
                  </a:cubicBezTo>
                  <a:cubicBezTo>
                    <a:pt x="492" y="1367"/>
                    <a:pt x="492" y="1367"/>
                    <a:pt x="492" y="1367"/>
                  </a:cubicBezTo>
                  <a:cubicBezTo>
                    <a:pt x="492" y="1369"/>
                    <a:pt x="492" y="1369"/>
                    <a:pt x="492" y="1369"/>
                  </a:cubicBezTo>
                  <a:cubicBezTo>
                    <a:pt x="485" y="1375"/>
                    <a:pt x="478" y="1380"/>
                    <a:pt x="470" y="1385"/>
                  </a:cubicBezTo>
                  <a:cubicBezTo>
                    <a:pt x="470" y="1382"/>
                    <a:pt x="470" y="1382"/>
                    <a:pt x="470" y="1382"/>
                  </a:cubicBezTo>
                  <a:cubicBezTo>
                    <a:pt x="463" y="1382"/>
                    <a:pt x="463" y="1382"/>
                    <a:pt x="463" y="1382"/>
                  </a:cubicBezTo>
                  <a:cubicBezTo>
                    <a:pt x="463" y="1388"/>
                    <a:pt x="463" y="1388"/>
                    <a:pt x="463" y="1388"/>
                  </a:cubicBezTo>
                  <a:cubicBezTo>
                    <a:pt x="456" y="1392"/>
                    <a:pt x="448" y="1396"/>
                    <a:pt x="440" y="1399"/>
                  </a:cubicBezTo>
                  <a:cubicBezTo>
                    <a:pt x="440" y="1397"/>
                    <a:pt x="440" y="1397"/>
                    <a:pt x="440" y="1397"/>
                  </a:cubicBezTo>
                  <a:cubicBezTo>
                    <a:pt x="433" y="1397"/>
                    <a:pt x="433" y="1397"/>
                    <a:pt x="433" y="1397"/>
                  </a:cubicBezTo>
                  <a:cubicBezTo>
                    <a:pt x="433" y="1401"/>
                    <a:pt x="433" y="1401"/>
                    <a:pt x="433" y="1401"/>
                  </a:cubicBezTo>
                  <a:cubicBezTo>
                    <a:pt x="431" y="1402"/>
                    <a:pt x="428" y="1403"/>
                    <a:pt x="426" y="1404"/>
                  </a:cubicBezTo>
                  <a:cubicBezTo>
                    <a:pt x="426" y="1397"/>
                    <a:pt x="426" y="1397"/>
                    <a:pt x="426" y="1397"/>
                  </a:cubicBezTo>
                  <a:cubicBezTo>
                    <a:pt x="419" y="1397"/>
                    <a:pt x="419" y="1397"/>
                    <a:pt x="419" y="1397"/>
                  </a:cubicBezTo>
                  <a:cubicBezTo>
                    <a:pt x="419" y="1404"/>
                    <a:pt x="419" y="1404"/>
                    <a:pt x="419" y="1404"/>
                  </a:cubicBezTo>
                  <a:cubicBezTo>
                    <a:pt x="425" y="1404"/>
                    <a:pt x="425" y="1404"/>
                    <a:pt x="425" y="1404"/>
                  </a:cubicBezTo>
                  <a:cubicBezTo>
                    <a:pt x="408" y="1409"/>
                    <a:pt x="390" y="1412"/>
                    <a:pt x="371" y="1412"/>
                  </a:cubicBezTo>
                  <a:cubicBezTo>
                    <a:pt x="352" y="1412"/>
                    <a:pt x="333" y="1409"/>
                    <a:pt x="316" y="1404"/>
                  </a:cubicBezTo>
                  <a:cubicBezTo>
                    <a:pt x="322" y="1404"/>
                    <a:pt x="322" y="1404"/>
                    <a:pt x="322" y="1404"/>
                  </a:cubicBezTo>
                  <a:cubicBezTo>
                    <a:pt x="322" y="1397"/>
                    <a:pt x="322" y="1397"/>
                    <a:pt x="322" y="1397"/>
                  </a:cubicBezTo>
                  <a:cubicBezTo>
                    <a:pt x="315" y="1397"/>
                    <a:pt x="315" y="1397"/>
                    <a:pt x="315" y="1397"/>
                  </a:cubicBezTo>
                  <a:cubicBezTo>
                    <a:pt x="315" y="1404"/>
                    <a:pt x="315" y="1404"/>
                    <a:pt x="315" y="1404"/>
                  </a:cubicBezTo>
                  <a:cubicBezTo>
                    <a:pt x="313" y="1403"/>
                    <a:pt x="310" y="1402"/>
                    <a:pt x="308" y="1401"/>
                  </a:cubicBezTo>
                  <a:cubicBezTo>
                    <a:pt x="308" y="1397"/>
                    <a:pt x="308" y="1397"/>
                    <a:pt x="308" y="1397"/>
                  </a:cubicBezTo>
                  <a:cubicBezTo>
                    <a:pt x="301" y="1397"/>
                    <a:pt x="301" y="1397"/>
                    <a:pt x="301" y="1397"/>
                  </a:cubicBezTo>
                  <a:cubicBezTo>
                    <a:pt x="301" y="1399"/>
                    <a:pt x="301" y="1399"/>
                    <a:pt x="301" y="1399"/>
                  </a:cubicBezTo>
                  <a:cubicBezTo>
                    <a:pt x="293" y="1396"/>
                    <a:pt x="285" y="1392"/>
                    <a:pt x="278" y="1388"/>
                  </a:cubicBezTo>
                  <a:cubicBezTo>
                    <a:pt x="278" y="1382"/>
                    <a:pt x="278" y="1382"/>
                    <a:pt x="278" y="1382"/>
                  </a:cubicBezTo>
                  <a:cubicBezTo>
                    <a:pt x="271" y="1382"/>
                    <a:pt x="271" y="1382"/>
                    <a:pt x="271" y="1382"/>
                  </a:cubicBezTo>
                  <a:cubicBezTo>
                    <a:pt x="271" y="1385"/>
                    <a:pt x="271" y="1385"/>
                    <a:pt x="271" y="1385"/>
                  </a:cubicBezTo>
                  <a:cubicBezTo>
                    <a:pt x="263" y="1380"/>
                    <a:pt x="256" y="1375"/>
                    <a:pt x="249" y="1369"/>
                  </a:cubicBezTo>
                  <a:cubicBezTo>
                    <a:pt x="249" y="1367"/>
                    <a:pt x="249" y="1367"/>
                    <a:pt x="249" y="1367"/>
                  </a:cubicBezTo>
                  <a:cubicBezTo>
                    <a:pt x="247" y="1367"/>
                    <a:pt x="247" y="1367"/>
                    <a:pt x="247" y="1367"/>
                  </a:cubicBezTo>
                  <a:cubicBezTo>
                    <a:pt x="242" y="1364"/>
                    <a:pt x="238" y="1360"/>
                    <a:pt x="234" y="1356"/>
                  </a:cubicBezTo>
                  <a:cubicBezTo>
                    <a:pt x="234" y="1353"/>
                    <a:pt x="234" y="1353"/>
                    <a:pt x="234" y="1353"/>
                  </a:cubicBezTo>
                  <a:cubicBezTo>
                    <a:pt x="231" y="1353"/>
                    <a:pt x="231" y="1353"/>
                    <a:pt x="231" y="1353"/>
                  </a:cubicBezTo>
                  <a:cubicBezTo>
                    <a:pt x="227" y="1349"/>
                    <a:pt x="223" y="1344"/>
                    <a:pt x="219" y="1340"/>
                  </a:cubicBezTo>
                  <a:cubicBezTo>
                    <a:pt x="219" y="1338"/>
                    <a:pt x="219" y="1338"/>
                    <a:pt x="219" y="1338"/>
                  </a:cubicBezTo>
                  <a:cubicBezTo>
                    <a:pt x="218" y="1338"/>
                    <a:pt x="218" y="1338"/>
                    <a:pt x="218" y="1338"/>
                  </a:cubicBezTo>
                  <a:cubicBezTo>
                    <a:pt x="212" y="1331"/>
                    <a:pt x="207" y="1323"/>
                    <a:pt x="202" y="1315"/>
                  </a:cubicBezTo>
                  <a:cubicBezTo>
                    <a:pt x="204" y="1315"/>
                    <a:pt x="204" y="1315"/>
                    <a:pt x="204" y="1315"/>
                  </a:cubicBezTo>
                  <a:cubicBezTo>
                    <a:pt x="204" y="1308"/>
                    <a:pt x="204" y="1308"/>
                    <a:pt x="204" y="1308"/>
                  </a:cubicBezTo>
                  <a:cubicBezTo>
                    <a:pt x="198" y="1308"/>
                    <a:pt x="198" y="1308"/>
                    <a:pt x="198" y="1308"/>
                  </a:cubicBezTo>
                  <a:cubicBezTo>
                    <a:pt x="194" y="1301"/>
                    <a:pt x="191" y="1294"/>
                    <a:pt x="188" y="1286"/>
                  </a:cubicBezTo>
                  <a:cubicBezTo>
                    <a:pt x="190" y="1286"/>
                    <a:pt x="190" y="1286"/>
                    <a:pt x="190" y="1286"/>
                  </a:cubicBezTo>
                  <a:cubicBezTo>
                    <a:pt x="190" y="1279"/>
                    <a:pt x="190" y="1279"/>
                    <a:pt x="190" y="1279"/>
                  </a:cubicBezTo>
                  <a:cubicBezTo>
                    <a:pt x="185" y="1279"/>
                    <a:pt x="185" y="1279"/>
                    <a:pt x="185" y="1279"/>
                  </a:cubicBezTo>
                  <a:cubicBezTo>
                    <a:pt x="184" y="1276"/>
                    <a:pt x="184" y="1274"/>
                    <a:pt x="183" y="1271"/>
                  </a:cubicBezTo>
                  <a:cubicBezTo>
                    <a:pt x="190" y="1271"/>
                    <a:pt x="190" y="1271"/>
                    <a:pt x="190" y="1271"/>
                  </a:cubicBezTo>
                  <a:cubicBezTo>
                    <a:pt x="190" y="1264"/>
                    <a:pt x="190" y="1264"/>
                    <a:pt x="190" y="1264"/>
                  </a:cubicBezTo>
                  <a:cubicBezTo>
                    <a:pt x="183" y="1264"/>
                    <a:pt x="183" y="1264"/>
                    <a:pt x="183" y="1264"/>
                  </a:cubicBezTo>
                  <a:cubicBezTo>
                    <a:pt x="183" y="1271"/>
                    <a:pt x="183" y="1271"/>
                    <a:pt x="183" y="1271"/>
                  </a:cubicBezTo>
                  <a:cubicBezTo>
                    <a:pt x="178" y="1253"/>
                    <a:pt x="175" y="1235"/>
                    <a:pt x="175" y="1216"/>
                  </a:cubicBezTo>
                  <a:cubicBezTo>
                    <a:pt x="175" y="1197"/>
                    <a:pt x="178" y="1179"/>
                    <a:pt x="183" y="1161"/>
                  </a:cubicBezTo>
                  <a:cubicBezTo>
                    <a:pt x="183" y="1168"/>
                    <a:pt x="183" y="1168"/>
                    <a:pt x="183" y="1168"/>
                  </a:cubicBezTo>
                  <a:cubicBezTo>
                    <a:pt x="190" y="1168"/>
                    <a:pt x="190" y="1168"/>
                    <a:pt x="190" y="1168"/>
                  </a:cubicBezTo>
                  <a:cubicBezTo>
                    <a:pt x="190" y="1161"/>
                    <a:pt x="190" y="1161"/>
                    <a:pt x="190" y="1161"/>
                  </a:cubicBezTo>
                  <a:cubicBezTo>
                    <a:pt x="183" y="1161"/>
                    <a:pt x="183" y="1161"/>
                    <a:pt x="183" y="1161"/>
                  </a:cubicBezTo>
                  <a:cubicBezTo>
                    <a:pt x="184" y="1158"/>
                    <a:pt x="184" y="1156"/>
                    <a:pt x="185" y="1153"/>
                  </a:cubicBezTo>
                  <a:cubicBezTo>
                    <a:pt x="190" y="1153"/>
                    <a:pt x="190" y="1153"/>
                    <a:pt x="190" y="1153"/>
                  </a:cubicBezTo>
                  <a:cubicBezTo>
                    <a:pt x="190" y="1146"/>
                    <a:pt x="190" y="1146"/>
                    <a:pt x="190" y="1146"/>
                  </a:cubicBezTo>
                  <a:cubicBezTo>
                    <a:pt x="188" y="1146"/>
                    <a:pt x="188" y="1146"/>
                    <a:pt x="188" y="1146"/>
                  </a:cubicBezTo>
                  <a:cubicBezTo>
                    <a:pt x="191" y="1138"/>
                    <a:pt x="194" y="1131"/>
                    <a:pt x="198" y="1124"/>
                  </a:cubicBezTo>
                  <a:cubicBezTo>
                    <a:pt x="204" y="1124"/>
                    <a:pt x="204" y="1124"/>
                    <a:pt x="204" y="1124"/>
                  </a:cubicBezTo>
                  <a:cubicBezTo>
                    <a:pt x="204" y="1117"/>
                    <a:pt x="204" y="1117"/>
                    <a:pt x="204" y="1117"/>
                  </a:cubicBezTo>
                  <a:cubicBezTo>
                    <a:pt x="202" y="1117"/>
                    <a:pt x="202" y="1117"/>
                    <a:pt x="202" y="1117"/>
                  </a:cubicBezTo>
                  <a:cubicBezTo>
                    <a:pt x="207" y="1109"/>
                    <a:pt x="212" y="1101"/>
                    <a:pt x="218" y="1094"/>
                  </a:cubicBezTo>
                  <a:cubicBezTo>
                    <a:pt x="219" y="1094"/>
                    <a:pt x="219" y="1094"/>
                    <a:pt x="219" y="1094"/>
                  </a:cubicBezTo>
                  <a:cubicBezTo>
                    <a:pt x="219" y="1092"/>
                    <a:pt x="219" y="1092"/>
                    <a:pt x="219" y="1092"/>
                  </a:cubicBezTo>
                  <a:cubicBezTo>
                    <a:pt x="223" y="1088"/>
                    <a:pt x="227" y="1083"/>
                    <a:pt x="231" y="1079"/>
                  </a:cubicBezTo>
                  <a:cubicBezTo>
                    <a:pt x="234" y="1079"/>
                    <a:pt x="234" y="1079"/>
                    <a:pt x="234" y="1079"/>
                  </a:cubicBezTo>
                  <a:cubicBezTo>
                    <a:pt x="234" y="1076"/>
                    <a:pt x="234" y="1076"/>
                    <a:pt x="234" y="1076"/>
                  </a:cubicBezTo>
                  <a:cubicBezTo>
                    <a:pt x="238" y="1072"/>
                    <a:pt x="242" y="1068"/>
                    <a:pt x="247" y="1065"/>
                  </a:cubicBezTo>
                  <a:cubicBezTo>
                    <a:pt x="249" y="1065"/>
                    <a:pt x="249" y="1065"/>
                    <a:pt x="249" y="1065"/>
                  </a:cubicBezTo>
                  <a:cubicBezTo>
                    <a:pt x="249" y="1063"/>
                    <a:pt x="249" y="1063"/>
                    <a:pt x="249" y="1063"/>
                  </a:cubicBezTo>
                  <a:cubicBezTo>
                    <a:pt x="256" y="1057"/>
                    <a:pt x="263" y="1052"/>
                    <a:pt x="271" y="1048"/>
                  </a:cubicBezTo>
                  <a:cubicBezTo>
                    <a:pt x="271" y="1050"/>
                    <a:pt x="271" y="1050"/>
                    <a:pt x="271" y="1050"/>
                  </a:cubicBezTo>
                  <a:cubicBezTo>
                    <a:pt x="278" y="1050"/>
                    <a:pt x="278" y="1050"/>
                    <a:pt x="278" y="1050"/>
                  </a:cubicBezTo>
                  <a:cubicBezTo>
                    <a:pt x="278" y="1044"/>
                    <a:pt x="278" y="1044"/>
                    <a:pt x="278" y="1044"/>
                  </a:cubicBezTo>
                  <a:cubicBezTo>
                    <a:pt x="285" y="1040"/>
                    <a:pt x="293" y="1036"/>
                    <a:pt x="301" y="1033"/>
                  </a:cubicBezTo>
                  <a:cubicBezTo>
                    <a:pt x="301" y="1035"/>
                    <a:pt x="301" y="1035"/>
                    <a:pt x="301" y="1035"/>
                  </a:cubicBezTo>
                  <a:cubicBezTo>
                    <a:pt x="308" y="1035"/>
                    <a:pt x="308" y="1035"/>
                    <a:pt x="308" y="1035"/>
                  </a:cubicBezTo>
                  <a:cubicBezTo>
                    <a:pt x="308" y="1031"/>
                    <a:pt x="308" y="1031"/>
                    <a:pt x="308" y="1031"/>
                  </a:cubicBezTo>
                  <a:cubicBezTo>
                    <a:pt x="310" y="1030"/>
                    <a:pt x="313" y="1029"/>
                    <a:pt x="315" y="1028"/>
                  </a:cubicBezTo>
                  <a:cubicBezTo>
                    <a:pt x="315" y="1035"/>
                    <a:pt x="315" y="1035"/>
                    <a:pt x="315" y="1035"/>
                  </a:cubicBezTo>
                  <a:cubicBezTo>
                    <a:pt x="322" y="1035"/>
                    <a:pt x="322" y="1035"/>
                    <a:pt x="322" y="1035"/>
                  </a:cubicBezTo>
                  <a:cubicBezTo>
                    <a:pt x="322" y="1028"/>
                    <a:pt x="322" y="1028"/>
                    <a:pt x="322" y="1028"/>
                  </a:cubicBezTo>
                  <a:cubicBezTo>
                    <a:pt x="316" y="1028"/>
                    <a:pt x="316" y="1028"/>
                    <a:pt x="316" y="1028"/>
                  </a:cubicBezTo>
                  <a:moveTo>
                    <a:pt x="41" y="873"/>
                  </a:moveTo>
                  <a:cubicBezTo>
                    <a:pt x="41" y="681"/>
                    <a:pt x="41" y="681"/>
                    <a:pt x="41" y="681"/>
                  </a:cubicBezTo>
                  <a:cubicBezTo>
                    <a:pt x="700" y="681"/>
                    <a:pt x="700" y="681"/>
                    <a:pt x="700" y="681"/>
                  </a:cubicBezTo>
                  <a:cubicBezTo>
                    <a:pt x="700" y="869"/>
                    <a:pt x="700" y="869"/>
                    <a:pt x="700" y="869"/>
                  </a:cubicBezTo>
                  <a:cubicBezTo>
                    <a:pt x="700" y="873"/>
                    <a:pt x="700" y="873"/>
                    <a:pt x="700" y="873"/>
                  </a:cubicBezTo>
                  <a:cubicBezTo>
                    <a:pt x="41" y="873"/>
                    <a:pt x="41" y="873"/>
                    <a:pt x="41" y="873"/>
                  </a:cubicBezTo>
                  <a:moveTo>
                    <a:pt x="45" y="525"/>
                  </a:moveTo>
                  <a:cubicBezTo>
                    <a:pt x="45" y="341"/>
                    <a:pt x="45" y="341"/>
                    <a:pt x="45" y="341"/>
                  </a:cubicBezTo>
                  <a:cubicBezTo>
                    <a:pt x="696" y="341"/>
                    <a:pt x="696" y="341"/>
                    <a:pt x="696" y="341"/>
                  </a:cubicBezTo>
                  <a:cubicBezTo>
                    <a:pt x="696" y="525"/>
                    <a:pt x="696" y="525"/>
                    <a:pt x="696" y="525"/>
                  </a:cubicBezTo>
                  <a:cubicBezTo>
                    <a:pt x="45" y="525"/>
                    <a:pt x="45" y="525"/>
                    <a:pt x="45" y="525"/>
                  </a:cubicBezTo>
                  <a:moveTo>
                    <a:pt x="45" y="320"/>
                  </a:moveTo>
                  <a:cubicBezTo>
                    <a:pt x="45" y="136"/>
                    <a:pt x="45" y="136"/>
                    <a:pt x="45" y="136"/>
                  </a:cubicBezTo>
                  <a:cubicBezTo>
                    <a:pt x="696" y="136"/>
                    <a:pt x="696" y="136"/>
                    <a:pt x="696" y="136"/>
                  </a:cubicBezTo>
                  <a:cubicBezTo>
                    <a:pt x="696" y="320"/>
                    <a:pt x="696" y="320"/>
                    <a:pt x="696" y="320"/>
                  </a:cubicBezTo>
                  <a:cubicBezTo>
                    <a:pt x="45" y="320"/>
                    <a:pt x="45" y="320"/>
                    <a:pt x="45" y="320"/>
                  </a:cubicBezTo>
                  <a:moveTo>
                    <a:pt x="678" y="0"/>
                  </a:move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1492"/>
                    <a:pt x="0" y="1492"/>
                    <a:pt x="0" y="1492"/>
                  </a:cubicBezTo>
                  <a:cubicBezTo>
                    <a:pt x="0" y="1527"/>
                    <a:pt x="28" y="1555"/>
                    <a:pt x="63" y="1555"/>
                  </a:cubicBezTo>
                  <a:cubicBezTo>
                    <a:pt x="678" y="1555"/>
                    <a:pt x="678" y="1555"/>
                    <a:pt x="678" y="1555"/>
                  </a:cubicBezTo>
                  <a:cubicBezTo>
                    <a:pt x="713" y="1555"/>
                    <a:pt x="741" y="1527"/>
                    <a:pt x="741" y="1492"/>
                  </a:cubicBezTo>
                  <a:cubicBezTo>
                    <a:pt x="741" y="62"/>
                    <a:pt x="741" y="62"/>
                    <a:pt x="741" y="62"/>
                  </a:cubicBezTo>
                  <a:cubicBezTo>
                    <a:pt x="741" y="28"/>
                    <a:pt x="713" y="0"/>
                    <a:pt x="678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îṧľíḓé">
              <a:extLst>
                <a:ext uri="{FF2B5EF4-FFF2-40B4-BE49-F238E27FC236}">
                  <a16:creationId xmlns:a16="http://schemas.microsoft.com/office/drawing/2014/main" xmlns="" id="{1F0CBDBC-1103-437A-AE13-515BC5FCBDEC}"/>
                </a:ext>
              </a:extLst>
            </p:cNvPr>
            <p:cNvSpPr/>
            <p:nvPr/>
          </p:nvSpPr>
          <p:spPr bwMode="auto">
            <a:xfrm>
              <a:off x="2841076" y="3241765"/>
              <a:ext cx="1417636" cy="40005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ísļïďe">
              <a:extLst>
                <a:ext uri="{FF2B5EF4-FFF2-40B4-BE49-F238E27FC236}">
                  <a16:creationId xmlns:a16="http://schemas.microsoft.com/office/drawing/2014/main" xmlns="" id="{40E63D5F-B59B-4993-AE87-808F5946DEA5}"/>
                </a:ext>
              </a:extLst>
            </p:cNvPr>
            <p:cNvSpPr/>
            <p:nvPr/>
          </p:nvSpPr>
          <p:spPr bwMode="auto">
            <a:xfrm>
              <a:off x="2841076" y="3241765"/>
              <a:ext cx="1417636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ïsḻîḑè">
              <a:extLst>
                <a:ext uri="{FF2B5EF4-FFF2-40B4-BE49-F238E27FC236}">
                  <a16:creationId xmlns:a16="http://schemas.microsoft.com/office/drawing/2014/main" xmlns="" id="{CC0269D1-704A-44A1-9C3F-6CDC17A23558}"/>
                </a:ext>
              </a:extLst>
            </p:cNvPr>
            <p:cNvSpPr/>
            <p:nvPr/>
          </p:nvSpPr>
          <p:spPr bwMode="auto">
            <a:xfrm>
              <a:off x="2833139" y="4427626"/>
              <a:ext cx="1435099" cy="417512"/>
            </a:xfrm>
            <a:custGeom>
              <a:avLst/>
              <a:gdLst>
                <a:gd name="T0" fmla="*/ 898 w 904"/>
                <a:gd name="T1" fmla="*/ 257 h 263"/>
                <a:gd name="T2" fmla="*/ 898 w 904"/>
                <a:gd name="T3" fmla="*/ 257 h 263"/>
                <a:gd name="T4" fmla="*/ 898 w 904"/>
                <a:gd name="T5" fmla="*/ 252 h 263"/>
                <a:gd name="T6" fmla="*/ 898 w 904"/>
                <a:gd name="T7" fmla="*/ 257 h 263"/>
                <a:gd name="T8" fmla="*/ 904 w 904"/>
                <a:gd name="T9" fmla="*/ 257 h 263"/>
                <a:gd name="T10" fmla="*/ 898 w 904"/>
                <a:gd name="T11" fmla="*/ 257 h 263"/>
                <a:gd name="T12" fmla="*/ 10 w 904"/>
                <a:gd name="T13" fmla="*/ 252 h 263"/>
                <a:gd name="T14" fmla="*/ 10 w 904"/>
                <a:gd name="T15" fmla="*/ 11 h 263"/>
                <a:gd name="T16" fmla="*/ 893 w 904"/>
                <a:gd name="T17" fmla="*/ 11 h 263"/>
                <a:gd name="T18" fmla="*/ 893 w 904"/>
                <a:gd name="T19" fmla="*/ 252 h 263"/>
                <a:gd name="T20" fmla="*/ 10 w 904"/>
                <a:gd name="T21" fmla="*/ 252 h 263"/>
                <a:gd name="T22" fmla="*/ 904 w 904"/>
                <a:gd name="T23" fmla="*/ 0 h 263"/>
                <a:gd name="T24" fmla="*/ 0 w 904"/>
                <a:gd name="T25" fmla="*/ 0 h 263"/>
                <a:gd name="T26" fmla="*/ 0 w 904"/>
                <a:gd name="T27" fmla="*/ 263 h 263"/>
                <a:gd name="T28" fmla="*/ 904 w 904"/>
                <a:gd name="T29" fmla="*/ 263 h 263"/>
                <a:gd name="T30" fmla="*/ 904 w 904"/>
                <a:gd name="T31" fmla="*/ 257 h 263"/>
                <a:gd name="T32" fmla="*/ 904 w 904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4" h="263">
                  <a:moveTo>
                    <a:pt x="898" y="257"/>
                  </a:moveTo>
                  <a:lnTo>
                    <a:pt x="898" y="257"/>
                  </a:lnTo>
                  <a:lnTo>
                    <a:pt x="898" y="252"/>
                  </a:lnTo>
                  <a:lnTo>
                    <a:pt x="898" y="257"/>
                  </a:lnTo>
                  <a:lnTo>
                    <a:pt x="904" y="257"/>
                  </a:lnTo>
                  <a:lnTo>
                    <a:pt x="898" y="257"/>
                  </a:lnTo>
                  <a:close/>
                  <a:moveTo>
                    <a:pt x="10" y="252"/>
                  </a:moveTo>
                  <a:lnTo>
                    <a:pt x="10" y="11"/>
                  </a:lnTo>
                  <a:lnTo>
                    <a:pt x="893" y="11"/>
                  </a:lnTo>
                  <a:lnTo>
                    <a:pt x="893" y="252"/>
                  </a:lnTo>
                  <a:lnTo>
                    <a:pt x="10" y="252"/>
                  </a:lnTo>
                  <a:close/>
                  <a:moveTo>
                    <a:pt x="904" y="0"/>
                  </a:move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7"/>
                  </a:lnTo>
                  <a:lnTo>
                    <a:pt x="904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îṧľídè">
              <a:extLst>
                <a:ext uri="{FF2B5EF4-FFF2-40B4-BE49-F238E27FC236}">
                  <a16:creationId xmlns:a16="http://schemas.microsoft.com/office/drawing/2014/main" xmlns="" id="{70E764D9-6041-4C98-A0BC-520307E94121}"/>
                </a:ext>
              </a:extLst>
            </p:cNvPr>
            <p:cNvSpPr/>
            <p:nvPr/>
          </p:nvSpPr>
          <p:spPr bwMode="auto">
            <a:xfrm>
              <a:off x="2833139" y="4427626"/>
              <a:ext cx="1435099" cy="417512"/>
            </a:xfrm>
            <a:custGeom>
              <a:avLst/>
              <a:gdLst>
                <a:gd name="T0" fmla="*/ 898 w 904"/>
                <a:gd name="T1" fmla="*/ 257 h 263"/>
                <a:gd name="T2" fmla="*/ 898 w 904"/>
                <a:gd name="T3" fmla="*/ 257 h 263"/>
                <a:gd name="T4" fmla="*/ 898 w 904"/>
                <a:gd name="T5" fmla="*/ 252 h 263"/>
                <a:gd name="T6" fmla="*/ 898 w 904"/>
                <a:gd name="T7" fmla="*/ 257 h 263"/>
                <a:gd name="T8" fmla="*/ 904 w 904"/>
                <a:gd name="T9" fmla="*/ 257 h 263"/>
                <a:gd name="T10" fmla="*/ 898 w 904"/>
                <a:gd name="T11" fmla="*/ 257 h 263"/>
                <a:gd name="T12" fmla="*/ 10 w 904"/>
                <a:gd name="T13" fmla="*/ 252 h 263"/>
                <a:gd name="T14" fmla="*/ 10 w 904"/>
                <a:gd name="T15" fmla="*/ 11 h 263"/>
                <a:gd name="T16" fmla="*/ 893 w 904"/>
                <a:gd name="T17" fmla="*/ 11 h 263"/>
                <a:gd name="T18" fmla="*/ 893 w 904"/>
                <a:gd name="T19" fmla="*/ 252 h 263"/>
                <a:gd name="T20" fmla="*/ 10 w 904"/>
                <a:gd name="T21" fmla="*/ 252 h 263"/>
                <a:gd name="T22" fmla="*/ 904 w 904"/>
                <a:gd name="T23" fmla="*/ 0 h 263"/>
                <a:gd name="T24" fmla="*/ 0 w 904"/>
                <a:gd name="T25" fmla="*/ 0 h 263"/>
                <a:gd name="T26" fmla="*/ 0 w 904"/>
                <a:gd name="T27" fmla="*/ 263 h 263"/>
                <a:gd name="T28" fmla="*/ 904 w 904"/>
                <a:gd name="T29" fmla="*/ 263 h 263"/>
                <a:gd name="T30" fmla="*/ 904 w 904"/>
                <a:gd name="T31" fmla="*/ 257 h 263"/>
                <a:gd name="T32" fmla="*/ 904 w 904"/>
                <a:gd name="T33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4" h="263">
                  <a:moveTo>
                    <a:pt x="898" y="257"/>
                  </a:moveTo>
                  <a:lnTo>
                    <a:pt x="898" y="257"/>
                  </a:lnTo>
                  <a:lnTo>
                    <a:pt x="898" y="252"/>
                  </a:lnTo>
                  <a:lnTo>
                    <a:pt x="898" y="257"/>
                  </a:lnTo>
                  <a:lnTo>
                    <a:pt x="904" y="257"/>
                  </a:lnTo>
                  <a:lnTo>
                    <a:pt x="898" y="257"/>
                  </a:lnTo>
                  <a:moveTo>
                    <a:pt x="10" y="252"/>
                  </a:moveTo>
                  <a:lnTo>
                    <a:pt x="10" y="11"/>
                  </a:lnTo>
                  <a:lnTo>
                    <a:pt x="893" y="11"/>
                  </a:lnTo>
                  <a:lnTo>
                    <a:pt x="893" y="252"/>
                  </a:lnTo>
                  <a:lnTo>
                    <a:pt x="10" y="252"/>
                  </a:lnTo>
                  <a:moveTo>
                    <a:pt x="904" y="0"/>
                  </a:move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7"/>
                  </a:lnTo>
                  <a:lnTo>
                    <a:pt x="9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îşliďê">
              <a:extLst>
                <a:ext uri="{FF2B5EF4-FFF2-40B4-BE49-F238E27FC236}">
                  <a16:creationId xmlns:a16="http://schemas.microsoft.com/office/drawing/2014/main" xmlns="" id="{76FBB70D-D952-4CD7-A0DA-78D6325AEECF}"/>
                </a:ext>
              </a:extLst>
            </p:cNvPr>
            <p:cNvSpPr/>
            <p:nvPr/>
          </p:nvSpPr>
          <p:spPr bwMode="auto">
            <a:xfrm>
              <a:off x="2841076" y="3687852"/>
              <a:ext cx="1417636" cy="400050"/>
            </a:xfrm>
            <a:custGeom>
              <a:avLst/>
              <a:gdLst>
                <a:gd name="T0" fmla="*/ 41 w 893"/>
                <a:gd name="T1" fmla="*/ 153 h 252"/>
                <a:gd name="T2" fmla="*/ 41 w 893"/>
                <a:gd name="T3" fmla="*/ 97 h 252"/>
                <a:gd name="T4" fmla="*/ 660 w 893"/>
                <a:gd name="T5" fmla="*/ 97 h 252"/>
                <a:gd name="T6" fmla="*/ 660 w 893"/>
                <a:gd name="T7" fmla="*/ 153 h 252"/>
                <a:gd name="T8" fmla="*/ 41 w 893"/>
                <a:gd name="T9" fmla="*/ 153 h 252"/>
                <a:gd name="T10" fmla="*/ 676 w 893"/>
                <a:gd name="T11" fmla="*/ 153 h 252"/>
                <a:gd name="T12" fmla="*/ 676 w 893"/>
                <a:gd name="T13" fmla="*/ 97 h 252"/>
                <a:gd name="T14" fmla="*/ 724 w 893"/>
                <a:gd name="T15" fmla="*/ 97 h 252"/>
                <a:gd name="T16" fmla="*/ 724 w 893"/>
                <a:gd name="T17" fmla="*/ 153 h 252"/>
                <a:gd name="T18" fmla="*/ 676 w 893"/>
                <a:gd name="T19" fmla="*/ 153 h 252"/>
                <a:gd name="T20" fmla="*/ 741 w 893"/>
                <a:gd name="T21" fmla="*/ 153 h 252"/>
                <a:gd name="T22" fmla="*/ 741 w 893"/>
                <a:gd name="T23" fmla="*/ 97 h 252"/>
                <a:gd name="T24" fmla="*/ 789 w 893"/>
                <a:gd name="T25" fmla="*/ 97 h 252"/>
                <a:gd name="T26" fmla="*/ 789 w 893"/>
                <a:gd name="T27" fmla="*/ 153 h 252"/>
                <a:gd name="T28" fmla="*/ 741 w 893"/>
                <a:gd name="T29" fmla="*/ 153 h 252"/>
                <a:gd name="T30" fmla="*/ 804 w 893"/>
                <a:gd name="T31" fmla="*/ 153 h 252"/>
                <a:gd name="T32" fmla="*/ 804 w 893"/>
                <a:gd name="T33" fmla="*/ 97 h 252"/>
                <a:gd name="T34" fmla="*/ 852 w 893"/>
                <a:gd name="T35" fmla="*/ 97 h 252"/>
                <a:gd name="T36" fmla="*/ 852 w 893"/>
                <a:gd name="T37" fmla="*/ 153 h 252"/>
                <a:gd name="T38" fmla="*/ 804 w 893"/>
                <a:gd name="T39" fmla="*/ 153 h 252"/>
                <a:gd name="T40" fmla="*/ 893 w 893"/>
                <a:gd name="T41" fmla="*/ 0 h 252"/>
                <a:gd name="T42" fmla="*/ 0 w 893"/>
                <a:gd name="T43" fmla="*/ 0 h 252"/>
                <a:gd name="T44" fmla="*/ 0 w 893"/>
                <a:gd name="T45" fmla="*/ 252 h 252"/>
                <a:gd name="T46" fmla="*/ 893 w 893"/>
                <a:gd name="T47" fmla="*/ 252 h 252"/>
                <a:gd name="T48" fmla="*/ 893 w 893"/>
                <a:gd name="T49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3" h="252">
                  <a:moveTo>
                    <a:pt x="41" y="153"/>
                  </a:moveTo>
                  <a:lnTo>
                    <a:pt x="41" y="97"/>
                  </a:lnTo>
                  <a:lnTo>
                    <a:pt x="660" y="97"/>
                  </a:lnTo>
                  <a:lnTo>
                    <a:pt x="660" y="153"/>
                  </a:lnTo>
                  <a:lnTo>
                    <a:pt x="41" y="153"/>
                  </a:lnTo>
                  <a:close/>
                  <a:moveTo>
                    <a:pt x="676" y="153"/>
                  </a:moveTo>
                  <a:lnTo>
                    <a:pt x="676" y="97"/>
                  </a:lnTo>
                  <a:lnTo>
                    <a:pt x="724" y="97"/>
                  </a:lnTo>
                  <a:lnTo>
                    <a:pt x="724" y="153"/>
                  </a:lnTo>
                  <a:lnTo>
                    <a:pt x="676" y="153"/>
                  </a:lnTo>
                  <a:close/>
                  <a:moveTo>
                    <a:pt x="741" y="153"/>
                  </a:moveTo>
                  <a:lnTo>
                    <a:pt x="741" y="97"/>
                  </a:lnTo>
                  <a:lnTo>
                    <a:pt x="789" y="97"/>
                  </a:lnTo>
                  <a:lnTo>
                    <a:pt x="789" y="153"/>
                  </a:lnTo>
                  <a:lnTo>
                    <a:pt x="741" y="153"/>
                  </a:lnTo>
                  <a:close/>
                  <a:moveTo>
                    <a:pt x="804" y="153"/>
                  </a:moveTo>
                  <a:lnTo>
                    <a:pt x="804" y="97"/>
                  </a:lnTo>
                  <a:lnTo>
                    <a:pt x="852" y="97"/>
                  </a:lnTo>
                  <a:lnTo>
                    <a:pt x="852" y="153"/>
                  </a:lnTo>
                  <a:lnTo>
                    <a:pt x="804" y="153"/>
                  </a:lnTo>
                  <a:close/>
                  <a:moveTo>
                    <a:pt x="893" y="0"/>
                  </a:moveTo>
                  <a:lnTo>
                    <a:pt x="0" y="0"/>
                  </a:lnTo>
                  <a:lnTo>
                    <a:pt x="0" y="252"/>
                  </a:lnTo>
                  <a:lnTo>
                    <a:pt x="893" y="252"/>
                  </a:lnTo>
                  <a:lnTo>
                    <a:pt x="893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iṩḻiḑé">
              <a:extLst>
                <a:ext uri="{FF2B5EF4-FFF2-40B4-BE49-F238E27FC236}">
                  <a16:creationId xmlns:a16="http://schemas.microsoft.com/office/drawing/2014/main" xmlns="" id="{CFCD0186-E33E-4B9E-A1F1-D01553D1C9E3}"/>
                </a:ext>
              </a:extLst>
            </p:cNvPr>
            <p:cNvSpPr/>
            <p:nvPr/>
          </p:nvSpPr>
          <p:spPr bwMode="auto">
            <a:xfrm>
              <a:off x="2841076" y="3687852"/>
              <a:ext cx="1417636" cy="400050"/>
            </a:xfrm>
            <a:custGeom>
              <a:avLst/>
              <a:gdLst>
                <a:gd name="T0" fmla="*/ 41 w 893"/>
                <a:gd name="T1" fmla="*/ 153 h 252"/>
                <a:gd name="T2" fmla="*/ 41 w 893"/>
                <a:gd name="T3" fmla="*/ 97 h 252"/>
                <a:gd name="T4" fmla="*/ 660 w 893"/>
                <a:gd name="T5" fmla="*/ 97 h 252"/>
                <a:gd name="T6" fmla="*/ 660 w 893"/>
                <a:gd name="T7" fmla="*/ 153 h 252"/>
                <a:gd name="T8" fmla="*/ 41 w 893"/>
                <a:gd name="T9" fmla="*/ 153 h 252"/>
                <a:gd name="T10" fmla="*/ 676 w 893"/>
                <a:gd name="T11" fmla="*/ 153 h 252"/>
                <a:gd name="T12" fmla="*/ 676 w 893"/>
                <a:gd name="T13" fmla="*/ 97 h 252"/>
                <a:gd name="T14" fmla="*/ 724 w 893"/>
                <a:gd name="T15" fmla="*/ 97 h 252"/>
                <a:gd name="T16" fmla="*/ 724 w 893"/>
                <a:gd name="T17" fmla="*/ 153 h 252"/>
                <a:gd name="T18" fmla="*/ 676 w 893"/>
                <a:gd name="T19" fmla="*/ 153 h 252"/>
                <a:gd name="T20" fmla="*/ 741 w 893"/>
                <a:gd name="T21" fmla="*/ 153 h 252"/>
                <a:gd name="T22" fmla="*/ 741 w 893"/>
                <a:gd name="T23" fmla="*/ 97 h 252"/>
                <a:gd name="T24" fmla="*/ 789 w 893"/>
                <a:gd name="T25" fmla="*/ 97 h 252"/>
                <a:gd name="T26" fmla="*/ 789 w 893"/>
                <a:gd name="T27" fmla="*/ 153 h 252"/>
                <a:gd name="T28" fmla="*/ 741 w 893"/>
                <a:gd name="T29" fmla="*/ 153 h 252"/>
                <a:gd name="T30" fmla="*/ 804 w 893"/>
                <a:gd name="T31" fmla="*/ 153 h 252"/>
                <a:gd name="T32" fmla="*/ 804 w 893"/>
                <a:gd name="T33" fmla="*/ 97 h 252"/>
                <a:gd name="T34" fmla="*/ 852 w 893"/>
                <a:gd name="T35" fmla="*/ 97 h 252"/>
                <a:gd name="T36" fmla="*/ 852 w 893"/>
                <a:gd name="T37" fmla="*/ 153 h 252"/>
                <a:gd name="T38" fmla="*/ 804 w 893"/>
                <a:gd name="T39" fmla="*/ 153 h 252"/>
                <a:gd name="T40" fmla="*/ 893 w 893"/>
                <a:gd name="T41" fmla="*/ 0 h 252"/>
                <a:gd name="T42" fmla="*/ 0 w 893"/>
                <a:gd name="T43" fmla="*/ 0 h 252"/>
                <a:gd name="T44" fmla="*/ 0 w 893"/>
                <a:gd name="T45" fmla="*/ 252 h 252"/>
                <a:gd name="T46" fmla="*/ 893 w 893"/>
                <a:gd name="T47" fmla="*/ 252 h 252"/>
                <a:gd name="T48" fmla="*/ 893 w 893"/>
                <a:gd name="T49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3" h="252">
                  <a:moveTo>
                    <a:pt x="41" y="153"/>
                  </a:moveTo>
                  <a:lnTo>
                    <a:pt x="41" y="97"/>
                  </a:lnTo>
                  <a:lnTo>
                    <a:pt x="660" y="97"/>
                  </a:lnTo>
                  <a:lnTo>
                    <a:pt x="660" y="153"/>
                  </a:lnTo>
                  <a:lnTo>
                    <a:pt x="41" y="153"/>
                  </a:lnTo>
                  <a:moveTo>
                    <a:pt x="676" y="153"/>
                  </a:moveTo>
                  <a:lnTo>
                    <a:pt x="676" y="97"/>
                  </a:lnTo>
                  <a:lnTo>
                    <a:pt x="724" y="97"/>
                  </a:lnTo>
                  <a:lnTo>
                    <a:pt x="724" y="153"/>
                  </a:lnTo>
                  <a:lnTo>
                    <a:pt x="676" y="153"/>
                  </a:lnTo>
                  <a:moveTo>
                    <a:pt x="741" y="153"/>
                  </a:moveTo>
                  <a:lnTo>
                    <a:pt x="741" y="97"/>
                  </a:lnTo>
                  <a:lnTo>
                    <a:pt x="789" y="97"/>
                  </a:lnTo>
                  <a:lnTo>
                    <a:pt x="789" y="153"/>
                  </a:lnTo>
                  <a:lnTo>
                    <a:pt x="741" y="153"/>
                  </a:lnTo>
                  <a:moveTo>
                    <a:pt x="804" y="153"/>
                  </a:moveTo>
                  <a:lnTo>
                    <a:pt x="804" y="97"/>
                  </a:lnTo>
                  <a:lnTo>
                    <a:pt x="852" y="97"/>
                  </a:lnTo>
                  <a:lnTo>
                    <a:pt x="852" y="153"/>
                  </a:lnTo>
                  <a:lnTo>
                    <a:pt x="804" y="153"/>
                  </a:lnTo>
                  <a:moveTo>
                    <a:pt x="893" y="0"/>
                  </a:moveTo>
                  <a:lnTo>
                    <a:pt x="0" y="0"/>
                  </a:lnTo>
                  <a:lnTo>
                    <a:pt x="0" y="252"/>
                  </a:lnTo>
                  <a:lnTo>
                    <a:pt x="893" y="252"/>
                  </a:lnTo>
                  <a:lnTo>
                    <a:pt x="8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îšlïḍé">
              <a:extLst>
                <a:ext uri="{FF2B5EF4-FFF2-40B4-BE49-F238E27FC236}">
                  <a16:creationId xmlns:a16="http://schemas.microsoft.com/office/drawing/2014/main" xmlns="" id="{1149CDD3-7AB7-4D69-926C-5088BE3159CD}"/>
                </a:ext>
              </a:extLst>
            </p:cNvPr>
            <p:cNvSpPr/>
            <p:nvPr/>
          </p:nvSpPr>
          <p:spPr bwMode="auto">
            <a:xfrm>
              <a:off x="2906164" y="3841839"/>
              <a:ext cx="982662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ïSļïḍè">
              <a:extLst>
                <a:ext uri="{FF2B5EF4-FFF2-40B4-BE49-F238E27FC236}">
                  <a16:creationId xmlns:a16="http://schemas.microsoft.com/office/drawing/2014/main" xmlns="" id="{EC836A10-1676-41DB-8C30-16468F7C65F3}"/>
                </a:ext>
              </a:extLst>
            </p:cNvPr>
            <p:cNvSpPr/>
            <p:nvPr/>
          </p:nvSpPr>
          <p:spPr bwMode="auto">
            <a:xfrm>
              <a:off x="2906164" y="3841839"/>
              <a:ext cx="982662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ïśḷîḍé">
              <a:extLst>
                <a:ext uri="{FF2B5EF4-FFF2-40B4-BE49-F238E27FC236}">
                  <a16:creationId xmlns:a16="http://schemas.microsoft.com/office/drawing/2014/main" xmlns="" id="{4E927A2A-6A6B-4EF0-B616-90435F8398EE}"/>
                </a:ext>
              </a:extLst>
            </p:cNvPr>
            <p:cNvSpPr/>
            <p:nvPr/>
          </p:nvSpPr>
          <p:spPr bwMode="auto">
            <a:xfrm>
              <a:off x="3914225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í$ļiḓê">
              <a:extLst>
                <a:ext uri="{FF2B5EF4-FFF2-40B4-BE49-F238E27FC236}">
                  <a16:creationId xmlns:a16="http://schemas.microsoft.com/office/drawing/2014/main" xmlns="" id="{69A9F559-C60A-4FCC-88CB-57EA81AE2436}"/>
                </a:ext>
              </a:extLst>
            </p:cNvPr>
            <p:cNvSpPr/>
            <p:nvPr/>
          </p:nvSpPr>
          <p:spPr bwMode="auto">
            <a:xfrm>
              <a:off x="3914225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í$lïďè">
              <a:extLst>
                <a:ext uri="{FF2B5EF4-FFF2-40B4-BE49-F238E27FC236}">
                  <a16:creationId xmlns:a16="http://schemas.microsoft.com/office/drawing/2014/main" xmlns="" id="{864CCA8F-0D96-4F87-A309-0B958472A59C}"/>
                </a:ext>
              </a:extLst>
            </p:cNvPr>
            <p:cNvSpPr/>
            <p:nvPr/>
          </p:nvSpPr>
          <p:spPr bwMode="auto">
            <a:xfrm>
              <a:off x="4017413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iṣļíďé">
              <a:extLst>
                <a:ext uri="{FF2B5EF4-FFF2-40B4-BE49-F238E27FC236}">
                  <a16:creationId xmlns:a16="http://schemas.microsoft.com/office/drawing/2014/main" xmlns="" id="{52B16B2E-E1EE-476B-826E-EF011D673E26}"/>
                </a:ext>
              </a:extLst>
            </p:cNvPr>
            <p:cNvSpPr/>
            <p:nvPr/>
          </p:nvSpPr>
          <p:spPr bwMode="auto">
            <a:xfrm>
              <a:off x="4017413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iṧľïḍe">
              <a:extLst>
                <a:ext uri="{FF2B5EF4-FFF2-40B4-BE49-F238E27FC236}">
                  <a16:creationId xmlns:a16="http://schemas.microsoft.com/office/drawing/2014/main" xmlns="" id="{DCA4A26E-7FCA-4516-9696-5F1830950262}"/>
                </a:ext>
              </a:extLst>
            </p:cNvPr>
            <p:cNvSpPr/>
            <p:nvPr/>
          </p:nvSpPr>
          <p:spPr bwMode="auto">
            <a:xfrm>
              <a:off x="4117425" y="3841839"/>
              <a:ext cx="76200" cy="889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ïŝľïdé">
              <a:extLst>
                <a:ext uri="{FF2B5EF4-FFF2-40B4-BE49-F238E27FC236}">
                  <a16:creationId xmlns:a16="http://schemas.microsoft.com/office/drawing/2014/main" xmlns="" id="{92EB2922-B28B-4530-99DE-ABAD8660B3D8}"/>
                </a:ext>
              </a:extLst>
            </p:cNvPr>
            <p:cNvSpPr/>
            <p:nvPr/>
          </p:nvSpPr>
          <p:spPr bwMode="auto">
            <a:xfrm>
              <a:off x="4117425" y="3841839"/>
              <a:ext cx="76200" cy="88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iṩ1iďè">
              <a:extLst>
                <a:ext uri="{FF2B5EF4-FFF2-40B4-BE49-F238E27FC236}">
                  <a16:creationId xmlns:a16="http://schemas.microsoft.com/office/drawing/2014/main" xmlns="" id="{295E0C39-C51C-47BB-83D4-9EC4BBFE08CA}"/>
                </a:ext>
              </a:extLst>
            </p:cNvPr>
            <p:cNvSpPr/>
            <p:nvPr/>
          </p:nvSpPr>
          <p:spPr bwMode="auto">
            <a:xfrm>
              <a:off x="2980776" y="4618126"/>
              <a:ext cx="88900" cy="381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iṩlîḍe">
              <a:extLst>
                <a:ext uri="{FF2B5EF4-FFF2-40B4-BE49-F238E27FC236}">
                  <a16:creationId xmlns:a16="http://schemas.microsoft.com/office/drawing/2014/main" xmlns="" id="{D8DF8494-0D20-4D10-BED4-E5562C372A73}"/>
                </a:ext>
              </a:extLst>
            </p:cNvPr>
            <p:cNvSpPr/>
            <p:nvPr/>
          </p:nvSpPr>
          <p:spPr bwMode="auto">
            <a:xfrm>
              <a:off x="2980776" y="4618126"/>
              <a:ext cx="88900" cy="38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íSliḓê">
              <a:extLst>
                <a:ext uri="{FF2B5EF4-FFF2-40B4-BE49-F238E27FC236}">
                  <a16:creationId xmlns:a16="http://schemas.microsoft.com/office/drawing/2014/main" xmlns="" id="{7A1A7905-59C4-487A-8D34-8D1C34705822}"/>
                </a:ext>
              </a:extLst>
            </p:cNvPr>
            <p:cNvSpPr/>
            <p:nvPr/>
          </p:nvSpPr>
          <p:spPr bwMode="auto">
            <a:xfrm>
              <a:off x="3299863" y="4618126"/>
              <a:ext cx="87312" cy="3810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îŝľiḍé">
              <a:extLst>
                <a:ext uri="{FF2B5EF4-FFF2-40B4-BE49-F238E27FC236}">
                  <a16:creationId xmlns:a16="http://schemas.microsoft.com/office/drawing/2014/main" xmlns="" id="{D2A1177C-615C-4253-A9CC-BAD6128FC502}"/>
                </a:ext>
              </a:extLst>
            </p:cNvPr>
            <p:cNvSpPr/>
            <p:nvPr/>
          </p:nvSpPr>
          <p:spPr bwMode="auto">
            <a:xfrm>
              <a:off x="3299863" y="4618126"/>
              <a:ext cx="87312" cy="38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iṡḷîḍê">
              <a:extLst>
                <a:ext uri="{FF2B5EF4-FFF2-40B4-BE49-F238E27FC236}">
                  <a16:creationId xmlns:a16="http://schemas.microsoft.com/office/drawing/2014/main" xmlns="" id="{BBF43119-980C-4AE7-A5D8-D014F474FCD4}"/>
                </a:ext>
              </a:extLst>
            </p:cNvPr>
            <p:cNvSpPr/>
            <p:nvPr/>
          </p:nvSpPr>
          <p:spPr bwMode="auto">
            <a:xfrm>
              <a:off x="3112539" y="4618126"/>
              <a:ext cx="38100" cy="38100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íś1îḓè">
              <a:extLst>
                <a:ext uri="{FF2B5EF4-FFF2-40B4-BE49-F238E27FC236}">
                  <a16:creationId xmlns:a16="http://schemas.microsoft.com/office/drawing/2014/main" xmlns="" id="{7D54333E-9060-4860-AB2D-8918E19AACC0}"/>
                </a:ext>
              </a:extLst>
            </p:cNvPr>
            <p:cNvSpPr/>
            <p:nvPr/>
          </p:nvSpPr>
          <p:spPr bwMode="auto">
            <a:xfrm>
              <a:off x="3220488" y="4618126"/>
              <a:ext cx="36512" cy="38100"/>
            </a:xfrm>
            <a:prstGeom prst="ellipse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íşḷíḋè">
              <a:extLst>
                <a:ext uri="{FF2B5EF4-FFF2-40B4-BE49-F238E27FC236}">
                  <a16:creationId xmlns:a16="http://schemas.microsoft.com/office/drawing/2014/main" xmlns="" id="{E10F0ED9-0078-4F7E-8A17-43DABF64D7E6}"/>
                </a:ext>
              </a:extLst>
            </p:cNvPr>
            <p:cNvSpPr/>
            <p:nvPr/>
          </p:nvSpPr>
          <p:spPr bwMode="auto">
            <a:xfrm>
              <a:off x="4012650" y="4583201"/>
              <a:ext cx="106362" cy="107950"/>
            </a:xfrm>
            <a:custGeom>
              <a:avLst/>
              <a:gdLst>
                <a:gd name="T0" fmla="*/ 41 w 49"/>
                <a:gd name="T1" fmla="*/ 0 h 49"/>
                <a:gd name="T2" fmla="*/ 7 w 49"/>
                <a:gd name="T3" fmla="*/ 0 h 49"/>
                <a:gd name="T4" fmla="*/ 0 w 49"/>
                <a:gd name="T5" fmla="*/ 7 h 49"/>
                <a:gd name="T6" fmla="*/ 0 w 49"/>
                <a:gd name="T7" fmla="*/ 41 h 49"/>
                <a:gd name="T8" fmla="*/ 7 w 49"/>
                <a:gd name="T9" fmla="*/ 49 h 49"/>
                <a:gd name="T10" fmla="*/ 41 w 49"/>
                <a:gd name="T11" fmla="*/ 49 h 49"/>
                <a:gd name="T12" fmla="*/ 49 w 49"/>
                <a:gd name="T13" fmla="*/ 41 h 49"/>
                <a:gd name="T14" fmla="*/ 49 w 49"/>
                <a:gd name="T15" fmla="*/ 7 h 49"/>
                <a:gd name="T16" fmla="*/ 41 w 49"/>
                <a:gd name="T1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49">
                  <a:moveTo>
                    <a:pt x="41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3" y="49"/>
                    <a:pt x="7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5" y="49"/>
                    <a:pt x="49" y="45"/>
                    <a:pt x="49" y="41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3"/>
                    <a:pt x="45" y="0"/>
                    <a:pt x="41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íṥľiḑè">
              <a:extLst>
                <a:ext uri="{FF2B5EF4-FFF2-40B4-BE49-F238E27FC236}">
                  <a16:creationId xmlns:a16="http://schemas.microsoft.com/office/drawing/2014/main" xmlns="" id="{DAD4C243-56D3-45CA-A17C-D6449DA916CF}"/>
                </a:ext>
              </a:extLst>
            </p:cNvPr>
            <p:cNvSpPr/>
            <p:nvPr/>
          </p:nvSpPr>
          <p:spPr bwMode="auto">
            <a:xfrm>
              <a:off x="3436388" y="4583201"/>
              <a:ext cx="528637" cy="107950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ïŝḻîḋè">
              <a:extLst>
                <a:ext uri="{FF2B5EF4-FFF2-40B4-BE49-F238E27FC236}">
                  <a16:creationId xmlns:a16="http://schemas.microsoft.com/office/drawing/2014/main" xmlns="" id="{5901FEC4-37D0-4F71-8BCC-5FF05F5F58B1}"/>
                </a:ext>
              </a:extLst>
            </p:cNvPr>
            <p:cNvSpPr/>
            <p:nvPr/>
          </p:nvSpPr>
          <p:spPr bwMode="auto">
            <a:xfrm>
              <a:off x="3436388" y="4583201"/>
              <a:ext cx="528637" cy="107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íš1ídé">
              <a:extLst>
                <a:ext uri="{FF2B5EF4-FFF2-40B4-BE49-F238E27FC236}">
                  <a16:creationId xmlns:a16="http://schemas.microsoft.com/office/drawing/2014/main" xmlns="" id="{83620C34-568C-4AF3-A205-33D3C93F3A92}"/>
                </a:ext>
              </a:extLst>
            </p:cNvPr>
            <p:cNvSpPr/>
            <p:nvPr/>
          </p:nvSpPr>
          <p:spPr bwMode="auto">
            <a:xfrm>
              <a:off x="3123651" y="5164225"/>
              <a:ext cx="852487" cy="854074"/>
            </a:xfrm>
            <a:custGeom>
              <a:avLst/>
              <a:gdLst>
                <a:gd name="T0" fmla="*/ 147 w 391"/>
                <a:gd name="T1" fmla="*/ 369 h 392"/>
                <a:gd name="T2" fmla="*/ 280 w 391"/>
                <a:gd name="T3" fmla="*/ 362 h 392"/>
                <a:gd name="T4" fmla="*/ 199 w 391"/>
                <a:gd name="T5" fmla="*/ 347 h 392"/>
                <a:gd name="T6" fmla="*/ 81 w 391"/>
                <a:gd name="T7" fmla="*/ 340 h 392"/>
                <a:gd name="T8" fmla="*/ 199 w 391"/>
                <a:gd name="T9" fmla="*/ 340 h 392"/>
                <a:gd name="T10" fmla="*/ 59 w 391"/>
                <a:gd name="T11" fmla="*/ 325 h 392"/>
                <a:gd name="T12" fmla="*/ 192 w 391"/>
                <a:gd name="T13" fmla="*/ 318 h 392"/>
                <a:gd name="T14" fmla="*/ 317 w 391"/>
                <a:gd name="T15" fmla="*/ 318 h 392"/>
                <a:gd name="T16" fmla="*/ 140 w 391"/>
                <a:gd name="T17" fmla="*/ 310 h 392"/>
                <a:gd name="T18" fmla="*/ 258 w 391"/>
                <a:gd name="T19" fmla="*/ 310 h 392"/>
                <a:gd name="T20" fmla="*/ 74 w 391"/>
                <a:gd name="T21" fmla="*/ 295 h 392"/>
                <a:gd name="T22" fmla="*/ 206 w 391"/>
                <a:gd name="T23" fmla="*/ 288 h 392"/>
                <a:gd name="T24" fmla="*/ 332 w 391"/>
                <a:gd name="T25" fmla="*/ 288 h 392"/>
                <a:gd name="T26" fmla="*/ 126 w 391"/>
                <a:gd name="T27" fmla="*/ 281 h 392"/>
                <a:gd name="T28" fmla="*/ 244 w 391"/>
                <a:gd name="T29" fmla="*/ 281 h 392"/>
                <a:gd name="T30" fmla="*/ 29 w 391"/>
                <a:gd name="T31" fmla="*/ 266 h 392"/>
                <a:gd name="T32" fmla="*/ 162 w 391"/>
                <a:gd name="T33" fmla="*/ 259 h 392"/>
                <a:gd name="T34" fmla="*/ 288 w 391"/>
                <a:gd name="T35" fmla="*/ 259 h 392"/>
                <a:gd name="T36" fmla="*/ 67 w 391"/>
                <a:gd name="T37" fmla="*/ 251 h 392"/>
                <a:gd name="T38" fmla="*/ 185 w 391"/>
                <a:gd name="T39" fmla="*/ 251 h 392"/>
                <a:gd name="T40" fmla="*/ 324 w 391"/>
                <a:gd name="T41" fmla="*/ 251 h 392"/>
                <a:gd name="T42" fmla="*/ 88 w 391"/>
                <a:gd name="T43" fmla="*/ 229 h 392"/>
                <a:gd name="T44" fmla="*/ 214 w 391"/>
                <a:gd name="T45" fmla="*/ 229 h 392"/>
                <a:gd name="T46" fmla="*/ 347 w 391"/>
                <a:gd name="T47" fmla="*/ 236 h 392"/>
                <a:gd name="T48" fmla="*/ 81 w 391"/>
                <a:gd name="T49" fmla="*/ 222 h 392"/>
                <a:gd name="T50" fmla="*/ 221 w 391"/>
                <a:gd name="T51" fmla="*/ 222 h 392"/>
                <a:gd name="T52" fmla="*/ 354 w 391"/>
                <a:gd name="T53" fmla="*/ 215 h 392"/>
                <a:gd name="T54" fmla="*/ 96 w 391"/>
                <a:gd name="T55" fmla="*/ 200 h 392"/>
                <a:gd name="T56" fmla="*/ 229 w 391"/>
                <a:gd name="T57" fmla="*/ 207 h 392"/>
                <a:gd name="T58" fmla="*/ 347 w 391"/>
                <a:gd name="T59" fmla="*/ 207 h 392"/>
                <a:gd name="T60" fmla="*/ 103 w 391"/>
                <a:gd name="T61" fmla="*/ 192 h 392"/>
                <a:gd name="T62" fmla="*/ 236 w 391"/>
                <a:gd name="T63" fmla="*/ 185 h 392"/>
                <a:gd name="T64" fmla="*/ 362 w 391"/>
                <a:gd name="T65" fmla="*/ 185 h 392"/>
                <a:gd name="T66" fmla="*/ 111 w 391"/>
                <a:gd name="T67" fmla="*/ 177 h 392"/>
                <a:gd name="T68" fmla="*/ 229 w 391"/>
                <a:gd name="T69" fmla="*/ 177 h 392"/>
                <a:gd name="T70" fmla="*/ 369 w 391"/>
                <a:gd name="T71" fmla="*/ 177 h 392"/>
                <a:gd name="T72" fmla="*/ 118 w 391"/>
                <a:gd name="T73" fmla="*/ 156 h 392"/>
                <a:gd name="T74" fmla="*/ 244 w 391"/>
                <a:gd name="T75" fmla="*/ 156 h 392"/>
                <a:gd name="T76" fmla="*/ 376 w 391"/>
                <a:gd name="T77" fmla="*/ 163 h 392"/>
                <a:gd name="T78" fmla="*/ 126 w 391"/>
                <a:gd name="T79" fmla="*/ 148 h 392"/>
                <a:gd name="T80" fmla="*/ 265 w 391"/>
                <a:gd name="T81" fmla="*/ 148 h 392"/>
                <a:gd name="T82" fmla="*/ 44 w 391"/>
                <a:gd name="T83" fmla="*/ 126 h 392"/>
                <a:gd name="T84" fmla="*/ 170 w 391"/>
                <a:gd name="T85" fmla="*/ 126 h 392"/>
                <a:gd name="T86" fmla="*/ 303 w 391"/>
                <a:gd name="T87" fmla="*/ 133 h 392"/>
                <a:gd name="T88" fmla="*/ 67 w 391"/>
                <a:gd name="T89" fmla="*/ 118 h 392"/>
                <a:gd name="T90" fmla="*/ 206 w 391"/>
                <a:gd name="T91" fmla="*/ 118 h 392"/>
                <a:gd name="T92" fmla="*/ 339 w 391"/>
                <a:gd name="T93" fmla="*/ 111 h 392"/>
                <a:gd name="T94" fmla="*/ 126 w 391"/>
                <a:gd name="T95" fmla="*/ 97 h 392"/>
                <a:gd name="T96" fmla="*/ 258 w 391"/>
                <a:gd name="T97" fmla="*/ 104 h 392"/>
                <a:gd name="T98" fmla="*/ 52 w 391"/>
                <a:gd name="T99" fmla="*/ 89 h 392"/>
                <a:gd name="T100" fmla="*/ 192 w 391"/>
                <a:gd name="T101" fmla="*/ 89 h 392"/>
                <a:gd name="T102" fmla="*/ 324 w 391"/>
                <a:gd name="T103" fmla="*/ 82 h 392"/>
                <a:gd name="T104" fmla="*/ 140 w 391"/>
                <a:gd name="T105" fmla="*/ 67 h 392"/>
                <a:gd name="T106" fmla="*/ 273 w 391"/>
                <a:gd name="T107" fmla="*/ 74 h 392"/>
                <a:gd name="T108" fmla="*/ 111 w 391"/>
                <a:gd name="T109" fmla="*/ 59 h 392"/>
                <a:gd name="T110" fmla="*/ 251 w 391"/>
                <a:gd name="T111" fmla="*/ 59 h 392"/>
                <a:gd name="T112" fmla="*/ 133 w 391"/>
                <a:gd name="T113" fmla="*/ 38 h 392"/>
                <a:gd name="T114" fmla="*/ 258 w 391"/>
                <a:gd name="T115" fmla="*/ 38 h 392"/>
                <a:gd name="T116" fmla="*/ 185 w 391"/>
                <a:gd name="T117" fmla="*/ 30 h 392"/>
                <a:gd name="T118" fmla="*/ 170 w 391"/>
                <a:gd name="T119" fmla="*/ 15 h 392"/>
                <a:gd name="T120" fmla="*/ 27 w 391"/>
                <a:gd name="T121" fmla="*/ 97 h 392"/>
                <a:gd name="T122" fmla="*/ 140 w 391"/>
                <a:gd name="T123" fmla="*/ 384 h 392"/>
                <a:gd name="T124" fmla="*/ 376 w 391"/>
                <a:gd name="T125" fmla="*/ 148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1" h="392">
                  <a:moveTo>
                    <a:pt x="155" y="384"/>
                  </a:moveTo>
                  <a:cubicBezTo>
                    <a:pt x="155" y="377"/>
                    <a:pt x="155" y="377"/>
                    <a:pt x="155" y="377"/>
                  </a:cubicBezTo>
                  <a:cubicBezTo>
                    <a:pt x="162" y="377"/>
                    <a:pt x="162" y="377"/>
                    <a:pt x="162" y="377"/>
                  </a:cubicBezTo>
                  <a:cubicBezTo>
                    <a:pt x="162" y="384"/>
                    <a:pt x="162" y="384"/>
                    <a:pt x="162" y="384"/>
                  </a:cubicBezTo>
                  <a:cubicBezTo>
                    <a:pt x="155" y="384"/>
                    <a:pt x="155" y="384"/>
                    <a:pt x="155" y="384"/>
                  </a:cubicBezTo>
                  <a:moveTo>
                    <a:pt x="170" y="384"/>
                  </a:moveTo>
                  <a:cubicBezTo>
                    <a:pt x="170" y="377"/>
                    <a:pt x="170" y="377"/>
                    <a:pt x="170" y="377"/>
                  </a:cubicBezTo>
                  <a:cubicBezTo>
                    <a:pt x="177" y="377"/>
                    <a:pt x="177" y="377"/>
                    <a:pt x="177" y="377"/>
                  </a:cubicBezTo>
                  <a:cubicBezTo>
                    <a:pt x="177" y="384"/>
                    <a:pt x="177" y="384"/>
                    <a:pt x="177" y="384"/>
                  </a:cubicBezTo>
                  <a:cubicBezTo>
                    <a:pt x="170" y="384"/>
                    <a:pt x="170" y="384"/>
                    <a:pt x="170" y="384"/>
                  </a:cubicBezTo>
                  <a:moveTo>
                    <a:pt x="185" y="384"/>
                  </a:moveTo>
                  <a:cubicBezTo>
                    <a:pt x="185" y="377"/>
                    <a:pt x="185" y="377"/>
                    <a:pt x="185" y="377"/>
                  </a:cubicBezTo>
                  <a:cubicBezTo>
                    <a:pt x="192" y="377"/>
                    <a:pt x="192" y="377"/>
                    <a:pt x="192" y="377"/>
                  </a:cubicBezTo>
                  <a:cubicBezTo>
                    <a:pt x="192" y="384"/>
                    <a:pt x="192" y="384"/>
                    <a:pt x="192" y="384"/>
                  </a:cubicBezTo>
                  <a:cubicBezTo>
                    <a:pt x="185" y="384"/>
                    <a:pt x="185" y="384"/>
                    <a:pt x="185" y="384"/>
                  </a:cubicBezTo>
                  <a:moveTo>
                    <a:pt x="199" y="384"/>
                  </a:moveTo>
                  <a:cubicBezTo>
                    <a:pt x="199" y="377"/>
                    <a:pt x="199" y="377"/>
                    <a:pt x="199" y="377"/>
                  </a:cubicBezTo>
                  <a:cubicBezTo>
                    <a:pt x="206" y="377"/>
                    <a:pt x="206" y="377"/>
                    <a:pt x="206" y="377"/>
                  </a:cubicBezTo>
                  <a:cubicBezTo>
                    <a:pt x="206" y="384"/>
                    <a:pt x="206" y="384"/>
                    <a:pt x="206" y="384"/>
                  </a:cubicBezTo>
                  <a:cubicBezTo>
                    <a:pt x="199" y="384"/>
                    <a:pt x="199" y="384"/>
                    <a:pt x="199" y="384"/>
                  </a:cubicBezTo>
                  <a:moveTo>
                    <a:pt x="214" y="384"/>
                  </a:moveTo>
                  <a:cubicBezTo>
                    <a:pt x="214" y="377"/>
                    <a:pt x="214" y="377"/>
                    <a:pt x="214" y="377"/>
                  </a:cubicBezTo>
                  <a:cubicBezTo>
                    <a:pt x="221" y="377"/>
                    <a:pt x="221" y="377"/>
                    <a:pt x="221" y="377"/>
                  </a:cubicBezTo>
                  <a:cubicBezTo>
                    <a:pt x="221" y="384"/>
                    <a:pt x="221" y="384"/>
                    <a:pt x="221" y="384"/>
                  </a:cubicBezTo>
                  <a:cubicBezTo>
                    <a:pt x="214" y="384"/>
                    <a:pt x="214" y="384"/>
                    <a:pt x="214" y="384"/>
                  </a:cubicBezTo>
                  <a:moveTo>
                    <a:pt x="229" y="384"/>
                  </a:moveTo>
                  <a:cubicBezTo>
                    <a:pt x="229" y="377"/>
                    <a:pt x="229" y="377"/>
                    <a:pt x="229" y="377"/>
                  </a:cubicBezTo>
                  <a:cubicBezTo>
                    <a:pt x="236" y="377"/>
                    <a:pt x="236" y="377"/>
                    <a:pt x="236" y="377"/>
                  </a:cubicBezTo>
                  <a:cubicBezTo>
                    <a:pt x="236" y="384"/>
                    <a:pt x="236" y="384"/>
                    <a:pt x="236" y="384"/>
                  </a:cubicBezTo>
                  <a:cubicBezTo>
                    <a:pt x="229" y="384"/>
                    <a:pt x="229" y="384"/>
                    <a:pt x="229" y="384"/>
                  </a:cubicBezTo>
                  <a:moveTo>
                    <a:pt x="111" y="369"/>
                  </a:moveTo>
                  <a:cubicBezTo>
                    <a:pt x="111" y="362"/>
                    <a:pt x="111" y="362"/>
                    <a:pt x="111" y="362"/>
                  </a:cubicBezTo>
                  <a:cubicBezTo>
                    <a:pt x="118" y="362"/>
                    <a:pt x="118" y="362"/>
                    <a:pt x="118" y="362"/>
                  </a:cubicBezTo>
                  <a:cubicBezTo>
                    <a:pt x="118" y="369"/>
                    <a:pt x="118" y="369"/>
                    <a:pt x="118" y="369"/>
                  </a:cubicBezTo>
                  <a:cubicBezTo>
                    <a:pt x="111" y="369"/>
                    <a:pt x="111" y="369"/>
                    <a:pt x="111" y="369"/>
                  </a:cubicBezTo>
                  <a:moveTo>
                    <a:pt x="126" y="369"/>
                  </a:moveTo>
                  <a:cubicBezTo>
                    <a:pt x="126" y="362"/>
                    <a:pt x="126" y="362"/>
                    <a:pt x="126" y="362"/>
                  </a:cubicBezTo>
                  <a:cubicBezTo>
                    <a:pt x="133" y="362"/>
                    <a:pt x="133" y="362"/>
                    <a:pt x="133" y="362"/>
                  </a:cubicBezTo>
                  <a:cubicBezTo>
                    <a:pt x="133" y="369"/>
                    <a:pt x="133" y="369"/>
                    <a:pt x="133" y="369"/>
                  </a:cubicBezTo>
                  <a:cubicBezTo>
                    <a:pt x="126" y="369"/>
                    <a:pt x="126" y="369"/>
                    <a:pt x="126" y="369"/>
                  </a:cubicBezTo>
                  <a:moveTo>
                    <a:pt x="140" y="369"/>
                  </a:moveTo>
                  <a:cubicBezTo>
                    <a:pt x="140" y="362"/>
                    <a:pt x="140" y="362"/>
                    <a:pt x="140" y="362"/>
                  </a:cubicBezTo>
                  <a:cubicBezTo>
                    <a:pt x="147" y="362"/>
                    <a:pt x="147" y="362"/>
                    <a:pt x="147" y="362"/>
                  </a:cubicBezTo>
                  <a:cubicBezTo>
                    <a:pt x="147" y="369"/>
                    <a:pt x="147" y="369"/>
                    <a:pt x="147" y="369"/>
                  </a:cubicBezTo>
                  <a:cubicBezTo>
                    <a:pt x="140" y="369"/>
                    <a:pt x="140" y="369"/>
                    <a:pt x="140" y="369"/>
                  </a:cubicBezTo>
                  <a:moveTo>
                    <a:pt x="155" y="369"/>
                  </a:moveTo>
                  <a:cubicBezTo>
                    <a:pt x="155" y="362"/>
                    <a:pt x="155" y="362"/>
                    <a:pt x="155" y="362"/>
                  </a:cubicBezTo>
                  <a:cubicBezTo>
                    <a:pt x="162" y="362"/>
                    <a:pt x="162" y="362"/>
                    <a:pt x="162" y="362"/>
                  </a:cubicBezTo>
                  <a:cubicBezTo>
                    <a:pt x="162" y="369"/>
                    <a:pt x="162" y="369"/>
                    <a:pt x="162" y="369"/>
                  </a:cubicBezTo>
                  <a:cubicBezTo>
                    <a:pt x="155" y="369"/>
                    <a:pt x="155" y="369"/>
                    <a:pt x="155" y="369"/>
                  </a:cubicBezTo>
                  <a:moveTo>
                    <a:pt x="170" y="369"/>
                  </a:moveTo>
                  <a:cubicBezTo>
                    <a:pt x="170" y="362"/>
                    <a:pt x="170" y="362"/>
                    <a:pt x="170" y="362"/>
                  </a:cubicBezTo>
                  <a:cubicBezTo>
                    <a:pt x="177" y="362"/>
                    <a:pt x="177" y="362"/>
                    <a:pt x="177" y="362"/>
                  </a:cubicBezTo>
                  <a:cubicBezTo>
                    <a:pt x="177" y="369"/>
                    <a:pt x="177" y="369"/>
                    <a:pt x="177" y="369"/>
                  </a:cubicBezTo>
                  <a:cubicBezTo>
                    <a:pt x="170" y="369"/>
                    <a:pt x="170" y="369"/>
                    <a:pt x="170" y="369"/>
                  </a:cubicBezTo>
                  <a:moveTo>
                    <a:pt x="185" y="369"/>
                  </a:moveTo>
                  <a:cubicBezTo>
                    <a:pt x="185" y="362"/>
                    <a:pt x="185" y="362"/>
                    <a:pt x="185" y="362"/>
                  </a:cubicBezTo>
                  <a:cubicBezTo>
                    <a:pt x="192" y="362"/>
                    <a:pt x="192" y="362"/>
                    <a:pt x="192" y="362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185" y="369"/>
                    <a:pt x="185" y="369"/>
                    <a:pt x="185" y="369"/>
                  </a:cubicBezTo>
                  <a:moveTo>
                    <a:pt x="199" y="369"/>
                  </a:moveTo>
                  <a:cubicBezTo>
                    <a:pt x="199" y="362"/>
                    <a:pt x="199" y="362"/>
                    <a:pt x="199" y="362"/>
                  </a:cubicBezTo>
                  <a:cubicBezTo>
                    <a:pt x="206" y="362"/>
                    <a:pt x="206" y="362"/>
                    <a:pt x="206" y="362"/>
                  </a:cubicBezTo>
                  <a:cubicBezTo>
                    <a:pt x="206" y="369"/>
                    <a:pt x="206" y="369"/>
                    <a:pt x="206" y="369"/>
                  </a:cubicBezTo>
                  <a:cubicBezTo>
                    <a:pt x="199" y="369"/>
                    <a:pt x="199" y="369"/>
                    <a:pt x="199" y="369"/>
                  </a:cubicBezTo>
                  <a:moveTo>
                    <a:pt x="214" y="369"/>
                  </a:moveTo>
                  <a:cubicBezTo>
                    <a:pt x="214" y="362"/>
                    <a:pt x="214" y="362"/>
                    <a:pt x="214" y="362"/>
                  </a:cubicBezTo>
                  <a:cubicBezTo>
                    <a:pt x="221" y="362"/>
                    <a:pt x="221" y="362"/>
                    <a:pt x="221" y="362"/>
                  </a:cubicBezTo>
                  <a:cubicBezTo>
                    <a:pt x="221" y="369"/>
                    <a:pt x="221" y="369"/>
                    <a:pt x="221" y="369"/>
                  </a:cubicBezTo>
                  <a:cubicBezTo>
                    <a:pt x="214" y="369"/>
                    <a:pt x="214" y="369"/>
                    <a:pt x="214" y="369"/>
                  </a:cubicBezTo>
                  <a:moveTo>
                    <a:pt x="229" y="369"/>
                  </a:moveTo>
                  <a:cubicBezTo>
                    <a:pt x="229" y="362"/>
                    <a:pt x="229" y="362"/>
                    <a:pt x="229" y="362"/>
                  </a:cubicBezTo>
                  <a:cubicBezTo>
                    <a:pt x="236" y="362"/>
                    <a:pt x="236" y="362"/>
                    <a:pt x="236" y="362"/>
                  </a:cubicBezTo>
                  <a:cubicBezTo>
                    <a:pt x="236" y="369"/>
                    <a:pt x="236" y="369"/>
                    <a:pt x="236" y="369"/>
                  </a:cubicBezTo>
                  <a:cubicBezTo>
                    <a:pt x="229" y="369"/>
                    <a:pt x="229" y="369"/>
                    <a:pt x="229" y="369"/>
                  </a:cubicBezTo>
                  <a:moveTo>
                    <a:pt x="244" y="369"/>
                  </a:moveTo>
                  <a:cubicBezTo>
                    <a:pt x="244" y="362"/>
                    <a:pt x="244" y="362"/>
                    <a:pt x="244" y="362"/>
                  </a:cubicBezTo>
                  <a:cubicBezTo>
                    <a:pt x="251" y="362"/>
                    <a:pt x="251" y="362"/>
                    <a:pt x="251" y="362"/>
                  </a:cubicBezTo>
                  <a:cubicBezTo>
                    <a:pt x="251" y="369"/>
                    <a:pt x="251" y="369"/>
                    <a:pt x="251" y="369"/>
                  </a:cubicBezTo>
                  <a:cubicBezTo>
                    <a:pt x="244" y="369"/>
                    <a:pt x="244" y="369"/>
                    <a:pt x="244" y="369"/>
                  </a:cubicBezTo>
                  <a:moveTo>
                    <a:pt x="258" y="369"/>
                  </a:moveTo>
                  <a:cubicBezTo>
                    <a:pt x="258" y="362"/>
                    <a:pt x="258" y="362"/>
                    <a:pt x="258" y="362"/>
                  </a:cubicBezTo>
                  <a:cubicBezTo>
                    <a:pt x="265" y="362"/>
                    <a:pt x="265" y="362"/>
                    <a:pt x="265" y="362"/>
                  </a:cubicBezTo>
                  <a:cubicBezTo>
                    <a:pt x="265" y="369"/>
                    <a:pt x="265" y="369"/>
                    <a:pt x="265" y="369"/>
                  </a:cubicBezTo>
                  <a:cubicBezTo>
                    <a:pt x="258" y="369"/>
                    <a:pt x="258" y="369"/>
                    <a:pt x="258" y="369"/>
                  </a:cubicBezTo>
                  <a:moveTo>
                    <a:pt x="273" y="369"/>
                  </a:moveTo>
                  <a:cubicBezTo>
                    <a:pt x="273" y="362"/>
                    <a:pt x="273" y="362"/>
                    <a:pt x="273" y="362"/>
                  </a:cubicBezTo>
                  <a:cubicBezTo>
                    <a:pt x="280" y="362"/>
                    <a:pt x="280" y="362"/>
                    <a:pt x="280" y="362"/>
                  </a:cubicBezTo>
                  <a:cubicBezTo>
                    <a:pt x="280" y="369"/>
                    <a:pt x="280" y="369"/>
                    <a:pt x="280" y="369"/>
                  </a:cubicBezTo>
                  <a:cubicBezTo>
                    <a:pt x="273" y="369"/>
                    <a:pt x="273" y="369"/>
                    <a:pt x="273" y="369"/>
                  </a:cubicBezTo>
                  <a:moveTo>
                    <a:pt x="81" y="354"/>
                  </a:moveTo>
                  <a:cubicBezTo>
                    <a:pt x="81" y="347"/>
                    <a:pt x="81" y="347"/>
                    <a:pt x="81" y="347"/>
                  </a:cubicBezTo>
                  <a:cubicBezTo>
                    <a:pt x="88" y="347"/>
                    <a:pt x="88" y="347"/>
                    <a:pt x="88" y="347"/>
                  </a:cubicBezTo>
                  <a:cubicBezTo>
                    <a:pt x="88" y="354"/>
                    <a:pt x="88" y="354"/>
                    <a:pt x="88" y="354"/>
                  </a:cubicBezTo>
                  <a:cubicBezTo>
                    <a:pt x="81" y="354"/>
                    <a:pt x="81" y="354"/>
                    <a:pt x="81" y="354"/>
                  </a:cubicBezTo>
                  <a:moveTo>
                    <a:pt x="96" y="354"/>
                  </a:moveTo>
                  <a:cubicBezTo>
                    <a:pt x="96" y="347"/>
                    <a:pt x="96" y="347"/>
                    <a:pt x="96" y="347"/>
                  </a:cubicBezTo>
                  <a:cubicBezTo>
                    <a:pt x="103" y="347"/>
                    <a:pt x="103" y="347"/>
                    <a:pt x="103" y="347"/>
                  </a:cubicBezTo>
                  <a:cubicBezTo>
                    <a:pt x="103" y="354"/>
                    <a:pt x="103" y="354"/>
                    <a:pt x="103" y="354"/>
                  </a:cubicBezTo>
                  <a:cubicBezTo>
                    <a:pt x="96" y="354"/>
                    <a:pt x="96" y="354"/>
                    <a:pt x="96" y="354"/>
                  </a:cubicBezTo>
                  <a:moveTo>
                    <a:pt x="111" y="354"/>
                  </a:moveTo>
                  <a:cubicBezTo>
                    <a:pt x="111" y="347"/>
                    <a:pt x="111" y="347"/>
                    <a:pt x="111" y="347"/>
                  </a:cubicBezTo>
                  <a:cubicBezTo>
                    <a:pt x="118" y="347"/>
                    <a:pt x="118" y="347"/>
                    <a:pt x="118" y="347"/>
                  </a:cubicBezTo>
                  <a:cubicBezTo>
                    <a:pt x="118" y="354"/>
                    <a:pt x="118" y="354"/>
                    <a:pt x="118" y="354"/>
                  </a:cubicBezTo>
                  <a:cubicBezTo>
                    <a:pt x="111" y="354"/>
                    <a:pt x="111" y="354"/>
                    <a:pt x="111" y="354"/>
                  </a:cubicBezTo>
                  <a:moveTo>
                    <a:pt x="126" y="354"/>
                  </a:moveTo>
                  <a:cubicBezTo>
                    <a:pt x="126" y="347"/>
                    <a:pt x="126" y="347"/>
                    <a:pt x="126" y="347"/>
                  </a:cubicBezTo>
                  <a:cubicBezTo>
                    <a:pt x="133" y="347"/>
                    <a:pt x="133" y="347"/>
                    <a:pt x="133" y="347"/>
                  </a:cubicBezTo>
                  <a:cubicBezTo>
                    <a:pt x="133" y="354"/>
                    <a:pt x="133" y="354"/>
                    <a:pt x="133" y="354"/>
                  </a:cubicBezTo>
                  <a:cubicBezTo>
                    <a:pt x="126" y="354"/>
                    <a:pt x="126" y="354"/>
                    <a:pt x="126" y="354"/>
                  </a:cubicBezTo>
                  <a:moveTo>
                    <a:pt x="140" y="354"/>
                  </a:moveTo>
                  <a:cubicBezTo>
                    <a:pt x="140" y="347"/>
                    <a:pt x="140" y="347"/>
                    <a:pt x="140" y="347"/>
                  </a:cubicBezTo>
                  <a:cubicBezTo>
                    <a:pt x="147" y="347"/>
                    <a:pt x="147" y="347"/>
                    <a:pt x="147" y="347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0" y="354"/>
                    <a:pt x="140" y="354"/>
                    <a:pt x="140" y="354"/>
                  </a:cubicBezTo>
                  <a:moveTo>
                    <a:pt x="155" y="354"/>
                  </a:moveTo>
                  <a:cubicBezTo>
                    <a:pt x="155" y="347"/>
                    <a:pt x="155" y="347"/>
                    <a:pt x="155" y="347"/>
                  </a:cubicBezTo>
                  <a:cubicBezTo>
                    <a:pt x="162" y="347"/>
                    <a:pt x="162" y="347"/>
                    <a:pt x="162" y="347"/>
                  </a:cubicBezTo>
                  <a:cubicBezTo>
                    <a:pt x="162" y="354"/>
                    <a:pt x="162" y="354"/>
                    <a:pt x="162" y="354"/>
                  </a:cubicBezTo>
                  <a:cubicBezTo>
                    <a:pt x="155" y="354"/>
                    <a:pt x="155" y="354"/>
                    <a:pt x="155" y="354"/>
                  </a:cubicBezTo>
                  <a:moveTo>
                    <a:pt x="170" y="354"/>
                  </a:moveTo>
                  <a:cubicBezTo>
                    <a:pt x="170" y="347"/>
                    <a:pt x="170" y="347"/>
                    <a:pt x="170" y="347"/>
                  </a:cubicBezTo>
                  <a:cubicBezTo>
                    <a:pt x="177" y="347"/>
                    <a:pt x="177" y="347"/>
                    <a:pt x="177" y="347"/>
                  </a:cubicBezTo>
                  <a:cubicBezTo>
                    <a:pt x="177" y="354"/>
                    <a:pt x="177" y="354"/>
                    <a:pt x="177" y="354"/>
                  </a:cubicBezTo>
                  <a:cubicBezTo>
                    <a:pt x="170" y="354"/>
                    <a:pt x="170" y="354"/>
                    <a:pt x="170" y="354"/>
                  </a:cubicBezTo>
                  <a:moveTo>
                    <a:pt x="185" y="354"/>
                  </a:moveTo>
                  <a:cubicBezTo>
                    <a:pt x="185" y="347"/>
                    <a:pt x="185" y="347"/>
                    <a:pt x="185" y="347"/>
                  </a:cubicBezTo>
                  <a:cubicBezTo>
                    <a:pt x="192" y="347"/>
                    <a:pt x="192" y="347"/>
                    <a:pt x="192" y="347"/>
                  </a:cubicBezTo>
                  <a:cubicBezTo>
                    <a:pt x="192" y="354"/>
                    <a:pt x="192" y="354"/>
                    <a:pt x="192" y="354"/>
                  </a:cubicBezTo>
                  <a:cubicBezTo>
                    <a:pt x="185" y="354"/>
                    <a:pt x="185" y="354"/>
                    <a:pt x="185" y="354"/>
                  </a:cubicBezTo>
                  <a:moveTo>
                    <a:pt x="199" y="354"/>
                  </a:moveTo>
                  <a:cubicBezTo>
                    <a:pt x="199" y="347"/>
                    <a:pt x="199" y="347"/>
                    <a:pt x="199" y="347"/>
                  </a:cubicBezTo>
                  <a:cubicBezTo>
                    <a:pt x="206" y="347"/>
                    <a:pt x="206" y="347"/>
                    <a:pt x="206" y="347"/>
                  </a:cubicBezTo>
                  <a:cubicBezTo>
                    <a:pt x="206" y="354"/>
                    <a:pt x="206" y="354"/>
                    <a:pt x="206" y="354"/>
                  </a:cubicBezTo>
                  <a:cubicBezTo>
                    <a:pt x="199" y="354"/>
                    <a:pt x="199" y="354"/>
                    <a:pt x="199" y="354"/>
                  </a:cubicBezTo>
                  <a:moveTo>
                    <a:pt x="214" y="354"/>
                  </a:moveTo>
                  <a:cubicBezTo>
                    <a:pt x="214" y="347"/>
                    <a:pt x="214" y="347"/>
                    <a:pt x="214" y="347"/>
                  </a:cubicBezTo>
                  <a:cubicBezTo>
                    <a:pt x="221" y="347"/>
                    <a:pt x="221" y="347"/>
                    <a:pt x="221" y="347"/>
                  </a:cubicBezTo>
                  <a:cubicBezTo>
                    <a:pt x="221" y="354"/>
                    <a:pt x="221" y="354"/>
                    <a:pt x="221" y="354"/>
                  </a:cubicBezTo>
                  <a:cubicBezTo>
                    <a:pt x="214" y="354"/>
                    <a:pt x="214" y="354"/>
                    <a:pt x="214" y="354"/>
                  </a:cubicBezTo>
                  <a:moveTo>
                    <a:pt x="229" y="354"/>
                  </a:moveTo>
                  <a:cubicBezTo>
                    <a:pt x="229" y="347"/>
                    <a:pt x="229" y="347"/>
                    <a:pt x="229" y="347"/>
                  </a:cubicBezTo>
                  <a:cubicBezTo>
                    <a:pt x="236" y="347"/>
                    <a:pt x="236" y="347"/>
                    <a:pt x="236" y="347"/>
                  </a:cubicBezTo>
                  <a:cubicBezTo>
                    <a:pt x="236" y="354"/>
                    <a:pt x="236" y="354"/>
                    <a:pt x="236" y="354"/>
                  </a:cubicBezTo>
                  <a:cubicBezTo>
                    <a:pt x="229" y="354"/>
                    <a:pt x="229" y="354"/>
                    <a:pt x="229" y="354"/>
                  </a:cubicBezTo>
                  <a:moveTo>
                    <a:pt x="244" y="354"/>
                  </a:moveTo>
                  <a:cubicBezTo>
                    <a:pt x="244" y="347"/>
                    <a:pt x="244" y="347"/>
                    <a:pt x="244" y="347"/>
                  </a:cubicBezTo>
                  <a:cubicBezTo>
                    <a:pt x="251" y="347"/>
                    <a:pt x="251" y="347"/>
                    <a:pt x="251" y="347"/>
                  </a:cubicBezTo>
                  <a:cubicBezTo>
                    <a:pt x="251" y="354"/>
                    <a:pt x="251" y="354"/>
                    <a:pt x="251" y="354"/>
                  </a:cubicBezTo>
                  <a:cubicBezTo>
                    <a:pt x="244" y="354"/>
                    <a:pt x="244" y="354"/>
                    <a:pt x="244" y="354"/>
                  </a:cubicBezTo>
                  <a:moveTo>
                    <a:pt x="258" y="354"/>
                  </a:moveTo>
                  <a:cubicBezTo>
                    <a:pt x="258" y="347"/>
                    <a:pt x="258" y="347"/>
                    <a:pt x="258" y="347"/>
                  </a:cubicBezTo>
                  <a:cubicBezTo>
                    <a:pt x="265" y="347"/>
                    <a:pt x="265" y="347"/>
                    <a:pt x="265" y="347"/>
                  </a:cubicBezTo>
                  <a:cubicBezTo>
                    <a:pt x="265" y="354"/>
                    <a:pt x="265" y="354"/>
                    <a:pt x="265" y="354"/>
                  </a:cubicBezTo>
                  <a:cubicBezTo>
                    <a:pt x="258" y="354"/>
                    <a:pt x="258" y="354"/>
                    <a:pt x="258" y="354"/>
                  </a:cubicBezTo>
                  <a:moveTo>
                    <a:pt x="273" y="354"/>
                  </a:moveTo>
                  <a:cubicBezTo>
                    <a:pt x="273" y="347"/>
                    <a:pt x="273" y="347"/>
                    <a:pt x="273" y="347"/>
                  </a:cubicBezTo>
                  <a:cubicBezTo>
                    <a:pt x="280" y="347"/>
                    <a:pt x="280" y="347"/>
                    <a:pt x="280" y="347"/>
                  </a:cubicBezTo>
                  <a:cubicBezTo>
                    <a:pt x="280" y="354"/>
                    <a:pt x="280" y="354"/>
                    <a:pt x="280" y="354"/>
                  </a:cubicBezTo>
                  <a:cubicBezTo>
                    <a:pt x="273" y="354"/>
                    <a:pt x="273" y="354"/>
                    <a:pt x="273" y="354"/>
                  </a:cubicBezTo>
                  <a:moveTo>
                    <a:pt x="288" y="354"/>
                  </a:moveTo>
                  <a:cubicBezTo>
                    <a:pt x="288" y="347"/>
                    <a:pt x="288" y="347"/>
                    <a:pt x="288" y="347"/>
                  </a:cubicBezTo>
                  <a:cubicBezTo>
                    <a:pt x="295" y="347"/>
                    <a:pt x="295" y="347"/>
                    <a:pt x="295" y="347"/>
                  </a:cubicBezTo>
                  <a:cubicBezTo>
                    <a:pt x="295" y="354"/>
                    <a:pt x="295" y="354"/>
                    <a:pt x="295" y="354"/>
                  </a:cubicBezTo>
                  <a:cubicBezTo>
                    <a:pt x="288" y="354"/>
                    <a:pt x="288" y="354"/>
                    <a:pt x="288" y="354"/>
                  </a:cubicBezTo>
                  <a:moveTo>
                    <a:pt x="303" y="354"/>
                  </a:moveTo>
                  <a:cubicBezTo>
                    <a:pt x="303" y="347"/>
                    <a:pt x="303" y="347"/>
                    <a:pt x="303" y="347"/>
                  </a:cubicBezTo>
                  <a:cubicBezTo>
                    <a:pt x="310" y="347"/>
                    <a:pt x="310" y="347"/>
                    <a:pt x="310" y="347"/>
                  </a:cubicBezTo>
                  <a:cubicBezTo>
                    <a:pt x="310" y="354"/>
                    <a:pt x="310" y="354"/>
                    <a:pt x="310" y="354"/>
                  </a:cubicBezTo>
                  <a:cubicBezTo>
                    <a:pt x="303" y="354"/>
                    <a:pt x="303" y="354"/>
                    <a:pt x="303" y="354"/>
                  </a:cubicBezTo>
                  <a:moveTo>
                    <a:pt x="67" y="340"/>
                  </a:moveTo>
                  <a:cubicBezTo>
                    <a:pt x="67" y="333"/>
                    <a:pt x="67" y="333"/>
                    <a:pt x="67" y="333"/>
                  </a:cubicBezTo>
                  <a:cubicBezTo>
                    <a:pt x="74" y="333"/>
                    <a:pt x="74" y="333"/>
                    <a:pt x="74" y="333"/>
                  </a:cubicBezTo>
                  <a:cubicBezTo>
                    <a:pt x="74" y="340"/>
                    <a:pt x="74" y="340"/>
                    <a:pt x="74" y="340"/>
                  </a:cubicBezTo>
                  <a:cubicBezTo>
                    <a:pt x="67" y="340"/>
                    <a:pt x="67" y="340"/>
                    <a:pt x="67" y="340"/>
                  </a:cubicBezTo>
                  <a:moveTo>
                    <a:pt x="81" y="340"/>
                  </a:moveTo>
                  <a:cubicBezTo>
                    <a:pt x="81" y="333"/>
                    <a:pt x="81" y="333"/>
                    <a:pt x="81" y="333"/>
                  </a:cubicBezTo>
                  <a:cubicBezTo>
                    <a:pt x="88" y="333"/>
                    <a:pt x="88" y="333"/>
                    <a:pt x="88" y="333"/>
                  </a:cubicBezTo>
                  <a:cubicBezTo>
                    <a:pt x="88" y="340"/>
                    <a:pt x="88" y="340"/>
                    <a:pt x="88" y="340"/>
                  </a:cubicBezTo>
                  <a:cubicBezTo>
                    <a:pt x="81" y="340"/>
                    <a:pt x="81" y="340"/>
                    <a:pt x="81" y="340"/>
                  </a:cubicBezTo>
                  <a:moveTo>
                    <a:pt x="96" y="340"/>
                  </a:moveTo>
                  <a:cubicBezTo>
                    <a:pt x="96" y="333"/>
                    <a:pt x="96" y="333"/>
                    <a:pt x="96" y="333"/>
                  </a:cubicBezTo>
                  <a:cubicBezTo>
                    <a:pt x="103" y="333"/>
                    <a:pt x="103" y="333"/>
                    <a:pt x="103" y="333"/>
                  </a:cubicBezTo>
                  <a:cubicBezTo>
                    <a:pt x="103" y="340"/>
                    <a:pt x="103" y="340"/>
                    <a:pt x="103" y="340"/>
                  </a:cubicBezTo>
                  <a:cubicBezTo>
                    <a:pt x="96" y="340"/>
                    <a:pt x="96" y="340"/>
                    <a:pt x="96" y="340"/>
                  </a:cubicBezTo>
                  <a:moveTo>
                    <a:pt x="111" y="340"/>
                  </a:moveTo>
                  <a:cubicBezTo>
                    <a:pt x="111" y="333"/>
                    <a:pt x="111" y="333"/>
                    <a:pt x="111" y="333"/>
                  </a:cubicBezTo>
                  <a:cubicBezTo>
                    <a:pt x="118" y="333"/>
                    <a:pt x="118" y="333"/>
                    <a:pt x="118" y="333"/>
                  </a:cubicBezTo>
                  <a:cubicBezTo>
                    <a:pt x="118" y="340"/>
                    <a:pt x="118" y="340"/>
                    <a:pt x="118" y="340"/>
                  </a:cubicBezTo>
                  <a:cubicBezTo>
                    <a:pt x="111" y="340"/>
                    <a:pt x="111" y="340"/>
                    <a:pt x="111" y="340"/>
                  </a:cubicBezTo>
                  <a:moveTo>
                    <a:pt x="126" y="340"/>
                  </a:moveTo>
                  <a:cubicBezTo>
                    <a:pt x="126" y="333"/>
                    <a:pt x="126" y="333"/>
                    <a:pt x="126" y="333"/>
                  </a:cubicBezTo>
                  <a:cubicBezTo>
                    <a:pt x="133" y="333"/>
                    <a:pt x="133" y="333"/>
                    <a:pt x="133" y="333"/>
                  </a:cubicBezTo>
                  <a:cubicBezTo>
                    <a:pt x="133" y="340"/>
                    <a:pt x="133" y="340"/>
                    <a:pt x="133" y="340"/>
                  </a:cubicBezTo>
                  <a:cubicBezTo>
                    <a:pt x="126" y="340"/>
                    <a:pt x="126" y="340"/>
                    <a:pt x="126" y="340"/>
                  </a:cubicBezTo>
                  <a:moveTo>
                    <a:pt x="140" y="340"/>
                  </a:moveTo>
                  <a:cubicBezTo>
                    <a:pt x="140" y="333"/>
                    <a:pt x="140" y="333"/>
                    <a:pt x="140" y="333"/>
                  </a:cubicBezTo>
                  <a:cubicBezTo>
                    <a:pt x="147" y="333"/>
                    <a:pt x="147" y="333"/>
                    <a:pt x="147" y="333"/>
                  </a:cubicBezTo>
                  <a:cubicBezTo>
                    <a:pt x="147" y="340"/>
                    <a:pt x="147" y="340"/>
                    <a:pt x="147" y="340"/>
                  </a:cubicBezTo>
                  <a:cubicBezTo>
                    <a:pt x="140" y="340"/>
                    <a:pt x="140" y="340"/>
                    <a:pt x="140" y="340"/>
                  </a:cubicBezTo>
                  <a:moveTo>
                    <a:pt x="155" y="340"/>
                  </a:moveTo>
                  <a:cubicBezTo>
                    <a:pt x="155" y="333"/>
                    <a:pt x="155" y="333"/>
                    <a:pt x="155" y="333"/>
                  </a:cubicBezTo>
                  <a:cubicBezTo>
                    <a:pt x="162" y="333"/>
                    <a:pt x="162" y="333"/>
                    <a:pt x="162" y="333"/>
                  </a:cubicBezTo>
                  <a:cubicBezTo>
                    <a:pt x="162" y="340"/>
                    <a:pt x="162" y="340"/>
                    <a:pt x="162" y="340"/>
                  </a:cubicBezTo>
                  <a:cubicBezTo>
                    <a:pt x="155" y="340"/>
                    <a:pt x="155" y="340"/>
                    <a:pt x="155" y="340"/>
                  </a:cubicBezTo>
                  <a:moveTo>
                    <a:pt x="170" y="340"/>
                  </a:moveTo>
                  <a:cubicBezTo>
                    <a:pt x="170" y="333"/>
                    <a:pt x="170" y="333"/>
                    <a:pt x="170" y="333"/>
                  </a:cubicBezTo>
                  <a:cubicBezTo>
                    <a:pt x="177" y="333"/>
                    <a:pt x="177" y="333"/>
                    <a:pt x="177" y="333"/>
                  </a:cubicBezTo>
                  <a:cubicBezTo>
                    <a:pt x="177" y="340"/>
                    <a:pt x="177" y="340"/>
                    <a:pt x="177" y="340"/>
                  </a:cubicBezTo>
                  <a:cubicBezTo>
                    <a:pt x="170" y="340"/>
                    <a:pt x="170" y="340"/>
                    <a:pt x="170" y="340"/>
                  </a:cubicBezTo>
                  <a:moveTo>
                    <a:pt x="185" y="340"/>
                  </a:moveTo>
                  <a:cubicBezTo>
                    <a:pt x="185" y="333"/>
                    <a:pt x="185" y="333"/>
                    <a:pt x="185" y="333"/>
                  </a:cubicBezTo>
                  <a:cubicBezTo>
                    <a:pt x="192" y="333"/>
                    <a:pt x="192" y="333"/>
                    <a:pt x="192" y="333"/>
                  </a:cubicBezTo>
                  <a:cubicBezTo>
                    <a:pt x="192" y="340"/>
                    <a:pt x="192" y="340"/>
                    <a:pt x="192" y="340"/>
                  </a:cubicBezTo>
                  <a:cubicBezTo>
                    <a:pt x="185" y="340"/>
                    <a:pt x="185" y="340"/>
                    <a:pt x="185" y="340"/>
                  </a:cubicBezTo>
                  <a:moveTo>
                    <a:pt x="199" y="340"/>
                  </a:moveTo>
                  <a:cubicBezTo>
                    <a:pt x="199" y="333"/>
                    <a:pt x="199" y="333"/>
                    <a:pt x="199" y="333"/>
                  </a:cubicBezTo>
                  <a:cubicBezTo>
                    <a:pt x="206" y="333"/>
                    <a:pt x="206" y="333"/>
                    <a:pt x="206" y="333"/>
                  </a:cubicBezTo>
                  <a:cubicBezTo>
                    <a:pt x="206" y="340"/>
                    <a:pt x="206" y="340"/>
                    <a:pt x="206" y="340"/>
                  </a:cubicBezTo>
                  <a:cubicBezTo>
                    <a:pt x="199" y="340"/>
                    <a:pt x="199" y="340"/>
                    <a:pt x="199" y="340"/>
                  </a:cubicBezTo>
                  <a:moveTo>
                    <a:pt x="214" y="340"/>
                  </a:moveTo>
                  <a:cubicBezTo>
                    <a:pt x="214" y="333"/>
                    <a:pt x="214" y="333"/>
                    <a:pt x="214" y="333"/>
                  </a:cubicBezTo>
                  <a:cubicBezTo>
                    <a:pt x="221" y="333"/>
                    <a:pt x="221" y="333"/>
                    <a:pt x="221" y="333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14" y="340"/>
                    <a:pt x="214" y="340"/>
                    <a:pt x="214" y="340"/>
                  </a:cubicBezTo>
                  <a:moveTo>
                    <a:pt x="229" y="340"/>
                  </a:moveTo>
                  <a:cubicBezTo>
                    <a:pt x="229" y="333"/>
                    <a:pt x="229" y="333"/>
                    <a:pt x="229" y="333"/>
                  </a:cubicBezTo>
                  <a:cubicBezTo>
                    <a:pt x="236" y="333"/>
                    <a:pt x="236" y="333"/>
                    <a:pt x="236" y="333"/>
                  </a:cubicBezTo>
                  <a:cubicBezTo>
                    <a:pt x="236" y="340"/>
                    <a:pt x="236" y="340"/>
                    <a:pt x="236" y="340"/>
                  </a:cubicBezTo>
                  <a:cubicBezTo>
                    <a:pt x="229" y="340"/>
                    <a:pt x="229" y="340"/>
                    <a:pt x="229" y="340"/>
                  </a:cubicBezTo>
                  <a:moveTo>
                    <a:pt x="244" y="340"/>
                  </a:moveTo>
                  <a:cubicBezTo>
                    <a:pt x="244" y="333"/>
                    <a:pt x="244" y="333"/>
                    <a:pt x="244" y="333"/>
                  </a:cubicBezTo>
                  <a:cubicBezTo>
                    <a:pt x="251" y="333"/>
                    <a:pt x="251" y="333"/>
                    <a:pt x="251" y="333"/>
                  </a:cubicBezTo>
                  <a:cubicBezTo>
                    <a:pt x="251" y="340"/>
                    <a:pt x="251" y="340"/>
                    <a:pt x="251" y="340"/>
                  </a:cubicBezTo>
                  <a:cubicBezTo>
                    <a:pt x="244" y="340"/>
                    <a:pt x="244" y="340"/>
                    <a:pt x="244" y="340"/>
                  </a:cubicBezTo>
                  <a:moveTo>
                    <a:pt x="258" y="340"/>
                  </a:moveTo>
                  <a:cubicBezTo>
                    <a:pt x="258" y="333"/>
                    <a:pt x="258" y="333"/>
                    <a:pt x="258" y="333"/>
                  </a:cubicBezTo>
                  <a:cubicBezTo>
                    <a:pt x="265" y="333"/>
                    <a:pt x="265" y="333"/>
                    <a:pt x="265" y="333"/>
                  </a:cubicBezTo>
                  <a:cubicBezTo>
                    <a:pt x="265" y="340"/>
                    <a:pt x="265" y="340"/>
                    <a:pt x="265" y="340"/>
                  </a:cubicBezTo>
                  <a:cubicBezTo>
                    <a:pt x="258" y="340"/>
                    <a:pt x="258" y="340"/>
                    <a:pt x="258" y="340"/>
                  </a:cubicBezTo>
                  <a:moveTo>
                    <a:pt x="273" y="340"/>
                  </a:moveTo>
                  <a:cubicBezTo>
                    <a:pt x="273" y="333"/>
                    <a:pt x="273" y="333"/>
                    <a:pt x="273" y="333"/>
                  </a:cubicBezTo>
                  <a:cubicBezTo>
                    <a:pt x="280" y="333"/>
                    <a:pt x="280" y="333"/>
                    <a:pt x="280" y="333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73" y="340"/>
                    <a:pt x="273" y="340"/>
                    <a:pt x="273" y="340"/>
                  </a:cubicBezTo>
                  <a:moveTo>
                    <a:pt x="288" y="340"/>
                  </a:moveTo>
                  <a:cubicBezTo>
                    <a:pt x="288" y="333"/>
                    <a:pt x="288" y="333"/>
                    <a:pt x="288" y="333"/>
                  </a:cubicBezTo>
                  <a:cubicBezTo>
                    <a:pt x="295" y="333"/>
                    <a:pt x="295" y="333"/>
                    <a:pt x="295" y="333"/>
                  </a:cubicBezTo>
                  <a:cubicBezTo>
                    <a:pt x="295" y="340"/>
                    <a:pt x="295" y="340"/>
                    <a:pt x="295" y="340"/>
                  </a:cubicBezTo>
                  <a:cubicBezTo>
                    <a:pt x="288" y="340"/>
                    <a:pt x="288" y="340"/>
                    <a:pt x="288" y="340"/>
                  </a:cubicBezTo>
                  <a:moveTo>
                    <a:pt x="303" y="340"/>
                  </a:moveTo>
                  <a:cubicBezTo>
                    <a:pt x="303" y="333"/>
                    <a:pt x="303" y="333"/>
                    <a:pt x="303" y="333"/>
                  </a:cubicBezTo>
                  <a:cubicBezTo>
                    <a:pt x="310" y="333"/>
                    <a:pt x="310" y="333"/>
                    <a:pt x="310" y="333"/>
                  </a:cubicBezTo>
                  <a:cubicBezTo>
                    <a:pt x="310" y="340"/>
                    <a:pt x="310" y="340"/>
                    <a:pt x="310" y="340"/>
                  </a:cubicBezTo>
                  <a:cubicBezTo>
                    <a:pt x="303" y="340"/>
                    <a:pt x="303" y="340"/>
                    <a:pt x="303" y="340"/>
                  </a:cubicBezTo>
                  <a:moveTo>
                    <a:pt x="317" y="340"/>
                  </a:moveTo>
                  <a:cubicBezTo>
                    <a:pt x="317" y="333"/>
                    <a:pt x="317" y="333"/>
                    <a:pt x="317" y="333"/>
                  </a:cubicBezTo>
                  <a:cubicBezTo>
                    <a:pt x="324" y="333"/>
                    <a:pt x="324" y="333"/>
                    <a:pt x="324" y="333"/>
                  </a:cubicBezTo>
                  <a:cubicBezTo>
                    <a:pt x="324" y="340"/>
                    <a:pt x="324" y="340"/>
                    <a:pt x="324" y="340"/>
                  </a:cubicBezTo>
                  <a:cubicBezTo>
                    <a:pt x="317" y="340"/>
                    <a:pt x="317" y="340"/>
                    <a:pt x="317" y="340"/>
                  </a:cubicBezTo>
                  <a:moveTo>
                    <a:pt x="52" y="325"/>
                  </a:moveTo>
                  <a:cubicBezTo>
                    <a:pt x="52" y="318"/>
                    <a:pt x="52" y="318"/>
                    <a:pt x="52" y="318"/>
                  </a:cubicBezTo>
                  <a:cubicBezTo>
                    <a:pt x="59" y="318"/>
                    <a:pt x="59" y="318"/>
                    <a:pt x="59" y="318"/>
                  </a:cubicBezTo>
                  <a:cubicBezTo>
                    <a:pt x="59" y="325"/>
                    <a:pt x="59" y="325"/>
                    <a:pt x="59" y="325"/>
                  </a:cubicBezTo>
                  <a:cubicBezTo>
                    <a:pt x="52" y="325"/>
                    <a:pt x="52" y="325"/>
                    <a:pt x="52" y="325"/>
                  </a:cubicBezTo>
                  <a:moveTo>
                    <a:pt x="67" y="325"/>
                  </a:moveTo>
                  <a:cubicBezTo>
                    <a:pt x="67" y="318"/>
                    <a:pt x="67" y="318"/>
                    <a:pt x="67" y="318"/>
                  </a:cubicBezTo>
                  <a:cubicBezTo>
                    <a:pt x="74" y="318"/>
                    <a:pt x="74" y="318"/>
                    <a:pt x="74" y="318"/>
                  </a:cubicBezTo>
                  <a:cubicBezTo>
                    <a:pt x="74" y="325"/>
                    <a:pt x="74" y="325"/>
                    <a:pt x="74" y="325"/>
                  </a:cubicBezTo>
                  <a:cubicBezTo>
                    <a:pt x="67" y="325"/>
                    <a:pt x="67" y="325"/>
                    <a:pt x="67" y="325"/>
                  </a:cubicBezTo>
                  <a:moveTo>
                    <a:pt x="81" y="325"/>
                  </a:moveTo>
                  <a:cubicBezTo>
                    <a:pt x="81" y="318"/>
                    <a:pt x="81" y="318"/>
                    <a:pt x="81" y="318"/>
                  </a:cubicBezTo>
                  <a:cubicBezTo>
                    <a:pt x="88" y="318"/>
                    <a:pt x="88" y="318"/>
                    <a:pt x="88" y="318"/>
                  </a:cubicBezTo>
                  <a:cubicBezTo>
                    <a:pt x="88" y="325"/>
                    <a:pt x="88" y="325"/>
                    <a:pt x="88" y="325"/>
                  </a:cubicBezTo>
                  <a:cubicBezTo>
                    <a:pt x="81" y="325"/>
                    <a:pt x="81" y="325"/>
                    <a:pt x="81" y="325"/>
                  </a:cubicBezTo>
                  <a:moveTo>
                    <a:pt x="96" y="325"/>
                  </a:moveTo>
                  <a:cubicBezTo>
                    <a:pt x="96" y="318"/>
                    <a:pt x="96" y="318"/>
                    <a:pt x="96" y="318"/>
                  </a:cubicBezTo>
                  <a:cubicBezTo>
                    <a:pt x="103" y="318"/>
                    <a:pt x="103" y="318"/>
                    <a:pt x="103" y="318"/>
                  </a:cubicBezTo>
                  <a:cubicBezTo>
                    <a:pt x="103" y="325"/>
                    <a:pt x="103" y="325"/>
                    <a:pt x="103" y="325"/>
                  </a:cubicBezTo>
                  <a:cubicBezTo>
                    <a:pt x="96" y="325"/>
                    <a:pt x="96" y="325"/>
                    <a:pt x="96" y="325"/>
                  </a:cubicBezTo>
                  <a:moveTo>
                    <a:pt x="111" y="325"/>
                  </a:moveTo>
                  <a:cubicBezTo>
                    <a:pt x="111" y="318"/>
                    <a:pt x="111" y="318"/>
                    <a:pt x="111" y="318"/>
                  </a:cubicBezTo>
                  <a:cubicBezTo>
                    <a:pt x="118" y="318"/>
                    <a:pt x="118" y="318"/>
                    <a:pt x="118" y="318"/>
                  </a:cubicBezTo>
                  <a:cubicBezTo>
                    <a:pt x="118" y="325"/>
                    <a:pt x="118" y="325"/>
                    <a:pt x="118" y="325"/>
                  </a:cubicBezTo>
                  <a:cubicBezTo>
                    <a:pt x="111" y="325"/>
                    <a:pt x="111" y="325"/>
                    <a:pt x="111" y="325"/>
                  </a:cubicBezTo>
                  <a:moveTo>
                    <a:pt x="126" y="325"/>
                  </a:moveTo>
                  <a:cubicBezTo>
                    <a:pt x="126" y="318"/>
                    <a:pt x="126" y="318"/>
                    <a:pt x="126" y="318"/>
                  </a:cubicBezTo>
                  <a:cubicBezTo>
                    <a:pt x="133" y="318"/>
                    <a:pt x="133" y="318"/>
                    <a:pt x="133" y="318"/>
                  </a:cubicBezTo>
                  <a:cubicBezTo>
                    <a:pt x="133" y="325"/>
                    <a:pt x="133" y="325"/>
                    <a:pt x="133" y="325"/>
                  </a:cubicBezTo>
                  <a:cubicBezTo>
                    <a:pt x="126" y="325"/>
                    <a:pt x="126" y="325"/>
                    <a:pt x="126" y="325"/>
                  </a:cubicBezTo>
                  <a:moveTo>
                    <a:pt x="140" y="325"/>
                  </a:moveTo>
                  <a:cubicBezTo>
                    <a:pt x="140" y="318"/>
                    <a:pt x="140" y="318"/>
                    <a:pt x="140" y="318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25"/>
                    <a:pt x="147" y="325"/>
                    <a:pt x="147" y="325"/>
                  </a:cubicBezTo>
                  <a:cubicBezTo>
                    <a:pt x="140" y="325"/>
                    <a:pt x="140" y="325"/>
                    <a:pt x="140" y="325"/>
                  </a:cubicBezTo>
                  <a:moveTo>
                    <a:pt x="155" y="325"/>
                  </a:moveTo>
                  <a:cubicBezTo>
                    <a:pt x="155" y="318"/>
                    <a:pt x="155" y="318"/>
                    <a:pt x="155" y="318"/>
                  </a:cubicBezTo>
                  <a:cubicBezTo>
                    <a:pt x="162" y="318"/>
                    <a:pt x="162" y="318"/>
                    <a:pt x="162" y="318"/>
                  </a:cubicBezTo>
                  <a:cubicBezTo>
                    <a:pt x="162" y="325"/>
                    <a:pt x="162" y="325"/>
                    <a:pt x="162" y="325"/>
                  </a:cubicBezTo>
                  <a:cubicBezTo>
                    <a:pt x="155" y="325"/>
                    <a:pt x="155" y="325"/>
                    <a:pt x="155" y="325"/>
                  </a:cubicBezTo>
                  <a:moveTo>
                    <a:pt x="170" y="325"/>
                  </a:moveTo>
                  <a:cubicBezTo>
                    <a:pt x="170" y="318"/>
                    <a:pt x="170" y="318"/>
                    <a:pt x="170" y="318"/>
                  </a:cubicBezTo>
                  <a:cubicBezTo>
                    <a:pt x="177" y="318"/>
                    <a:pt x="177" y="318"/>
                    <a:pt x="177" y="318"/>
                  </a:cubicBezTo>
                  <a:cubicBezTo>
                    <a:pt x="177" y="325"/>
                    <a:pt x="177" y="325"/>
                    <a:pt x="177" y="325"/>
                  </a:cubicBezTo>
                  <a:cubicBezTo>
                    <a:pt x="170" y="325"/>
                    <a:pt x="170" y="325"/>
                    <a:pt x="170" y="325"/>
                  </a:cubicBezTo>
                  <a:moveTo>
                    <a:pt x="185" y="325"/>
                  </a:moveTo>
                  <a:cubicBezTo>
                    <a:pt x="185" y="318"/>
                    <a:pt x="185" y="318"/>
                    <a:pt x="185" y="318"/>
                  </a:cubicBezTo>
                  <a:cubicBezTo>
                    <a:pt x="192" y="318"/>
                    <a:pt x="192" y="318"/>
                    <a:pt x="192" y="318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85" y="325"/>
                    <a:pt x="185" y="325"/>
                    <a:pt x="185" y="325"/>
                  </a:cubicBezTo>
                  <a:moveTo>
                    <a:pt x="199" y="325"/>
                  </a:moveTo>
                  <a:cubicBezTo>
                    <a:pt x="199" y="318"/>
                    <a:pt x="199" y="318"/>
                    <a:pt x="199" y="318"/>
                  </a:cubicBezTo>
                  <a:cubicBezTo>
                    <a:pt x="206" y="318"/>
                    <a:pt x="206" y="318"/>
                    <a:pt x="206" y="318"/>
                  </a:cubicBezTo>
                  <a:cubicBezTo>
                    <a:pt x="206" y="325"/>
                    <a:pt x="206" y="325"/>
                    <a:pt x="206" y="325"/>
                  </a:cubicBezTo>
                  <a:cubicBezTo>
                    <a:pt x="199" y="325"/>
                    <a:pt x="199" y="325"/>
                    <a:pt x="199" y="325"/>
                  </a:cubicBezTo>
                  <a:moveTo>
                    <a:pt x="214" y="325"/>
                  </a:moveTo>
                  <a:cubicBezTo>
                    <a:pt x="214" y="318"/>
                    <a:pt x="214" y="318"/>
                    <a:pt x="214" y="318"/>
                  </a:cubicBezTo>
                  <a:cubicBezTo>
                    <a:pt x="221" y="318"/>
                    <a:pt x="221" y="318"/>
                    <a:pt x="221" y="318"/>
                  </a:cubicBezTo>
                  <a:cubicBezTo>
                    <a:pt x="221" y="325"/>
                    <a:pt x="221" y="325"/>
                    <a:pt x="221" y="325"/>
                  </a:cubicBezTo>
                  <a:cubicBezTo>
                    <a:pt x="214" y="325"/>
                    <a:pt x="214" y="325"/>
                    <a:pt x="214" y="325"/>
                  </a:cubicBezTo>
                  <a:moveTo>
                    <a:pt x="229" y="325"/>
                  </a:moveTo>
                  <a:cubicBezTo>
                    <a:pt x="229" y="318"/>
                    <a:pt x="229" y="318"/>
                    <a:pt x="229" y="318"/>
                  </a:cubicBezTo>
                  <a:cubicBezTo>
                    <a:pt x="236" y="318"/>
                    <a:pt x="236" y="318"/>
                    <a:pt x="236" y="31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29" y="325"/>
                    <a:pt x="229" y="325"/>
                    <a:pt x="229" y="325"/>
                  </a:cubicBezTo>
                  <a:moveTo>
                    <a:pt x="244" y="325"/>
                  </a:moveTo>
                  <a:cubicBezTo>
                    <a:pt x="244" y="318"/>
                    <a:pt x="244" y="318"/>
                    <a:pt x="244" y="318"/>
                  </a:cubicBezTo>
                  <a:cubicBezTo>
                    <a:pt x="251" y="318"/>
                    <a:pt x="251" y="318"/>
                    <a:pt x="251" y="318"/>
                  </a:cubicBezTo>
                  <a:cubicBezTo>
                    <a:pt x="251" y="325"/>
                    <a:pt x="251" y="325"/>
                    <a:pt x="251" y="325"/>
                  </a:cubicBezTo>
                  <a:cubicBezTo>
                    <a:pt x="244" y="325"/>
                    <a:pt x="244" y="325"/>
                    <a:pt x="244" y="325"/>
                  </a:cubicBezTo>
                  <a:moveTo>
                    <a:pt x="258" y="325"/>
                  </a:moveTo>
                  <a:cubicBezTo>
                    <a:pt x="258" y="318"/>
                    <a:pt x="258" y="318"/>
                    <a:pt x="258" y="318"/>
                  </a:cubicBezTo>
                  <a:cubicBezTo>
                    <a:pt x="265" y="318"/>
                    <a:pt x="265" y="318"/>
                    <a:pt x="265" y="318"/>
                  </a:cubicBezTo>
                  <a:cubicBezTo>
                    <a:pt x="265" y="325"/>
                    <a:pt x="265" y="325"/>
                    <a:pt x="265" y="325"/>
                  </a:cubicBezTo>
                  <a:cubicBezTo>
                    <a:pt x="258" y="325"/>
                    <a:pt x="258" y="325"/>
                    <a:pt x="258" y="325"/>
                  </a:cubicBezTo>
                  <a:moveTo>
                    <a:pt x="273" y="325"/>
                  </a:moveTo>
                  <a:cubicBezTo>
                    <a:pt x="273" y="318"/>
                    <a:pt x="273" y="318"/>
                    <a:pt x="273" y="318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25"/>
                    <a:pt x="280" y="325"/>
                    <a:pt x="280" y="325"/>
                  </a:cubicBezTo>
                  <a:cubicBezTo>
                    <a:pt x="273" y="325"/>
                    <a:pt x="273" y="325"/>
                    <a:pt x="273" y="325"/>
                  </a:cubicBezTo>
                  <a:moveTo>
                    <a:pt x="288" y="325"/>
                  </a:moveTo>
                  <a:cubicBezTo>
                    <a:pt x="288" y="318"/>
                    <a:pt x="288" y="318"/>
                    <a:pt x="288" y="318"/>
                  </a:cubicBezTo>
                  <a:cubicBezTo>
                    <a:pt x="295" y="318"/>
                    <a:pt x="295" y="318"/>
                    <a:pt x="295" y="318"/>
                  </a:cubicBezTo>
                  <a:cubicBezTo>
                    <a:pt x="295" y="325"/>
                    <a:pt x="295" y="325"/>
                    <a:pt x="295" y="325"/>
                  </a:cubicBezTo>
                  <a:cubicBezTo>
                    <a:pt x="288" y="325"/>
                    <a:pt x="288" y="325"/>
                    <a:pt x="288" y="325"/>
                  </a:cubicBezTo>
                  <a:moveTo>
                    <a:pt x="303" y="325"/>
                  </a:moveTo>
                  <a:cubicBezTo>
                    <a:pt x="303" y="318"/>
                    <a:pt x="303" y="318"/>
                    <a:pt x="303" y="318"/>
                  </a:cubicBezTo>
                  <a:cubicBezTo>
                    <a:pt x="310" y="318"/>
                    <a:pt x="310" y="318"/>
                    <a:pt x="310" y="318"/>
                  </a:cubicBezTo>
                  <a:cubicBezTo>
                    <a:pt x="310" y="325"/>
                    <a:pt x="310" y="325"/>
                    <a:pt x="310" y="325"/>
                  </a:cubicBezTo>
                  <a:cubicBezTo>
                    <a:pt x="303" y="325"/>
                    <a:pt x="303" y="325"/>
                    <a:pt x="303" y="325"/>
                  </a:cubicBezTo>
                  <a:moveTo>
                    <a:pt x="317" y="325"/>
                  </a:moveTo>
                  <a:cubicBezTo>
                    <a:pt x="317" y="318"/>
                    <a:pt x="317" y="318"/>
                    <a:pt x="317" y="318"/>
                  </a:cubicBezTo>
                  <a:cubicBezTo>
                    <a:pt x="324" y="318"/>
                    <a:pt x="324" y="318"/>
                    <a:pt x="324" y="318"/>
                  </a:cubicBezTo>
                  <a:cubicBezTo>
                    <a:pt x="324" y="325"/>
                    <a:pt x="324" y="325"/>
                    <a:pt x="324" y="325"/>
                  </a:cubicBezTo>
                  <a:cubicBezTo>
                    <a:pt x="317" y="325"/>
                    <a:pt x="317" y="325"/>
                    <a:pt x="317" y="325"/>
                  </a:cubicBezTo>
                  <a:moveTo>
                    <a:pt x="332" y="325"/>
                  </a:moveTo>
                  <a:cubicBezTo>
                    <a:pt x="332" y="318"/>
                    <a:pt x="332" y="318"/>
                    <a:pt x="332" y="318"/>
                  </a:cubicBezTo>
                  <a:cubicBezTo>
                    <a:pt x="339" y="318"/>
                    <a:pt x="339" y="318"/>
                    <a:pt x="339" y="318"/>
                  </a:cubicBezTo>
                  <a:cubicBezTo>
                    <a:pt x="339" y="325"/>
                    <a:pt x="339" y="325"/>
                    <a:pt x="339" y="325"/>
                  </a:cubicBezTo>
                  <a:cubicBezTo>
                    <a:pt x="332" y="325"/>
                    <a:pt x="332" y="325"/>
                    <a:pt x="332" y="325"/>
                  </a:cubicBezTo>
                  <a:moveTo>
                    <a:pt x="37" y="310"/>
                  </a:moveTo>
                  <a:cubicBezTo>
                    <a:pt x="37" y="303"/>
                    <a:pt x="37" y="303"/>
                    <a:pt x="37" y="303"/>
                  </a:cubicBezTo>
                  <a:cubicBezTo>
                    <a:pt x="44" y="303"/>
                    <a:pt x="44" y="303"/>
                    <a:pt x="44" y="303"/>
                  </a:cubicBezTo>
                  <a:cubicBezTo>
                    <a:pt x="44" y="310"/>
                    <a:pt x="44" y="310"/>
                    <a:pt x="44" y="310"/>
                  </a:cubicBezTo>
                  <a:cubicBezTo>
                    <a:pt x="37" y="310"/>
                    <a:pt x="37" y="310"/>
                    <a:pt x="37" y="310"/>
                  </a:cubicBezTo>
                  <a:moveTo>
                    <a:pt x="52" y="310"/>
                  </a:moveTo>
                  <a:cubicBezTo>
                    <a:pt x="52" y="303"/>
                    <a:pt x="52" y="303"/>
                    <a:pt x="52" y="303"/>
                  </a:cubicBezTo>
                  <a:cubicBezTo>
                    <a:pt x="59" y="303"/>
                    <a:pt x="59" y="303"/>
                    <a:pt x="59" y="303"/>
                  </a:cubicBezTo>
                  <a:cubicBezTo>
                    <a:pt x="59" y="310"/>
                    <a:pt x="59" y="310"/>
                    <a:pt x="59" y="310"/>
                  </a:cubicBezTo>
                  <a:cubicBezTo>
                    <a:pt x="52" y="310"/>
                    <a:pt x="52" y="310"/>
                    <a:pt x="52" y="310"/>
                  </a:cubicBezTo>
                  <a:moveTo>
                    <a:pt x="67" y="310"/>
                  </a:moveTo>
                  <a:cubicBezTo>
                    <a:pt x="67" y="303"/>
                    <a:pt x="67" y="303"/>
                    <a:pt x="67" y="303"/>
                  </a:cubicBezTo>
                  <a:cubicBezTo>
                    <a:pt x="74" y="303"/>
                    <a:pt x="74" y="303"/>
                    <a:pt x="74" y="303"/>
                  </a:cubicBezTo>
                  <a:cubicBezTo>
                    <a:pt x="74" y="310"/>
                    <a:pt x="74" y="310"/>
                    <a:pt x="74" y="310"/>
                  </a:cubicBezTo>
                  <a:cubicBezTo>
                    <a:pt x="67" y="310"/>
                    <a:pt x="67" y="310"/>
                    <a:pt x="67" y="310"/>
                  </a:cubicBezTo>
                  <a:moveTo>
                    <a:pt x="81" y="310"/>
                  </a:moveTo>
                  <a:cubicBezTo>
                    <a:pt x="81" y="303"/>
                    <a:pt x="81" y="303"/>
                    <a:pt x="81" y="303"/>
                  </a:cubicBezTo>
                  <a:cubicBezTo>
                    <a:pt x="88" y="303"/>
                    <a:pt x="88" y="303"/>
                    <a:pt x="88" y="303"/>
                  </a:cubicBezTo>
                  <a:cubicBezTo>
                    <a:pt x="88" y="310"/>
                    <a:pt x="88" y="310"/>
                    <a:pt x="88" y="310"/>
                  </a:cubicBezTo>
                  <a:cubicBezTo>
                    <a:pt x="81" y="310"/>
                    <a:pt x="81" y="310"/>
                    <a:pt x="81" y="310"/>
                  </a:cubicBezTo>
                  <a:moveTo>
                    <a:pt x="96" y="310"/>
                  </a:moveTo>
                  <a:cubicBezTo>
                    <a:pt x="96" y="303"/>
                    <a:pt x="96" y="303"/>
                    <a:pt x="96" y="303"/>
                  </a:cubicBezTo>
                  <a:cubicBezTo>
                    <a:pt x="103" y="303"/>
                    <a:pt x="103" y="303"/>
                    <a:pt x="103" y="303"/>
                  </a:cubicBezTo>
                  <a:cubicBezTo>
                    <a:pt x="103" y="310"/>
                    <a:pt x="103" y="310"/>
                    <a:pt x="103" y="310"/>
                  </a:cubicBezTo>
                  <a:cubicBezTo>
                    <a:pt x="96" y="310"/>
                    <a:pt x="96" y="310"/>
                    <a:pt x="96" y="310"/>
                  </a:cubicBezTo>
                  <a:moveTo>
                    <a:pt x="111" y="310"/>
                  </a:moveTo>
                  <a:cubicBezTo>
                    <a:pt x="111" y="303"/>
                    <a:pt x="111" y="303"/>
                    <a:pt x="111" y="303"/>
                  </a:cubicBezTo>
                  <a:cubicBezTo>
                    <a:pt x="118" y="303"/>
                    <a:pt x="118" y="303"/>
                    <a:pt x="118" y="303"/>
                  </a:cubicBezTo>
                  <a:cubicBezTo>
                    <a:pt x="118" y="310"/>
                    <a:pt x="118" y="310"/>
                    <a:pt x="118" y="310"/>
                  </a:cubicBezTo>
                  <a:cubicBezTo>
                    <a:pt x="111" y="310"/>
                    <a:pt x="111" y="310"/>
                    <a:pt x="111" y="310"/>
                  </a:cubicBezTo>
                  <a:moveTo>
                    <a:pt x="126" y="310"/>
                  </a:moveTo>
                  <a:cubicBezTo>
                    <a:pt x="126" y="303"/>
                    <a:pt x="126" y="303"/>
                    <a:pt x="126" y="303"/>
                  </a:cubicBezTo>
                  <a:cubicBezTo>
                    <a:pt x="133" y="303"/>
                    <a:pt x="133" y="303"/>
                    <a:pt x="133" y="303"/>
                  </a:cubicBezTo>
                  <a:cubicBezTo>
                    <a:pt x="133" y="310"/>
                    <a:pt x="133" y="310"/>
                    <a:pt x="133" y="310"/>
                  </a:cubicBezTo>
                  <a:cubicBezTo>
                    <a:pt x="126" y="310"/>
                    <a:pt x="126" y="310"/>
                    <a:pt x="126" y="310"/>
                  </a:cubicBezTo>
                  <a:moveTo>
                    <a:pt x="140" y="310"/>
                  </a:moveTo>
                  <a:cubicBezTo>
                    <a:pt x="140" y="303"/>
                    <a:pt x="140" y="303"/>
                    <a:pt x="140" y="303"/>
                  </a:cubicBezTo>
                  <a:cubicBezTo>
                    <a:pt x="147" y="303"/>
                    <a:pt x="147" y="303"/>
                    <a:pt x="147" y="303"/>
                  </a:cubicBezTo>
                  <a:cubicBezTo>
                    <a:pt x="147" y="310"/>
                    <a:pt x="147" y="310"/>
                    <a:pt x="147" y="310"/>
                  </a:cubicBezTo>
                  <a:cubicBezTo>
                    <a:pt x="140" y="310"/>
                    <a:pt x="140" y="310"/>
                    <a:pt x="140" y="310"/>
                  </a:cubicBezTo>
                  <a:moveTo>
                    <a:pt x="155" y="310"/>
                  </a:moveTo>
                  <a:cubicBezTo>
                    <a:pt x="155" y="303"/>
                    <a:pt x="155" y="303"/>
                    <a:pt x="155" y="303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10"/>
                    <a:pt x="162" y="310"/>
                    <a:pt x="162" y="310"/>
                  </a:cubicBezTo>
                  <a:cubicBezTo>
                    <a:pt x="155" y="310"/>
                    <a:pt x="155" y="310"/>
                    <a:pt x="155" y="310"/>
                  </a:cubicBezTo>
                  <a:moveTo>
                    <a:pt x="170" y="310"/>
                  </a:moveTo>
                  <a:cubicBezTo>
                    <a:pt x="170" y="303"/>
                    <a:pt x="170" y="303"/>
                    <a:pt x="170" y="303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77" y="310"/>
                    <a:pt x="177" y="310"/>
                    <a:pt x="177" y="310"/>
                  </a:cubicBezTo>
                  <a:cubicBezTo>
                    <a:pt x="170" y="310"/>
                    <a:pt x="170" y="310"/>
                    <a:pt x="170" y="310"/>
                  </a:cubicBezTo>
                  <a:moveTo>
                    <a:pt x="185" y="310"/>
                  </a:moveTo>
                  <a:cubicBezTo>
                    <a:pt x="185" y="303"/>
                    <a:pt x="185" y="303"/>
                    <a:pt x="185" y="303"/>
                  </a:cubicBezTo>
                  <a:cubicBezTo>
                    <a:pt x="192" y="303"/>
                    <a:pt x="192" y="303"/>
                    <a:pt x="192" y="303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5" y="310"/>
                    <a:pt x="185" y="310"/>
                    <a:pt x="185" y="310"/>
                  </a:cubicBezTo>
                  <a:moveTo>
                    <a:pt x="199" y="310"/>
                  </a:moveTo>
                  <a:cubicBezTo>
                    <a:pt x="199" y="303"/>
                    <a:pt x="199" y="303"/>
                    <a:pt x="199" y="303"/>
                  </a:cubicBezTo>
                  <a:cubicBezTo>
                    <a:pt x="206" y="303"/>
                    <a:pt x="206" y="303"/>
                    <a:pt x="206" y="303"/>
                  </a:cubicBezTo>
                  <a:cubicBezTo>
                    <a:pt x="206" y="310"/>
                    <a:pt x="206" y="310"/>
                    <a:pt x="206" y="310"/>
                  </a:cubicBezTo>
                  <a:cubicBezTo>
                    <a:pt x="199" y="310"/>
                    <a:pt x="199" y="310"/>
                    <a:pt x="199" y="310"/>
                  </a:cubicBezTo>
                  <a:moveTo>
                    <a:pt x="214" y="310"/>
                  </a:moveTo>
                  <a:cubicBezTo>
                    <a:pt x="214" y="303"/>
                    <a:pt x="214" y="303"/>
                    <a:pt x="214" y="303"/>
                  </a:cubicBezTo>
                  <a:cubicBezTo>
                    <a:pt x="221" y="303"/>
                    <a:pt x="221" y="303"/>
                    <a:pt x="221" y="303"/>
                  </a:cubicBezTo>
                  <a:cubicBezTo>
                    <a:pt x="221" y="310"/>
                    <a:pt x="221" y="310"/>
                    <a:pt x="221" y="310"/>
                  </a:cubicBezTo>
                  <a:cubicBezTo>
                    <a:pt x="214" y="310"/>
                    <a:pt x="214" y="310"/>
                    <a:pt x="214" y="310"/>
                  </a:cubicBezTo>
                  <a:moveTo>
                    <a:pt x="229" y="310"/>
                  </a:moveTo>
                  <a:cubicBezTo>
                    <a:pt x="229" y="303"/>
                    <a:pt x="229" y="303"/>
                    <a:pt x="229" y="303"/>
                  </a:cubicBezTo>
                  <a:cubicBezTo>
                    <a:pt x="236" y="303"/>
                    <a:pt x="236" y="303"/>
                    <a:pt x="236" y="303"/>
                  </a:cubicBezTo>
                  <a:cubicBezTo>
                    <a:pt x="236" y="310"/>
                    <a:pt x="236" y="310"/>
                    <a:pt x="236" y="310"/>
                  </a:cubicBezTo>
                  <a:cubicBezTo>
                    <a:pt x="229" y="310"/>
                    <a:pt x="229" y="310"/>
                    <a:pt x="229" y="310"/>
                  </a:cubicBezTo>
                  <a:moveTo>
                    <a:pt x="244" y="310"/>
                  </a:moveTo>
                  <a:cubicBezTo>
                    <a:pt x="244" y="303"/>
                    <a:pt x="244" y="303"/>
                    <a:pt x="244" y="303"/>
                  </a:cubicBezTo>
                  <a:cubicBezTo>
                    <a:pt x="251" y="303"/>
                    <a:pt x="251" y="303"/>
                    <a:pt x="251" y="303"/>
                  </a:cubicBezTo>
                  <a:cubicBezTo>
                    <a:pt x="251" y="310"/>
                    <a:pt x="251" y="310"/>
                    <a:pt x="251" y="310"/>
                  </a:cubicBezTo>
                  <a:cubicBezTo>
                    <a:pt x="244" y="310"/>
                    <a:pt x="244" y="310"/>
                    <a:pt x="244" y="310"/>
                  </a:cubicBezTo>
                  <a:moveTo>
                    <a:pt x="258" y="310"/>
                  </a:moveTo>
                  <a:cubicBezTo>
                    <a:pt x="258" y="303"/>
                    <a:pt x="258" y="303"/>
                    <a:pt x="258" y="303"/>
                  </a:cubicBezTo>
                  <a:cubicBezTo>
                    <a:pt x="265" y="303"/>
                    <a:pt x="265" y="303"/>
                    <a:pt x="265" y="303"/>
                  </a:cubicBezTo>
                  <a:cubicBezTo>
                    <a:pt x="265" y="310"/>
                    <a:pt x="265" y="310"/>
                    <a:pt x="265" y="310"/>
                  </a:cubicBezTo>
                  <a:cubicBezTo>
                    <a:pt x="258" y="310"/>
                    <a:pt x="258" y="310"/>
                    <a:pt x="258" y="310"/>
                  </a:cubicBezTo>
                  <a:moveTo>
                    <a:pt x="273" y="310"/>
                  </a:moveTo>
                  <a:cubicBezTo>
                    <a:pt x="273" y="303"/>
                    <a:pt x="273" y="303"/>
                    <a:pt x="273" y="303"/>
                  </a:cubicBezTo>
                  <a:cubicBezTo>
                    <a:pt x="280" y="303"/>
                    <a:pt x="280" y="303"/>
                    <a:pt x="280" y="303"/>
                  </a:cubicBezTo>
                  <a:cubicBezTo>
                    <a:pt x="280" y="310"/>
                    <a:pt x="280" y="310"/>
                    <a:pt x="280" y="310"/>
                  </a:cubicBezTo>
                  <a:cubicBezTo>
                    <a:pt x="273" y="310"/>
                    <a:pt x="273" y="310"/>
                    <a:pt x="273" y="310"/>
                  </a:cubicBezTo>
                  <a:moveTo>
                    <a:pt x="288" y="310"/>
                  </a:moveTo>
                  <a:cubicBezTo>
                    <a:pt x="288" y="303"/>
                    <a:pt x="288" y="303"/>
                    <a:pt x="288" y="303"/>
                  </a:cubicBezTo>
                  <a:cubicBezTo>
                    <a:pt x="295" y="303"/>
                    <a:pt x="295" y="303"/>
                    <a:pt x="295" y="303"/>
                  </a:cubicBezTo>
                  <a:cubicBezTo>
                    <a:pt x="295" y="310"/>
                    <a:pt x="295" y="310"/>
                    <a:pt x="295" y="310"/>
                  </a:cubicBezTo>
                  <a:cubicBezTo>
                    <a:pt x="288" y="310"/>
                    <a:pt x="288" y="310"/>
                    <a:pt x="288" y="310"/>
                  </a:cubicBezTo>
                  <a:moveTo>
                    <a:pt x="303" y="310"/>
                  </a:moveTo>
                  <a:cubicBezTo>
                    <a:pt x="303" y="303"/>
                    <a:pt x="303" y="303"/>
                    <a:pt x="303" y="303"/>
                  </a:cubicBezTo>
                  <a:cubicBezTo>
                    <a:pt x="310" y="303"/>
                    <a:pt x="310" y="303"/>
                    <a:pt x="310" y="303"/>
                  </a:cubicBezTo>
                  <a:cubicBezTo>
                    <a:pt x="310" y="310"/>
                    <a:pt x="310" y="310"/>
                    <a:pt x="310" y="310"/>
                  </a:cubicBezTo>
                  <a:cubicBezTo>
                    <a:pt x="303" y="310"/>
                    <a:pt x="303" y="310"/>
                    <a:pt x="303" y="310"/>
                  </a:cubicBezTo>
                  <a:moveTo>
                    <a:pt x="317" y="310"/>
                  </a:moveTo>
                  <a:cubicBezTo>
                    <a:pt x="317" y="303"/>
                    <a:pt x="317" y="303"/>
                    <a:pt x="317" y="303"/>
                  </a:cubicBezTo>
                  <a:cubicBezTo>
                    <a:pt x="324" y="303"/>
                    <a:pt x="324" y="303"/>
                    <a:pt x="324" y="303"/>
                  </a:cubicBezTo>
                  <a:cubicBezTo>
                    <a:pt x="324" y="310"/>
                    <a:pt x="324" y="310"/>
                    <a:pt x="324" y="310"/>
                  </a:cubicBezTo>
                  <a:cubicBezTo>
                    <a:pt x="317" y="310"/>
                    <a:pt x="317" y="310"/>
                    <a:pt x="317" y="310"/>
                  </a:cubicBezTo>
                  <a:moveTo>
                    <a:pt x="332" y="310"/>
                  </a:moveTo>
                  <a:cubicBezTo>
                    <a:pt x="332" y="303"/>
                    <a:pt x="332" y="303"/>
                    <a:pt x="332" y="303"/>
                  </a:cubicBezTo>
                  <a:cubicBezTo>
                    <a:pt x="339" y="303"/>
                    <a:pt x="339" y="303"/>
                    <a:pt x="339" y="303"/>
                  </a:cubicBezTo>
                  <a:cubicBezTo>
                    <a:pt x="339" y="310"/>
                    <a:pt x="339" y="310"/>
                    <a:pt x="339" y="310"/>
                  </a:cubicBezTo>
                  <a:cubicBezTo>
                    <a:pt x="332" y="310"/>
                    <a:pt x="332" y="310"/>
                    <a:pt x="332" y="310"/>
                  </a:cubicBezTo>
                  <a:moveTo>
                    <a:pt x="347" y="310"/>
                  </a:moveTo>
                  <a:cubicBezTo>
                    <a:pt x="347" y="303"/>
                    <a:pt x="347" y="303"/>
                    <a:pt x="347" y="303"/>
                  </a:cubicBezTo>
                  <a:cubicBezTo>
                    <a:pt x="354" y="303"/>
                    <a:pt x="354" y="303"/>
                    <a:pt x="354" y="303"/>
                  </a:cubicBezTo>
                  <a:cubicBezTo>
                    <a:pt x="354" y="310"/>
                    <a:pt x="354" y="310"/>
                    <a:pt x="354" y="310"/>
                  </a:cubicBezTo>
                  <a:cubicBezTo>
                    <a:pt x="347" y="310"/>
                    <a:pt x="347" y="310"/>
                    <a:pt x="347" y="310"/>
                  </a:cubicBezTo>
                  <a:moveTo>
                    <a:pt x="37" y="295"/>
                  </a:moveTo>
                  <a:cubicBezTo>
                    <a:pt x="37" y="288"/>
                    <a:pt x="37" y="288"/>
                    <a:pt x="37" y="288"/>
                  </a:cubicBezTo>
                  <a:cubicBezTo>
                    <a:pt x="44" y="288"/>
                    <a:pt x="44" y="288"/>
                    <a:pt x="44" y="288"/>
                  </a:cubicBezTo>
                  <a:cubicBezTo>
                    <a:pt x="44" y="295"/>
                    <a:pt x="44" y="295"/>
                    <a:pt x="44" y="295"/>
                  </a:cubicBezTo>
                  <a:cubicBezTo>
                    <a:pt x="37" y="295"/>
                    <a:pt x="37" y="295"/>
                    <a:pt x="37" y="295"/>
                  </a:cubicBezTo>
                  <a:moveTo>
                    <a:pt x="52" y="295"/>
                  </a:moveTo>
                  <a:cubicBezTo>
                    <a:pt x="52" y="288"/>
                    <a:pt x="52" y="288"/>
                    <a:pt x="52" y="288"/>
                  </a:cubicBezTo>
                  <a:cubicBezTo>
                    <a:pt x="59" y="288"/>
                    <a:pt x="59" y="288"/>
                    <a:pt x="59" y="288"/>
                  </a:cubicBezTo>
                  <a:cubicBezTo>
                    <a:pt x="59" y="295"/>
                    <a:pt x="59" y="295"/>
                    <a:pt x="59" y="295"/>
                  </a:cubicBezTo>
                  <a:cubicBezTo>
                    <a:pt x="52" y="295"/>
                    <a:pt x="52" y="295"/>
                    <a:pt x="52" y="295"/>
                  </a:cubicBezTo>
                  <a:moveTo>
                    <a:pt x="67" y="295"/>
                  </a:moveTo>
                  <a:cubicBezTo>
                    <a:pt x="67" y="288"/>
                    <a:pt x="67" y="288"/>
                    <a:pt x="67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95"/>
                    <a:pt x="74" y="295"/>
                    <a:pt x="74" y="295"/>
                  </a:cubicBezTo>
                  <a:cubicBezTo>
                    <a:pt x="67" y="295"/>
                    <a:pt x="67" y="295"/>
                    <a:pt x="67" y="295"/>
                  </a:cubicBezTo>
                  <a:moveTo>
                    <a:pt x="81" y="295"/>
                  </a:moveTo>
                  <a:cubicBezTo>
                    <a:pt x="81" y="288"/>
                    <a:pt x="81" y="288"/>
                    <a:pt x="81" y="288"/>
                  </a:cubicBezTo>
                  <a:cubicBezTo>
                    <a:pt x="88" y="288"/>
                    <a:pt x="88" y="288"/>
                    <a:pt x="88" y="288"/>
                  </a:cubicBezTo>
                  <a:cubicBezTo>
                    <a:pt x="88" y="295"/>
                    <a:pt x="88" y="295"/>
                    <a:pt x="88" y="295"/>
                  </a:cubicBezTo>
                  <a:cubicBezTo>
                    <a:pt x="81" y="295"/>
                    <a:pt x="81" y="295"/>
                    <a:pt x="81" y="295"/>
                  </a:cubicBezTo>
                  <a:moveTo>
                    <a:pt x="96" y="295"/>
                  </a:moveTo>
                  <a:cubicBezTo>
                    <a:pt x="96" y="288"/>
                    <a:pt x="96" y="288"/>
                    <a:pt x="96" y="288"/>
                  </a:cubicBezTo>
                  <a:cubicBezTo>
                    <a:pt x="103" y="288"/>
                    <a:pt x="103" y="288"/>
                    <a:pt x="103" y="288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96" y="295"/>
                    <a:pt x="96" y="295"/>
                    <a:pt x="96" y="295"/>
                  </a:cubicBezTo>
                  <a:moveTo>
                    <a:pt x="111" y="295"/>
                  </a:moveTo>
                  <a:cubicBezTo>
                    <a:pt x="111" y="288"/>
                    <a:pt x="111" y="288"/>
                    <a:pt x="111" y="288"/>
                  </a:cubicBezTo>
                  <a:cubicBezTo>
                    <a:pt x="118" y="288"/>
                    <a:pt x="118" y="288"/>
                    <a:pt x="118" y="288"/>
                  </a:cubicBezTo>
                  <a:cubicBezTo>
                    <a:pt x="118" y="295"/>
                    <a:pt x="118" y="295"/>
                    <a:pt x="118" y="295"/>
                  </a:cubicBezTo>
                  <a:cubicBezTo>
                    <a:pt x="111" y="295"/>
                    <a:pt x="111" y="295"/>
                    <a:pt x="111" y="295"/>
                  </a:cubicBezTo>
                  <a:moveTo>
                    <a:pt x="126" y="295"/>
                  </a:moveTo>
                  <a:cubicBezTo>
                    <a:pt x="126" y="288"/>
                    <a:pt x="126" y="288"/>
                    <a:pt x="126" y="288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33" y="295"/>
                    <a:pt x="133" y="295"/>
                    <a:pt x="133" y="295"/>
                  </a:cubicBezTo>
                  <a:cubicBezTo>
                    <a:pt x="126" y="295"/>
                    <a:pt x="126" y="295"/>
                    <a:pt x="126" y="295"/>
                  </a:cubicBezTo>
                  <a:moveTo>
                    <a:pt x="140" y="295"/>
                  </a:moveTo>
                  <a:cubicBezTo>
                    <a:pt x="140" y="288"/>
                    <a:pt x="140" y="288"/>
                    <a:pt x="140" y="288"/>
                  </a:cubicBezTo>
                  <a:cubicBezTo>
                    <a:pt x="147" y="288"/>
                    <a:pt x="147" y="288"/>
                    <a:pt x="147" y="288"/>
                  </a:cubicBezTo>
                  <a:cubicBezTo>
                    <a:pt x="147" y="295"/>
                    <a:pt x="147" y="295"/>
                    <a:pt x="147" y="295"/>
                  </a:cubicBezTo>
                  <a:cubicBezTo>
                    <a:pt x="140" y="295"/>
                    <a:pt x="140" y="295"/>
                    <a:pt x="140" y="295"/>
                  </a:cubicBezTo>
                  <a:moveTo>
                    <a:pt x="155" y="295"/>
                  </a:moveTo>
                  <a:cubicBezTo>
                    <a:pt x="155" y="288"/>
                    <a:pt x="155" y="288"/>
                    <a:pt x="155" y="288"/>
                  </a:cubicBezTo>
                  <a:cubicBezTo>
                    <a:pt x="162" y="288"/>
                    <a:pt x="162" y="288"/>
                    <a:pt x="162" y="288"/>
                  </a:cubicBezTo>
                  <a:cubicBezTo>
                    <a:pt x="162" y="295"/>
                    <a:pt x="162" y="295"/>
                    <a:pt x="162" y="295"/>
                  </a:cubicBezTo>
                  <a:cubicBezTo>
                    <a:pt x="155" y="295"/>
                    <a:pt x="155" y="295"/>
                    <a:pt x="155" y="295"/>
                  </a:cubicBezTo>
                  <a:moveTo>
                    <a:pt x="170" y="295"/>
                  </a:moveTo>
                  <a:cubicBezTo>
                    <a:pt x="170" y="288"/>
                    <a:pt x="170" y="288"/>
                    <a:pt x="170" y="288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177" y="295"/>
                    <a:pt x="177" y="295"/>
                    <a:pt x="177" y="295"/>
                  </a:cubicBezTo>
                  <a:cubicBezTo>
                    <a:pt x="170" y="295"/>
                    <a:pt x="170" y="295"/>
                    <a:pt x="170" y="295"/>
                  </a:cubicBezTo>
                  <a:moveTo>
                    <a:pt x="185" y="295"/>
                  </a:moveTo>
                  <a:cubicBezTo>
                    <a:pt x="185" y="288"/>
                    <a:pt x="185" y="288"/>
                    <a:pt x="18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192" y="295"/>
                    <a:pt x="192" y="295"/>
                    <a:pt x="192" y="295"/>
                  </a:cubicBezTo>
                  <a:cubicBezTo>
                    <a:pt x="185" y="295"/>
                    <a:pt x="185" y="295"/>
                    <a:pt x="185" y="295"/>
                  </a:cubicBezTo>
                  <a:moveTo>
                    <a:pt x="199" y="295"/>
                  </a:moveTo>
                  <a:cubicBezTo>
                    <a:pt x="199" y="288"/>
                    <a:pt x="199" y="288"/>
                    <a:pt x="199" y="288"/>
                  </a:cubicBezTo>
                  <a:cubicBezTo>
                    <a:pt x="206" y="288"/>
                    <a:pt x="206" y="288"/>
                    <a:pt x="206" y="288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199" y="295"/>
                    <a:pt x="199" y="295"/>
                    <a:pt x="199" y="295"/>
                  </a:cubicBezTo>
                  <a:moveTo>
                    <a:pt x="214" y="295"/>
                  </a:moveTo>
                  <a:cubicBezTo>
                    <a:pt x="214" y="288"/>
                    <a:pt x="214" y="288"/>
                    <a:pt x="214" y="288"/>
                  </a:cubicBezTo>
                  <a:cubicBezTo>
                    <a:pt x="221" y="288"/>
                    <a:pt x="221" y="288"/>
                    <a:pt x="221" y="288"/>
                  </a:cubicBezTo>
                  <a:cubicBezTo>
                    <a:pt x="221" y="295"/>
                    <a:pt x="221" y="295"/>
                    <a:pt x="221" y="295"/>
                  </a:cubicBezTo>
                  <a:cubicBezTo>
                    <a:pt x="214" y="295"/>
                    <a:pt x="214" y="295"/>
                    <a:pt x="214" y="295"/>
                  </a:cubicBezTo>
                  <a:moveTo>
                    <a:pt x="229" y="295"/>
                  </a:moveTo>
                  <a:cubicBezTo>
                    <a:pt x="229" y="288"/>
                    <a:pt x="229" y="288"/>
                    <a:pt x="229" y="288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29" y="295"/>
                    <a:pt x="229" y="295"/>
                    <a:pt x="229" y="295"/>
                  </a:cubicBezTo>
                  <a:moveTo>
                    <a:pt x="244" y="295"/>
                  </a:moveTo>
                  <a:cubicBezTo>
                    <a:pt x="244" y="288"/>
                    <a:pt x="244" y="288"/>
                    <a:pt x="244" y="288"/>
                  </a:cubicBezTo>
                  <a:cubicBezTo>
                    <a:pt x="251" y="288"/>
                    <a:pt x="251" y="288"/>
                    <a:pt x="251" y="288"/>
                  </a:cubicBezTo>
                  <a:cubicBezTo>
                    <a:pt x="251" y="295"/>
                    <a:pt x="251" y="295"/>
                    <a:pt x="251" y="295"/>
                  </a:cubicBezTo>
                  <a:cubicBezTo>
                    <a:pt x="244" y="295"/>
                    <a:pt x="244" y="295"/>
                    <a:pt x="244" y="295"/>
                  </a:cubicBezTo>
                  <a:moveTo>
                    <a:pt x="258" y="295"/>
                  </a:moveTo>
                  <a:cubicBezTo>
                    <a:pt x="258" y="288"/>
                    <a:pt x="258" y="288"/>
                    <a:pt x="258" y="288"/>
                  </a:cubicBezTo>
                  <a:cubicBezTo>
                    <a:pt x="265" y="288"/>
                    <a:pt x="265" y="288"/>
                    <a:pt x="265" y="288"/>
                  </a:cubicBezTo>
                  <a:cubicBezTo>
                    <a:pt x="265" y="295"/>
                    <a:pt x="265" y="295"/>
                    <a:pt x="265" y="295"/>
                  </a:cubicBezTo>
                  <a:cubicBezTo>
                    <a:pt x="258" y="295"/>
                    <a:pt x="258" y="295"/>
                    <a:pt x="258" y="295"/>
                  </a:cubicBezTo>
                  <a:moveTo>
                    <a:pt x="273" y="295"/>
                  </a:moveTo>
                  <a:cubicBezTo>
                    <a:pt x="273" y="288"/>
                    <a:pt x="273" y="288"/>
                    <a:pt x="273" y="288"/>
                  </a:cubicBezTo>
                  <a:cubicBezTo>
                    <a:pt x="280" y="288"/>
                    <a:pt x="280" y="288"/>
                    <a:pt x="280" y="288"/>
                  </a:cubicBezTo>
                  <a:cubicBezTo>
                    <a:pt x="280" y="295"/>
                    <a:pt x="280" y="295"/>
                    <a:pt x="280" y="295"/>
                  </a:cubicBezTo>
                  <a:cubicBezTo>
                    <a:pt x="273" y="295"/>
                    <a:pt x="273" y="295"/>
                    <a:pt x="273" y="295"/>
                  </a:cubicBezTo>
                  <a:moveTo>
                    <a:pt x="288" y="295"/>
                  </a:moveTo>
                  <a:cubicBezTo>
                    <a:pt x="288" y="288"/>
                    <a:pt x="288" y="288"/>
                    <a:pt x="288" y="288"/>
                  </a:cubicBezTo>
                  <a:cubicBezTo>
                    <a:pt x="295" y="288"/>
                    <a:pt x="295" y="288"/>
                    <a:pt x="295" y="288"/>
                  </a:cubicBezTo>
                  <a:cubicBezTo>
                    <a:pt x="295" y="295"/>
                    <a:pt x="295" y="295"/>
                    <a:pt x="295" y="295"/>
                  </a:cubicBezTo>
                  <a:cubicBezTo>
                    <a:pt x="288" y="295"/>
                    <a:pt x="288" y="295"/>
                    <a:pt x="288" y="295"/>
                  </a:cubicBezTo>
                  <a:moveTo>
                    <a:pt x="303" y="295"/>
                  </a:moveTo>
                  <a:cubicBezTo>
                    <a:pt x="303" y="288"/>
                    <a:pt x="303" y="288"/>
                    <a:pt x="303" y="288"/>
                  </a:cubicBezTo>
                  <a:cubicBezTo>
                    <a:pt x="310" y="288"/>
                    <a:pt x="310" y="288"/>
                    <a:pt x="310" y="288"/>
                  </a:cubicBezTo>
                  <a:cubicBezTo>
                    <a:pt x="310" y="295"/>
                    <a:pt x="310" y="295"/>
                    <a:pt x="310" y="295"/>
                  </a:cubicBezTo>
                  <a:cubicBezTo>
                    <a:pt x="303" y="295"/>
                    <a:pt x="303" y="295"/>
                    <a:pt x="303" y="295"/>
                  </a:cubicBezTo>
                  <a:moveTo>
                    <a:pt x="317" y="295"/>
                  </a:moveTo>
                  <a:cubicBezTo>
                    <a:pt x="317" y="288"/>
                    <a:pt x="317" y="288"/>
                    <a:pt x="317" y="288"/>
                  </a:cubicBezTo>
                  <a:cubicBezTo>
                    <a:pt x="324" y="288"/>
                    <a:pt x="324" y="288"/>
                    <a:pt x="324" y="288"/>
                  </a:cubicBezTo>
                  <a:cubicBezTo>
                    <a:pt x="324" y="295"/>
                    <a:pt x="324" y="295"/>
                    <a:pt x="324" y="295"/>
                  </a:cubicBezTo>
                  <a:cubicBezTo>
                    <a:pt x="317" y="295"/>
                    <a:pt x="317" y="295"/>
                    <a:pt x="317" y="295"/>
                  </a:cubicBezTo>
                  <a:moveTo>
                    <a:pt x="332" y="295"/>
                  </a:moveTo>
                  <a:cubicBezTo>
                    <a:pt x="332" y="288"/>
                    <a:pt x="332" y="288"/>
                    <a:pt x="332" y="288"/>
                  </a:cubicBezTo>
                  <a:cubicBezTo>
                    <a:pt x="339" y="288"/>
                    <a:pt x="339" y="288"/>
                    <a:pt x="339" y="288"/>
                  </a:cubicBezTo>
                  <a:cubicBezTo>
                    <a:pt x="339" y="295"/>
                    <a:pt x="339" y="295"/>
                    <a:pt x="339" y="295"/>
                  </a:cubicBezTo>
                  <a:cubicBezTo>
                    <a:pt x="332" y="295"/>
                    <a:pt x="332" y="295"/>
                    <a:pt x="332" y="295"/>
                  </a:cubicBezTo>
                  <a:moveTo>
                    <a:pt x="347" y="295"/>
                  </a:moveTo>
                  <a:cubicBezTo>
                    <a:pt x="347" y="288"/>
                    <a:pt x="347" y="288"/>
                    <a:pt x="347" y="288"/>
                  </a:cubicBezTo>
                  <a:cubicBezTo>
                    <a:pt x="354" y="288"/>
                    <a:pt x="354" y="288"/>
                    <a:pt x="354" y="288"/>
                  </a:cubicBezTo>
                  <a:cubicBezTo>
                    <a:pt x="354" y="295"/>
                    <a:pt x="354" y="295"/>
                    <a:pt x="354" y="295"/>
                  </a:cubicBezTo>
                  <a:cubicBezTo>
                    <a:pt x="347" y="295"/>
                    <a:pt x="347" y="295"/>
                    <a:pt x="347" y="295"/>
                  </a:cubicBezTo>
                  <a:moveTo>
                    <a:pt x="22" y="281"/>
                  </a:moveTo>
                  <a:cubicBezTo>
                    <a:pt x="22" y="274"/>
                    <a:pt x="22" y="274"/>
                    <a:pt x="22" y="274"/>
                  </a:cubicBezTo>
                  <a:cubicBezTo>
                    <a:pt x="29" y="274"/>
                    <a:pt x="29" y="274"/>
                    <a:pt x="29" y="274"/>
                  </a:cubicBezTo>
                  <a:cubicBezTo>
                    <a:pt x="29" y="281"/>
                    <a:pt x="29" y="281"/>
                    <a:pt x="29" y="281"/>
                  </a:cubicBezTo>
                  <a:cubicBezTo>
                    <a:pt x="22" y="281"/>
                    <a:pt x="22" y="281"/>
                    <a:pt x="22" y="281"/>
                  </a:cubicBezTo>
                  <a:moveTo>
                    <a:pt x="37" y="281"/>
                  </a:moveTo>
                  <a:cubicBezTo>
                    <a:pt x="37" y="274"/>
                    <a:pt x="37" y="274"/>
                    <a:pt x="37" y="274"/>
                  </a:cubicBezTo>
                  <a:cubicBezTo>
                    <a:pt x="44" y="274"/>
                    <a:pt x="44" y="274"/>
                    <a:pt x="44" y="274"/>
                  </a:cubicBezTo>
                  <a:cubicBezTo>
                    <a:pt x="44" y="281"/>
                    <a:pt x="44" y="281"/>
                    <a:pt x="44" y="281"/>
                  </a:cubicBezTo>
                  <a:cubicBezTo>
                    <a:pt x="37" y="281"/>
                    <a:pt x="37" y="281"/>
                    <a:pt x="37" y="281"/>
                  </a:cubicBezTo>
                  <a:moveTo>
                    <a:pt x="52" y="281"/>
                  </a:moveTo>
                  <a:cubicBezTo>
                    <a:pt x="52" y="274"/>
                    <a:pt x="52" y="274"/>
                    <a:pt x="52" y="274"/>
                  </a:cubicBezTo>
                  <a:cubicBezTo>
                    <a:pt x="59" y="274"/>
                    <a:pt x="59" y="274"/>
                    <a:pt x="59" y="274"/>
                  </a:cubicBezTo>
                  <a:cubicBezTo>
                    <a:pt x="59" y="281"/>
                    <a:pt x="59" y="281"/>
                    <a:pt x="59" y="281"/>
                  </a:cubicBezTo>
                  <a:cubicBezTo>
                    <a:pt x="52" y="281"/>
                    <a:pt x="52" y="281"/>
                    <a:pt x="52" y="281"/>
                  </a:cubicBezTo>
                  <a:moveTo>
                    <a:pt x="67" y="281"/>
                  </a:moveTo>
                  <a:cubicBezTo>
                    <a:pt x="67" y="274"/>
                    <a:pt x="67" y="274"/>
                    <a:pt x="67" y="274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74" y="281"/>
                    <a:pt x="74" y="281"/>
                    <a:pt x="74" y="281"/>
                  </a:cubicBezTo>
                  <a:cubicBezTo>
                    <a:pt x="67" y="281"/>
                    <a:pt x="67" y="281"/>
                    <a:pt x="67" y="281"/>
                  </a:cubicBezTo>
                  <a:moveTo>
                    <a:pt x="81" y="281"/>
                  </a:moveTo>
                  <a:cubicBezTo>
                    <a:pt x="81" y="274"/>
                    <a:pt x="81" y="274"/>
                    <a:pt x="81" y="274"/>
                  </a:cubicBezTo>
                  <a:cubicBezTo>
                    <a:pt x="88" y="274"/>
                    <a:pt x="88" y="274"/>
                    <a:pt x="88" y="274"/>
                  </a:cubicBezTo>
                  <a:cubicBezTo>
                    <a:pt x="88" y="281"/>
                    <a:pt x="88" y="281"/>
                    <a:pt x="88" y="281"/>
                  </a:cubicBezTo>
                  <a:cubicBezTo>
                    <a:pt x="81" y="281"/>
                    <a:pt x="81" y="281"/>
                    <a:pt x="81" y="281"/>
                  </a:cubicBezTo>
                  <a:moveTo>
                    <a:pt x="96" y="281"/>
                  </a:moveTo>
                  <a:cubicBezTo>
                    <a:pt x="96" y="274"/>
                    <a:pt x="96" y="274"/>
                    <a:pt x="96" y="274"/>
                  </a:cubicBezTo>
                  <a:cubicBezTo>
                    <a:pt x="103" y="274"/>
                    <a:pt x="103" y="274"/>
                    <a:pt x="103" y="274"/>
                  </a:cubicBezTo>
                  <a:cubicBezTo>
                    <a:pt x="103" y="281"/>
                    <a:pt x="103" y="281"/>
                    <a:pt x="103" y="281"/>
                  </a:cubicBezTo>
                  <a:cubicBezTo>
                    <a:pt x="96" y="281"/>
                    <a:pt x="96" y="281"/>
                    <a:pt x="96" y="281"/>
                  </a:cubicBezTo>
                  <a:moveTo>
                    <a:pt x="111" y="281"/>
                  </a:moveTo>
                  <a:cubicBezTo>
                    <a:pt x="111" y="274"/>
                    <a:pt x="111" y="274"/>
                    <a:pt x="111" y="274"/>
                  </a:cubicBezTo>
                  <a:cubicBezTo>
                    <a:pt x="118" y="274"/>
                    <a:pt x="118" y="274"/>
                    <a:pt x="118" y="274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111" y="281"/>
                    <a:pt x="111" y="281"/>
                    <a:pt x="111" y="281"/>
                  </a:cubicBezTo>
                  <a:moveTo>
                    <a:pt x="126" y="281"/>
                  </a:moveTo>
                  <a:cubicBezTo>
                    <a:pt x="126" y="274"/>
                    <a:pt x="126" y="274"/>
                    <a:pt x="126" y="274"/>
                  </a:cubicBezTo>
                  <a:cubicBezTo>
                    <a:pt x="133" y="274"/>
                    <a:pt x="133" y="274"/>
                    <a:pt x="133" y="274"/>
                  </a:cubicBezTo>
                  <a:cubicBezTo>
                    <a:pt x="133" y="281"/>
                    <a:pt x="133" y="281"/>
                    <a:pt x="133" y="281"/>
                  </a:cubicBezTo>
                  <a:cubicBezTo>
                    <a:pt x="126" y="281"/>
                    <a:pt x="126" y="281"/>
                    <a:pt x="126" y="281"/>
                  </a:cubicBezTo>
                  <a:moveTo>
                    <a:pt x="140" y="281"/>
                  </a:moveTo>
                  <a:cubicBezTo>
                    <a:pt x="140" y="274"/>
                    <a:pt x="140" y="274"/>
                    <a:pt x="140" y="274"/>
                  </a:cubicBezTo>
                  <a:cubicBezTo>
                    <a:pt x="147" y="274"/>
                    <a:pt x="147" y="274"/>
                    <a:pt x="147" y="274"/>
                  </a:cubicBezTo>
                  <a:cubicBezTo>
                    <a:pt x="147" y="281"/>
                    <a:pt x="147" y="281"/>
                    <a:pt x="147" y="281"/>
                  </a:cubicBezTo>
                  <a:cubicBezTo>
                    <a:pt x="140" y="281"/>
                    <a:pt x="140" y="281"/>
                    <a:pt x="140" y="281"/>
                  </a:cubicBezTo>
                  <a:moveTo>
                    <a:pt x="155" y="281"/>
                  </a:moveTo>
                  <a:cubicBezTo>
                    <a:pt x="155" y="274"/>
                    <a:pt x="155" y="274"/>
                    <a:pt x="155" y="274"/>
                  </a:cubicBezTo>
                  <a:cubicBezTo>
                    <a:pt x="162" y="274"/>
                    <a:pt x="162" y="274"/>
                    <a:pt x="162" y="274"/>
                  </a:cubicBezTo>
                  <a:cubicBezTo>
                    <a:pt x="162" y="281"/>
                    <a:pt x="162" y="281"/>
                    <a:pt x="162" y="281"/>
                  </a:cubicBezTo>
                  <a:cubicBezTo>
                    <a:pt x="155" y="281"/>
                    <a:pt x="155" y="281"/>
                    <a:pt x="155" y="281"/>
                  </a:cubicBezTo>
                  <a:moveTo>
                    <a:pt x="170" y="281"/>
                  </a:moveTo>
                  <a:cubicBezTo>
                    <a:pt x="170" y="274"/>
                    <a:pt x="170" y="274"/>
                    <a:pt x="170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281"/>
                    <a:pt x="177" y="281"/>
                    <a:pt x="177" y="281"/>
                  </a:cubicBezTo>
                  <a:cubicBezTo>
                    <a:pt x="170" y="281"/>
                    <a:pt x="170" y="281"/>
                    <a:pt x="170" y="281"/>
                  </a:cubicBezTo>
                  <a:moveTo>
                    <a:pt x="185" y="281"/>
                  </a:moveTo>
                  <a:cubicBezTo>
                    <a:pt x="185" y="274"/>
                    <a:pt x="185" y="274"/>
                    <a:pt x="185" y="274"/>
                  </a:cubicBezTo>
                  <a:cubicBezTo>
                    <a:pt x="192" y="274"/>
                    <a:pt x="192" y="274"/>
                    <a:pt x="192" y="274"/>
                  </a:cubicBezTo>
                  <a:cubicBezTo>
                    <a:pt x="192" y="281"/>
                    <a:pt x="192" y="281"/>
                    <a:pt x="192" y="281"/>
                  </a:cubicBezTo>
                  <a:cubicBezTo>
                    <a:pt x="185" y="281"/>
                    <a:pt x="185" y="281"/>
                    <a:pt x="185" y="281"/>
                  </a:cubicBezTo>
                  <a:moveTo>
                    <a:pt x="199" y="281"/>
                  </a:moveTo>
                  <a:cubicBezTo>
                    <a:pt x="199" y="274"/>
                    <a:pt x="199" y="274"/>
                    <a:pt x="199" y="274"/>
                  </a:cubicBezTo>
                  <a:cubicBezTo>
                    <a:pt x="206" y="274"/>
                    <a:pt x="206" y="274"/>
                    <a:pt x="206" y="274"/>
                  </a:cubicBezTo>
                  <a:cubicBezTo>
                    <a:pt x="206" y="281"/>
                    <a:pt x="206" y="281"/>
                    <a:pt x="206" y="281"/>
                  </a:cubicBezTo>
                  <a:cubicBezTo>
                    <a:pt x="199" y="281"/>
                    <a:pt x="199" y="281"/>
                    <a:pt x="199" y="281"/>
                  </a:cubicBezTo>
                  <a:moveTo>
                    <a:pt x="214" y="281"/>
                  </a:moveTo>
                  <a:cubicBezTo>
                    <a:pt x="214" y="274"/>
                    <a:pt x="214" y="274"/>
                    <a:pt x="214" y="274"/>
                  </a:cubicBezTo>
                  <a:cubicBezTo>
                    <a:pt x="221" y="274"/>
                    <a:pt x="221" y="274"/>
                    <a:pt x="221" y="274"/>
                  </a:cubicBezTo>
                  <a:cubicBezTo>
                    <a:pt x="221" y="281"/>
                    <a:pt x="221" y="281"/>
                    <a:pt x="221" y="281"/>
                  </a:cubicBezTo>
                  <a:cubicBezTo>
                    <a:pt x="214" y="281"/>
                    <a:pt x="214" y="281"/>
                    <a:pt x="214" y="281"/>
                  </a:cubicBezTo>
                  <a:moveTo>
                    <a:pt x="229" y="281"/>
                  </a:moveTo>
                  <a:cubicBezTo>
                    <a:pt x="229" y="274"/>
                    <a:pt x="229" y="274"/>
                    <a:pt x="229" y="274"/>
                  </a:cubicBezTo>
                  <a:cubicBezTo>
                    <a:pt x="236" y="274"/>
                    <a:pt x="236" y="274"/>
                    <a:pt x="236" y="274"/>
                  </a:cubicBezTo>
                  <a:cubicBezTo>
                    <a:pt x="236" y="281"/>
                    <a:pt x="236" y="281"/>
                    <a:pt x="236" y="281"/>
                  </a:cubicBezTo>
                  <a:cubicBezTo>
                    <a:pt x="229" y="281"/>
                    <a:pt x="229" y="281"/>
                    <a:pt x="229" y="281"/>
                  </a:cubicBezTo>
                  <a:moveTo>
                    <a:pt x="244" y="281"/>
                  </a:moveTo>
                  <a:cubicBezTo>
                    <a:pt x="244" y="274"/>
                    <a:pt x="244" y="274"/>
                    <a:pt x="244" y="274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81"/>
                    <a:pt x="251" y="281"/>
                    <a:pt x="251" y="281"/>
                  </a:cubicBezTo>
                  <a:cubicBezTo>
                    <a:pt x="244" y="281"/>
                    <a:pt x="244" y="281"/>
                    <a:pt x="244" y="281"/>
                  </a:cubicBezTo>
                  <a:moveTo>
                    <a:pt x="258" y="281"/>
                  </a:moveTo>
                  <a:cubicBezTo>
                    <a:pt x="258" y="274"/>
                    <a:pt x="258" y="274"/>
                    <a:pt x="258" y="274"/>
                  </a:cubicBezTo>
                  <a:cubicBezTo>
                    <a:pt x="265" y="274"/>
                    <a:pt x="265" y="274"/>
                    <a:pt x="265" y="274"/>
                  </a:cubicBezTo>
                  <a:cubicBezTo>
                    <a:pt x="265" y="281"/>
                    <a:pt x="265" y="281"/>
                    <a:pt x="265" y="281"/>
                  </a:cubicBezTo>
                  <a:cubicBezTo>
                    <a:pt x="258" y="281"/>
                    <a:pt x="258" y="281"/>
                    <a:pt x="258" y="281"/>
                  </a:cubicBezTo>
                  <a:moveTo>
                    <a:pt x="273" y="281"/>
                  </a:moveTo>
                  <a:cubicBezTo>
                    <a:pt x="273" y="274"/>
                    <a:pt x="273" y="274"/>
                    <a:pt x="273" y="274"/>
                  </a:cubicBezTo>
                  <a:cubicBezTo>
                    <a:pt x="280" y="274"/>
                    <a:pt x="280" y="274"/>
                    <a:pt x="280" y="274"/>
                  </a:cubicBezTo>
                  <a:cubicBezTo>
                    <a:pt x="280" y="281"/>
                    <a:pt x="280" y="281"/>
                    <a:pt x="280" y="281"/>
                  </a:cubicBezTo>
                  <a:cubicBezTo>
                    <a:pt x="273" y="281"/>
                    <a:pt x="273" y="281"/>
                    <a:pt x="273" y="281"/>
                  </a:cubicBezTo>
                  <a:moveTo>
                    <a:pt x="288" y="281"/>
                  </a:moveTo>
                  <a:cubicBezTo>
                    <a:pt x="288" y="274"/>
                    <a:pt x="288" y="274"/>
                    <a:pt x="288" y="274"/>
                  </a:cubicBezTo>
                  <a:cubicBezTo>
                    <a:pt x="295" y="274"/>
                    <a:pt x="295" y="274"/>
                    <a:pt x="295" y="274"/>
                  </a:cubicBezTo>
                  <a:cubicBezTo>
                    <a:pt x="295" y="281"/>
                    <a:pt x="295" y="281"/>
                    <a:pt x="295" y="281"/>
                  </a:cubicBezTo>
                  <a:cubicBezTo>
                    <a:pt x="288" y="281"/>
                    <a:pt x="288" y="281"/>
                    <a:pt x="288" y="281"/>
                  </a:cubicBezTo>
                  <a:moveTo>
                    <a:pt x="303" y="281"/>
                  </a:moveTo>
                  <a:cubicBezTo>
                    <a:pt x="303" y="274"/>
                    <a:pt x="303" y="274"/>
                    <a:pt x="303" y="274"/>
                  </a:cubicBezTo>
                  <a:cubicBezTo>
                    <a:pt x="310" y="274"/>
                    <a:pt x="310" y="274"/>
                    <a:pt x="310" y="274"/>
                  </a:cubicBezTo>
                  <a:cubicBezTo>
                    <a:pt x="310" y="281"/>
                    <a:pt x="310" y="281"/>
                    <a:pt x="310" y="281"/>
                  </a:cubicBezTo>
                  <a:cubicBezTo>
                    <a:pt x="303" y="281"/>
                    <a:pt x="303" y="281"/>
                    <a:pt x="303" y="281"/>
                  </a:cubicBezTo>
                  <a:moveTo>
                    <a:pt x="317" y="281"/>
                  </a:moveTo>
                  <a:cubicBezTo>
                    <a:pt x="317" y="274"/>
                    <a:pt x="317" y="274"/>
                    <a:pt x="317" y="274"/>
                  </a:cubicBezTo>
                  <a:cubicBezTo>
                    <a:pt x="324" y="274"/>
                    <a:pt x="324" y="274"/>
                    <a:pt x="324" y="274"/>
                  </a:cubicBezTo>
                  <a:cubicBezTo>
                    <a:pt x="324" y="281"/>
                    <a:pt x="324" y="281"/>
                    <a:pt x="324" y="281"/>
                  </a:cubicBezTo>
                  <a:cubicBezTo>
                    <a:pt x="317" y="281"/>
                    <a:pt x="317" y="281"/>
                    <a:pt x="317" y="281"/>
                  </a:cubicBezTo>
                  <a:moveTo>
                    <a:pt x="332" y="281"/>
                  </a:moveTo>
                  <a:cubicBezTo>
                    <a:pt x="332" y="274"/>
                    <a:pt x="332" y="274"/>
                    <a:pt x="332" y="274"/>
                  </a:cubicBezTo>
                  <a:cubicBezTo>
                    <a:pt x="339" y="274"/>
                    <a:pt x="339" y="274"/>
                    <a:pt x="339" y="274"/>
                  </a:cubicBezTo>
                  <a:cubicBezTo>
                    <a:pt x="339" y="281"/>
                    <a:pt x="339" y="281"/>
                    <a:pt x="339" y="281"/>
                  </a:cubicBezTo>
                  <a:cubicBezTo>
                    <a:pt x="332" y="281"/>
                    <a:pt x="332" y="281"/>
                    <a:pt x="332" y="281"/>
                  </a:cubicBezTo>
                  <a:moveTo>
                    <a:pt x="347" y="281"/>
                  </a:moveTo>
                  <a:cubicBezTo>
                    <a:pt x="347" y="274"/>
                    <a:pt x="347" y="274"/>
                    <a:pt x="347" y="274"/>
                  </a:cubicBezTo>
                  <a:cubicBezTo>
                    <a:pt x="354" y="274"/>
                    <a:pt x="354" y="274"/>
                    <a:pt x="354" y="274"/>
                  </a:cubicBezTo>
                  <a:cubicBezTo>
                    <a:pt x="354" y="281"/>
                    <a:pt x="354" y="281"/>
                    <a:pt x="354" y="281"/>
                  </a:cubicBezTo>
                  <a:cubicBezTo>
                    <a:pt x="347" y="281"/>
                    <a:pt x="347" y="281"/>
                    <a:pt x="347" y="281"/>
                  </a:cubicBezTo>
                  <a:moveTo>
                    <a:pt x="362" y="281"/>
                  </a:moveTo>
                  <a:cubicBezTo>
                    <a:pt x="362" y="274"/>
                    <a:pt x="362" y="274"/>
                    <a:pt x="362" y="274"/>
                  </a:cubicBezTo>
                  <a:cubicBezTo>
                    <a:pt x="369" y="274"/>
                    <a:pt x="369" y="274"/>
                    <a:pt x="369" y="274"/>
                  </a:cubicBezTo>
                  <a:cubicBezTo>
                    <a:pt x="369" y="281"/>
                    <a:pt x="369" y="281"/>
                    <a:pt x="369" y="281"/>
                  </a:cubicBezTo>
                  <a:cubicBezTo>
                    <a:pt x="362" y="281"/>
                    <a:pt x="362" y="281"/>
                    <a:pt x="362" y="281"/>
                  </a:cubicBezTo>
                  <a:moveTo>
                    <a:pt x="22" y="266"/>
                  </a:moveTo>
                  <a:cubicBezTo>
                    <a:pt x="22" y="259"/>
                    <a:pt x="22" y="259"/>
                    <a:pt x="22" y="259"/>
                  </a:cubicBezTo>
                  <a:cubicBezTo>
                    <a:pt x="29" y="259"/>
                    <a:pt x="29" y="259"/>
                    <a:pt x="29" y="259"/>
                  </a:cubicBezTo>
                  <a:cubicBezTo>
                    <a:pt x="29" y="266"/>
                    <a:pt x="29" y="266"/>
                    <a:pt x="29" y="266"/>
                  </a:cubicBezTo>
                  <a:cubicBezTo>
                    <a:pt x="22" y="266"/>
                    <a:pt x="22" y="266"/>
                    <a:pt x="22" y="266"/>
                  </a:cubicBezTo>
                  <a:moveTo>
                    <a:pt x="37" y="266"/>
                  </a:moveTo>
                  <a:cubicBezTo>
                    <a:pt x="37" y="259"/>
                    <a:pt x="37" y="259"/>
                    <a:pt x="37" y="259"/>
                  </a:cubicBezTo>
                  <a:cubicBezTo>
                    <a:pt x="44" y="259"/>
                    <a:pt x="44" y="259"/>
                    <a:pt x="44" y="259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37" y="266"/>
                    <a:pt x="37" y="266"/>
                    <a:pt x="37" y="266"/>
                  </a:cubicBezTo>
                  <a:moveTo>
                    <a:pt x="52" y="266"/>
                  </a:moveTo>
                  <a:cubicBezTo>
                    <a:pt x="52" y="259"/>
                    <a:pt x="52" y="259"/>
                    <a:pt x="52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66"/>
                    <a:pt x="59" y="266"/>
                    <a:pt x="59" y="266"/>
                  </a:cubicBezTo>
                  <a:cubicBezTo>
                    <a:pt x="52" y="266"/>
                    <a:pt x="52" y="266"/>
                    <a:pt x="52" y="266"/>
                  </a:cubicBezTo>
                  <a:moveTo>
                    <a:pt x="67" y="266"/>
                  </a:moveTo>
                  <a:cubicBezTo>
                    <a:pt x="67" y="259"/>
                    <a:pt x="67" y="259"/>
                    <a:pt x="67" y="259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66"/>
                    <a:pt x="74" y="266"/>
                    <a:pt x="74" y="266"/>
                  </a:cubicBezTo>
                  <a:cubicBezTo>
                    <a:pt x="67" y="266"/>
                    <a:pt x="67" y="266"/>
                    <a:pt x="67" y="266"/>
                  </a:cubicBezTo>
                  <a:moveTo>
                    <a:pt x="81" y="266"/>
                  </a:moveTo>
                  <a:cubicBezTo>
                    <a:pt x="81" y="259"/>
                    <a:pt x="81" y="259"/>
                    <a:pt x="81" y="259"/>
                  </a:cubicBezTo>
                  <a:cubicBezTo>
                    <a:pt x="88" y="259"/>
                    <a:pt x="88" y="259"/>
                    <a:pt x="88" y="259"/>
                  </a:cubicBezTo>
                  <a:cubicBezTo>
                    <a:pt x="88" y="266"/>
                    <a:pt x="88" y="266"/>
                    <a:pt x="88" y="266"/>
                  </a:cubicBezTo>
                  <a:cubicBezTo>
                    <a:pt x="81" y="266"/>
                    <a:pt x="81" y="266"/>
                    <a:pt x="81" y="266"/>
                  </a:cubicBezTo>
                  <a:moveTo>
                    <a:pt x="96" y="266"/>
                  </a:moveTo>
                  <a:cubicBezTo>
                    <a:pt x="96" y="259"/>
                    <a:pt x="96" y="259"/>
                    <a:pt x="96" y="259"/>
                  </a:cubicBezTo>
                  <a:cubicBezTo>
                    <a:pt x="103" y="259"/>
                    <a:pt x="103" y="259"/>
                    <a:pt x="103" y="259"/>
                  </a:cubicBezTo>
                  <a:cubicBezTo>
                    <a:pt x="103" y="266"/>
                    <a:pt x="103" y="266"/>
                    <a:pt x="103" y="266"/>
                  </a:cubicBezTo>
                  <a:cubicBezTo>
                    <a:pt x="96" y="266"/>
                    <a:pt x="96" y="266"/>
                    <a:pt x="96" y="266"/>
                  </a:cubicBezTo>
                  <a:moveTo>
                    <a:pt x="111" y="266"/>
                  </a:moveTo>
                  <a:cubicBezTo>
                    <a:pt x="111" y="259"/>
                    <a:pt x="111" y="259"/>
                    <a:pt x="111" y="259"/>
                  </a:cubicBezTo>
                  <a:cubicBezTo>
                    <a:pt x="118" y="259"/>
                    <a:pt x="118" y="259"/>
                    <a:pt x="118" y="259"/>
                  </a:cubicBezTo>
                  <a:cubicBezTo>
                    <a:pt x="118" y="266"/>
                    <a:pt x="118" y="266"/>
                    <a:pt x="118" y="266"/>
                  </a:cubicBezTo>
                  <a:cubicBezTo>
                    <a:pt x="111" y="266"/>
                    <a:pt x="111" y="266"/>
                    <a:pt x="111" y="266"/>
                  </a:cubicBezTo>
                  <a:moveTo>
                    <a:pt x="126" y="266"/>
                  </a:moveTo>
                  <a:cubicBezTo>
                    <a:pt x="126" y="259"/>
                    <a:pt x="126" y="259"/>
                    <a:pt x="126" y="259"/>
                  </a:cubicBezTo>
                  <a:cubicBezTo>
                    <a:pt x="133" y="259"/>
                    <a:pt x="133" y="259"/>
                    <a:pt x="133" y="259"/>
                  </a:cubicBezTo>
                  <a:cubicBezTo>
                    <a:pt x="133" y="266"/>
                    <a:pt x="133" y="266"/>
                    <a:pt x="133" y="266"/>
                  </a:cubicBezTo>
                  <a:cubicBezTo>
                    <a:pt x="126" y="266"/>
                    <a:pt x="126" y="266"/>
                    <a:pt x="126" y="266"/>
                  </a:cubicBezTo>
                  <a:moveTo>
                    <a:pt x="140" y="266"/>
                  </a:moveTo>
                  <a:cubicBezTo>
                    <a:pt x="140" y="259"/>
                    <a:pt x="140" y="259"/>
                    <a:pt x="140" y="259"/>
                  </a:cubicBezTo>
                  <a:cubicBezTo>
                    <a:pt x="147" y="259"/>
                    <a:pt x="147" y="259"/>
                    <a:pt x="147" y="259"/>
                  </a:cubicBezTo>
                  <a:cubicBezTo>
                    <a:pt x="147" y="266"/>
                    <a:pt x="147" y="266"/>
                    <a:pt x="147" y="266"/>
                  </a:cubicBezTo>
                  <a:cubicBezTo>
                    <a:pt x="140" y="266"/>
                    <a:pt x="140" y="266"/>
                    <a:pt x="140" y="266"/>
                  </a:cubicBezTo>
                  <a:moveTo>
                    <a:pt x="155" y="266"/>
                  </a:moveTo>
                  <a:cubicBezTo>
                    <a:pt x="155" y="259"/>
                    <a:pt x="155" y="259"/>
                    <a:pt x="155" y="259"/>
                  </a:cubicBezTo>
                  <a:cubicBezTo>
                    <a:pt x="162" y="259"/>
                    <a:pt x="162" y="259"/>
                    <a:pt x="162" y="259"/>
                  </a:cubicBezTo>
                  <a:cubicBezTo>
                    <a:pt x="162" y="266"/>
                    <a:pt x="162" y="266"/>
                    <a:pt x="162" y="266"/>
                  </a:cubicBezTo>
                  <a:cubicBezTo>
                    <a:pt x="155" y="266"/>
                    <a:pt x="155" y="266"/>
                    <a:pt x="155" y="266"/>
                  </a:cubicBezTo>
                  <a:moveTo>
                    <a:pt x="170" y="266"/>
                  </a:moveTo>
                  <a:cubicBezTo>
                    <a:pt x="170" y="259"/>
                    <a:pt x="170" y="259"/>
                    <a:pt x="170" y="259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7" y="266"/>
                    <a:pt x="177" y="266"/>
                    <a:pt x="177" y="266"/>
                  </a:cubicBezTo>
                  <a:cubicBezTo>
                    <a:pt x="170" y="266"/>
                    <a:pt x="170" y="266"/>
                    <a:pt x="170" y="266"/>
                  </a:cubicBezTo>
                  <a:moveTo>
                    <a:pt x="185" y="266"/>
                  </a:moveTo>
                  <a:cubicBezTo>
                    <a:pt x="185" y="259"/>
                    <a:pt x="185" y="259"/>
                    <a:pt x="185" y="259"/>
                  </a:cubicBezTo>
                  <a:cubicBezTo>
                    <a:pt x="192" y="259"/>
                    <a:pt x="192" y="259"/>
                    <a:pt x="192" y="259"/>
                  </a:cubicBezTo>
                  <a:cubicBezTo>
                    <a:pt x="192" y="266"/>
                    <a:pt x="192" y="266"/>
                    <a:pt x="192" y="266"/>
                  </a:cubicBezTo>
                  <a:cubicBezTo>
                    <a:pt x="185" y="266"/>
                    <a:pt x="185" y="266"/>
                    <a:pt x="185" y="266"/>
                  </a:cubicBezTo>
                  <a:moveTo>
                    <a:pt x="199" y="266"/>
                  </a:moveTo>
                  <a:cubicBezTo>
                    <a:pt x="199" y="259"/>
                    <a:pt x="199" y="259"/>
                    <a:pt x="199" y="259"/>
                  </a:cubicBezTo>
                  <a:cubicBezTo>
                    <a:pt x="206" y="259"/>
                    <a:pt x="206" y="259"/>
                    <a:pt x="206" y="259"/>
                  </a:cubicBezTo>
                  <a:cubicBezTo>
                    <a:pt x="206" y="266"/>
                    <a:pt x="206" y="266"/>
                    <a:pt x="206" y="266"/>
                  </a:cubicBezTo>
                  <a:cubicBezTo>
                    <a:pt x="199" y="266"/>
                    <a:pt x="199" y="266"/>
                    <a:pt x="199" y="266"/>
                  </a:cubicBezTo>
                  <a:moveTo>
                    <a:pt x="214" y="266"/>
                  </a:moveTo>
                  <a:cubicBezTo>
                    <a:pt x="214" y="259"/>
                    <a:pt x="214" y="259"/>
                    <a:pt x="214" y="259"/>
                  </a:cubicBezTo>
                  <a:cubicBezTo>
                    <a:pt x="221" y="259"/>
                    <a:pt x="221" y="259"/>
                    <a:pt x="221" y="259"/>
                  </a:cubicBezTo>
                  <a:cubicBezTo>
                    <a:pt x="221" y="266"/>
                    <a:pt x="221" y="266"/>
                    <a:pt x="221" y="266"/>
                  </a:cubicBezTo>
                  <a:cubicBezTo>
                    <a:pt x="214" y="266"/>
                    <a:pt x="214" y="266"/>
                    <a:pt x="214" y="266"/>
                  </a:cubicBezTo>
                  <a:moveTo>
                    <a:pt x="229" y="266"/>
                  </a:moveTo>
                  <a:cubicBezTo>
                    <a:pt x="229" y="259"/>
                    <a:pt x="229" y="259"/>
                    <a:pt x="229" y="259"/>
                  </a:cubicBezTo>
                  <a:cubicBezTo>
                    <a:pt x="236" y="259"/>
                    <a:pt x="236" y="259"/>
                    <a:pt x="236" y="259"/>
                  </a:cubicBezTo>
                  <a:cubicBezTo>
                    <a:pt x="236" y="266"/>
                    <a:pt x="236" y="266"/>
                    <a:pt x="236" y="266"/>
                  </a:cubicBezTo>
                  <a:cubicBezTo>
                    <a:pt x="229" y="266"/>
                    <a:pt x="229" y="266"/>
                    <a:pt x="229" y="266"/>
                  </a:cubicBezTo>
                  <a:moveTo>
                    <a:pt x="244" y="266"/>
                  </a:moveTo>
                  <a:cubicBezTo>
                    <a:pt x="244" y="259"/>
                    <a:pt x="244" y="259"/>
                    <a:pt x="244" y="259"/>
                  </a:cubicBezTo>
                  <a:cubicBezTo>
                    <a:pt x="251" y="259"/>
                    <a:pt x="251" y="259"/>
                    <a:pt x="251" y="259"/>
                  </a:cubicBezTo>
                  <a:cubicBezTo>
                    <a:pt x="251" y="266"/>
                    <a:pt x="251" y="266"/>
                    <a:pt x="251" y="266"/>
                  </a:cubicBezTo>
                  <a:cubicBezTo>
                    <a:pt x="244" y="266"/>
                    <a:pt x="244" y="266"/>
                    <a:pt x="244" y="266"/>
                  </a:cubicBezTo>
                  <a:moveTo>
                    <a:pt x="258" y="266"/>
                  </a:moveTo>
                  <a:cubicBezTo>
                    <a:pt x="258" y="259"/>
                    <a:pt x="258" y="259"/>
                    <a:pt x="258" y="259"/>
                  </a:cubicBezTo>
                  <a:cubicBezTo>
                    <a:pt x="265" y="259"/>
                    <a:pt x="265" y="259"/>
                    <a:pt x="265" y="259"/>
                  </a:cubicBezTo>
                  <a:cubicBezTo>
                    <a:pt x="265" y="266"/>
                    <a:pt x="265" y="266"/>
                    <a:pt x="265" y="266"/>
                  </a:cubicBezTo>
                  <a:cubicBezTo>
                    <a:pt x="258" y="266"/>
                    <a:pt x="258" y="266"/>
                    <a:pt x="258" y="266"/>
                  </a:cubicBezTo>
                  <a:moveTo>
                    <a:pt x="273" y="266"/>
                  </a:moveTo>
                  <a:cubicBezTo>
                    <a:pt x="273" y="259"/>
                    <a:pt x="273" y="259"/>
                    <a:pt x="273" y="259"/>
                  </a:cubicBezTo>
                  <a:cubicBezTo>
                    <a:pt x="280" y="259"/>
                    <a:pt x="280" y="259"/>
                    <a:pt x="280" y="259"/>
                  </a:cubicBezTo>
                  <a:cubicBezTo>
                    <a:pt x="280" y="266"/>
                    <a:pt x="280" y="266"/>
                    <a:pt x="280" y="266"/>
                  </a:cubicBezTo>
                  <a:cubicBezTo>
                    <a:pt x="273" y="266"/>
                    <a:pt x="273" y="266"/>
                    <a:pt x="273" y="266"/>
                  </a:cubicBezTo>
                  <a:moveTo>
                    <a:pt x="288" y="266"/>
                  </a:moveTo>
                  <a:cubicBezTo>
                    <a:pt x="288" y="259"/>
                    <a:pt x="288" y="259"/>
                    <a:pt x="288" y="259"/>
                  </a:cubicBezTo>
                  <a:cubicBezTo>
                    <a:pt x="295" y="259"/>
                    <a:pt x="295" y="259"/>
                    <a:pt x="295" y="259"/>
                  </a:cubicBezTo>
                  <a:cubicBezTo>
                    <a:pt x="295" y="266"/>
                    <a:pt x="295" y="266"/>
                    <a:pt x="295" y="266"/>
                  </a:cubicBezTo>
                  <a:cubicBezTo>
                    <a:pt x="288" y="266"/>
                    <a:pt x="288" y="266"/>
                    <a:pt x="288" y="266"/>
                  </a:cubicBezTo>
                  <a:moveTo>
                    <a:pt x="303" y="266"/>
                  </a:moveTo>
                  <a:cubicBezTo>
                    <a:pt x="303" y="259"/>
                    <a:pt x="303" y="259"/>
                    <a:pt x="303" y="259"/>
                  </a:cubicBezTo>
                  <a:cubicBezTo>
                    <a:pt x="310" y="259"/>
                    <a:pt x="310" y="259"/>
                    <a:pt x="310" y="259"/>
                  </a:cubicBezTo>
                  <a:cubicBezTo>
                    <a:pt x="310" y="266"/>
                    <a:pt x="310" y="266"/>
                    <a:pt x="310" y="266"/>
                  </a:cubicBezTo>
                  <a:cubicBezTo>
                    <a:pt x="303" y="266"/>
                    <a:pt x="303" y="266"/>
                    <a:pt x="303" y="266"/>
                  </a:cubicBezTo>
                  <a:moveTo>
                    <a:pt x="317" y="266"/>
                  </a:moveTo>
                  <a:cubicBezTo>
                    <a:pt x="317" y="259"/>
                    <a:pt x="317" y="259"/>
                    <a:pt x="317" y="259"/>
                  </a:cubicBezTo>
                  <a:cubicBezTo>
                    <a:pt x="324" y="259"/>
                    <a:pt x="324" y="259"/>
                    <a:pt x="324" y="259"/>
                  </a:cubicBezTo>
                  <a:cubicBezTo>
                    <a:pt x="324" y="266"/>
                    <a:pt x="324" y="266"/>
                    <a:pt x="324" y="266"/>
                  </a:cubicBezTo>
                  <a:cubicBezTo>
                    <a:pt x="317" y="266"/>
                    <a:pt x="317" y="266"/>
                    <a:pt x="317" y="266"/>
                  </a:cubicBezTo>
                  <a:moveTo>
                    <a:pt x="332" y="266"/>
                  </a:moveTo>
                  <a:cubicBezTo>
                    <a:pt x="332" y="259"/>
                    <a:pt x="332" y="259"/>
                    <a:pt x="332" y="259"/>
                  </a:cubicBezTo>
                  <a:cubicBezTo>
                    <a:pt x="339" y="259"/>
                    <a:pt x="339" y="259"/>
                    <a:pt x="339" y="259"/>
                  </a:cubicBezTo>
                  <a:cubicBezTo>
                    <a:pt x="339" y="266"/>
                    <a:pt x="339" y="266"/>
                    <a:pt x="339" y="266"/>
                  </a:cubicBezTo>
                  <a:cubicBezTo>
                    <a:pt x="332" y="266"/>
                    <a:pt x="332" y="266"/>
                    <a:pt x="332" y="266"/>
                  </a:cubicBezTo>
                  <a:moveTo>
                    <a:pt x="347" y="266"/>
                  </a:moveTo>
                  <a:cubicBezTo>
                    <a:pt x="347" y="259"/>
                    <a:pt x="347" y="259"/>
                    <a:pt x="347" y="259"/>
                  </a:cubicBezTo>
                  <a:cubicBezTo>
                    <a:pt x="354" y="259"/>
                    <a:pt x="354" y="259"/>
                    <a:pt x="354" y="259"/>
                  </a:cubicBezTo>
                  <a:cubicBezTo>
                    <a:pt x="354" y="266"/>
                    <a:pt x="354" y="266"/>
                    <a:pt x="354" y="266"/>
                  </a:cubicBezTo>
                  <a:cubicBezTo>
                    <a:pt x="347" y="266"/>
                    <a:pt x="347" y="266"/>
                    <a:pt x="347" y="266"/>
                  </a:cubicBezTo>
                  <a:moveTo>
                    <a:pt x="362" y="266"/>
                  </a:moveTo>
                  <a:cubicBezTo>
                    <a:pt x="362" y="259"/>
                    <a:pt x="362" y="259"/>
                    <a:pt x="362" y="259"/>
                  </a:cubicBezTo>
                  <a:cubicBezTo>
                    <a:pt x="369" y="259"/>
                    <a:pt x="369" y="259"/>
                    <a:pt x="369" y="259"/>
                  </a:cubicBezTo>
                  <a:cubicBezTo>
                    <a:pt x="369" y="266"/>
                    <a:pt x="369" y="266"/>
                    <a:pt x="369" y="266"/>
                  </a:cubicBezTo>
                  <a:cubicBezTo>
                    <a:pt x="362" y="266"/>
                    <a:pt x="362" y="266"/>
                    <a:pt x="362" y="266"/>
                  </a:cubicBezTo>
                  <a:moveTo>
                    <a:pt x="22" y="251"/>
                  </a:moveTo>
                  <a:cubicBezTo>
                    <a:pt x="22" y="244"/>
                    <a:pt x="22" y="244"/>
                    <a:pt x="22" y="244"/>
                  </a:cubicBezTo>
                  <a:cubicBezTo>
                    <a:pt x="29" y="244"/>
                    <a:pt x="29" y="244"/>
                    <a:pt x="29" y="244"/>
                  </a:cubicBezTo>
                  <a:cubicBezTo>
                    <a:pt x="29" y="251"/>
                    <a:pt x="29" y="251"/>
                    <a:pt x="29" y="251"/>
                  </a:cubicBezTo>
                  <a:cubicBezTo>
                    <a:pt x="22" y="251"/>
                    <a:pt x="22" y="251"/>
                    <a:pt x="22" y="251"/>
                  </a:cubicBezTo>
                  <a:moveTo>
                    <a:pt x="37" y="251"/>
                  </a:moveTo>
                  <a:cubicBezTo>
                    <a:pt x="37" y="244"/>
                    <a:pt x="37" y="244"/>
                    <a:pt x="37" y="244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44" y="251"/>
                    <a:pt x="44" y="251"/>
                    <a:pt x="44" y="251"/>
                  </a:cubicBezTo>
                  <a:cubicBezTo>
                    <a:pt x="37" y="251"/>
                    <a:pt x="37" y="251"/>
                    <a:pt x="37" y="251"/>
                  </a:cubicBezTo>
                  <a:moveTo>
                    <a:pt x="52" y="251"/>
                  </a:moveTo>
                  <a:cubicBezTo>
                    <a:pt x="52" y="244"/>
                    <a:pt x="52" y="244"/>
                    <a:pt x="52" y="244"/>
                  </a:cubicBezTo>
                  <a:cubicBezTo>
                    <a:pt x="59" y="244"/>
                    <a:pt x="59" y="244"/>
                    <a:pt x="59" y="244"/>
                  </a:cubicBezTo>
                  <a:cubicBezTo>
                    <a:pt x="59" y="251"/>
                    <a:pt x="59" y="251"/>
                    <a:pt x="59" y="251"/>
                  </a:cubicBezTo>
                  <a:cubicBezTo>
                    <a:pt x="52" y="251"/>
                    <a:pt x="52" y="251"/>
                    <a:pt x="52" y="251"/>
                  </a:cubicBezTo>
                  <a:moveTo>
                    <a:pt x="67" y="251"/>
                  </a:moveTo>
                  <a:cubicBezTo>
                    <a:pt x="67" y="244"/>
                    <a:pt x="67" y="244"/>
                    <a:pt x="67" y="244"/>
                  </a:cubicBezTo>
                  <a:cubicBezTo>
                    <a:pt x="74" y="244"/>
                    <a:pt x="74" y="244"/>
                    <a:pt x="74" y="244"/>
                  </a:cubicBezTo>
                  <a:cubicBezTo>
                    <a:pt x="74" y="251"/>
                    <a:pt x="74" y="251"/>
                    <a:pt x="74" y="251"/>
                  </a:cubicBezTo>
                  <a:cubicBezTo>
                    <a:pt x="67" y="251"/>
                    <a:pt x="67" y="251"/>
                    <a:pt x="67" y="251"/>
                  </a:cubicBezTo>
                  <a:moveTo>
                    <a:pt x="81" y="251"/>
                  </a:moveTo>
                  <a:cubicBezTo>
                    <a:pt x="81" y="244"/>
                    <a:pt x="81" y="244"/>
                    <a:pt x="81" y="244"/>
                  </a:cubicBezTo>
                  <a:cubicBezTo>
                    <a:pt x="88" y="244"/>
                    <a:pt x="88" y="244"/>
                    <a:pt x="88" y="244"/>
                  </a:cubicBezTo>
                  <a:cubicBezTo>
                    <a:pt x="88" y="251"/>
                    <a:pt x="88" y="251"/>
                    <a:pt x="88" y="251"/>
                  </a:cubicBezTo>
                  <a:cubicBezTo>
                    <a:pt x="81" y="251"/>
                    <a:pt x="81" y="251"/>
                    <a:pt x="81" y="251"/>
                  </a:cubicBezTo>
                  <a:moveTo>
                    <a:pt x="96" y="251"/>
                  </a:moveTo>
                  <a:cubicBezTo>
                    <a:pt x="96" y="244"/>
                    <a:pt x="96" y="244"/>
                    <a:pt x="96" y="244"/>
                  </a:cubicBezTo>
                  <a:cubicBezTo>
                    <a:pt x="103" y="244"/>
                    <a:pt x="103" y="244"/>
                    <a:pt x="103" y="244"/>
                  </a:cubicBezTo>
                  <a:cubicBezTo>
                    <a:pt x="103" y="251"/>
                    <a:pt x="103" y="251"/>
                    <a:pt x="103" y="251"/>
                  </a:cubicBezTo>
                  <a:cubicBezTo>
                    <a:pt x="96" y="251"/>
                    <a:pt x="96" y="251"/>
                    <a:pt x="96" y="251"/>
                  </a:cubicBezTo>
                  <a:moveTo>
                    <a:pt x="111" y="251"/>
                  </a:moveTo>
                  <a:cubicBezTo>
                    <a:pt x="111" y="244"/>
                    <a:pt x="111" y="244"/>
                    <a:pt x="111" y="244"/>
                  </a:cubicBezTo>
                  <a:cubicBezTo>
                    <a:pt x="118" y="244"/>
                    <a:pt x="118" y="244"/>
                    <a:pt x="118" y="244"/>
                  </a:cubicBezTo>
                  <a:cubicBezTo>
                    <a:pt x="118" y="251"/>
                    <a:pt x="118" y="251"/>
                    <a:pt x="118" y="251"/>
                  </a:cubicBezTo>
                  <a:cubicBezTo>
                    <a:pt x="111" y="251"/>
                    <a:pt x="111" y="251"/>
                    <a:pt x="111" y="251"/>
                  </a:cubicBezTo>
                  <a:moveTo>
                    <a:pt x="126" y="251"/>
                  </a:moveTo>
                  <a:cubicBezTo>
                    <a:pt x="126" y="244"/>
                    <a:pt x="126" y="244"/>
                    <a:pt x="126" y="244"/>
                  </a:cubicBezTo>
                  <a:cubicBezTo>
                    <a:pt x="133" y="244"/>
                    <a:pt x="133" y="244"/>
                    <a:pt x="133" y="244"/>
                  </a:cubicBezTo>
                  <a:cubicBezTo>
                    <a:pt x="133" y="251"/>
                    <a:pt x="133" y="251"/>
                    <a:pt x="133" y="251"/>
                  </a:cubicBezTo>
                  <a:cubicBezTo>
                    <a:pt x="126" y="251"/>
                    <a:pt x="126" y="251"/>
                    <a:pt x="126" y="251"/>
                  </a:cubicBezTo>
                  <a:moveTo>
                    <a:pt x="140" y="251"/>
                  </a:moveTo>
                  <a:cubicBezTo>
                    <a:pt x="140" y="244"/>
                    <a:pt x="140" y="244"/>
                    <a:pt x="140" y="244"/>
                  </a:cubicBezTo>
                  <a:cubicBezTo>
                    <a:pt x="147" y="244"/>
                    <a:pt x="147" y="244"/>
                    <a:pt x="147" y="244"/>
                  </a:cubicBezTo>
                  <a:cubicBezTo>
                    <a:pt x="147" y="251"/>
                    <a:pt x="147" y="251"/>
                    <a:pt x="147" y="251"/>
                  </a:cubicBezTo>
                  <a:cubicBezTo>
                    <a:pt x="140" y="251"/>
                    <a:pt x="140" y="251"/>
                    <a:pt x="140" y="251"/>
                  </a:cubicBezTo>
                  <a:moveTo>
                    <a:pt x="155" y="251"/>
                  </a:moveTo>
                  <a:cubicBezTo>
                    <a:pt x="155" y="244"/>
                    <a:pt x="155" y="244"/>
                    <a:pt x="155" y="244"/>
                  </a:cubicBezTo>
                  <a:cubicBezTo>
                    <a:pt x="162" y="244"/>
                    <a:pt x="162" y="244"/>
                    <a:pt x="162" y="244"/>
                  </a:cubicBezTo>
                  <a:cubicBezTo>
                    <a:pt x="162" y="251"/>
                    <a:pt x="162" y="251"/>
                    <a:pt x="162" y="251"/>
                  </a:cubicBezTo>
                  <a:cubicBezTo>
                    <a:pt x="155" y="251"/>
                    <a:pt x="155" y="251"/>
                    <a:pt x="155" y="251"/>
                  </a:cubicBezTo>
                  <a:moveTo>
                    <a:pt x="170" y="251"/>
                  </a:moveTo>
                  <a:cubicBezTo>
                    <a:pt x="170" y="244"/>
                    <a:pt x="170" y="244"/>
                    <a:pt x="170" y="244"/>
                  </a:cubicBezTo>
                  <a:cubicBezTo>
                    <a:pt x="177" y="244"/>
                    <a:pt x="177" y="244"/>
                    <a:pt x="177" y="244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0" y="251"/>
                    <a:pt x="170" y="251"/>
                    <a:pt x="170" y="251"/>
                  </a:cubicBezTo>
                  <a:moveTo>
                    <a:pt x="185" y="251"/>
                  </a:moveTo>
                  <a:cubicBezTo>
                    <a:pt x="185" y="244"/>
                    <a:pt x="185" y="244"/>
                    <a:pt x="185" y="244"/>
                  </a:cubicBezTo>
                  <a:cubicBezTo>
                    <a:pt x="192" y="244"/>
                    <a:pt x="192" y="244"/>
                    <a:pt x="192" y="244"/>
                  </a:cubicBezTo>
                  <a:cubicBezTo>
                    <a:pt x="192" y="251"/>
                    <a:pt x="192" y="251"/>
                    <a:pt x="192" y="251"/>
                  </a:cubicBezTo>
                  <a:cubicBezTo>
                    <a:pt x="185" y="251"/>
                    <a:pt x="185" y="251"/>
                    <a:pt x="185" y="251"/>
                  </a:cubicBezTo>
                  <a:moveTo>
                    <a:pt x="199" y="251"/>
                  </a:moveTo>
                  <a:cubicBezTo>
                    <a:pt x="199" y="244"/>
                    <a:pt x="199" y="244"/>
                    <a:pt x="199" y="244"/>
                  </a:cubicBezTo>
                  <a:cubicBezTo>
                    <a:pt x="206" y="244"/>
                    <a:pt x="206" y="244"/>
                    <a:pt x="206" y="244"/>
                  </a:cubicBezTo>
                  <a:cubicBezTo>
                    <a:pt x="206" y="251"/>
                    <a:pt x="206" y="251"/>
                    <a:pt x="206" y="251"/>
                  </a:cubicBezTo>
                  <a:cubicBezTo>
                    <a:pt x="199" y="251"/>
                    <a:pt x="199" y="251"/>
                    <a:pt x="199" y="251"/>
                  </a:cubicBezTo>
                  <a:moveTo>
                    <a:pt x="214" y="251"/>
                  </a:moveTo>
                  <a:cubicBezTo>
                    <a:pt x="214" y="244"/>
                    <a:pt x="214" y="244"/>
                    <a:pt x="214" y="244"/>
                  </a:cubicBezTo>
                  <a:cubicBezTo>
                    <a:pt x="221" y="244"/>
                    <a:pt x="221" y="244"/>
                    <a:pt x="221" y="244"/>
                  </a:cubicBezTo>
                  <a:cubicBezTo>
                    <a:pt x="221" y="251"/>
                    <a:pt x="221" y="251"/>
                    <a:pt x="221" y="251"/>
                  </a:cubicBezTo>
                  <a:cubicBezTo>
                    <a:pt x="214" y="251"/>
                    <a:pt x="214" y="251"/>
                    <a:pt x="214" y="251"/>
                  </a:cubicBezTo>
                  <a:moveTo>
                    <a:pt x="229" y="251"/>
                  </a:moveTo>
                  <a:cubicBezTo>
                    <a:pt x="229" y="244"/>
                    <a:pt x="229" y="244"/>
                    <a:pt x="229" y="244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51"/>
                    <a:pt x="236" y="251"/>
                    <a:pt x="236" y="251"/>
                  </a:cubicBezTo>
                  <a:cubicBezTo>
                    <a:pt x="229" y="251"/>
                    <a:pt x="229" y="251"/>
                    <a:pt x="229" y="251"/>
                  </a:cubicBezTo>
                  <a:moveTo>
                    <a:pt x="244" y="251"/>
                  </a:moveTo>
                  <a:cubicBezTo>
                    <a:pt x="244" y="244"/>
                    <a:pt x="244" y="244"/>
                    <a:pt x="244" y="244"/>
                  </a:cubicBezTo>
                  <a:cubicBezTo>
                    <a:pt x="251" y="244"/>
                    <a:pt x="251" y="244"/>
                    <a:pt x="251" y="244"/>
                  </a:cubicBezTo>
                  <a:cubicBezTo>
                    <a:pt x="251" y="251"/>
                    <a:pt x="251" y="251"/>
                    <a:pt x="251" y="251"/>
                  </a:cubicBezTo>
                  <a:cubicBezTo>
                    <a:pt x="244" y="251"/>
                    <a:pt x="244" y="251"/>
                    <a:pt x="244" y="251"/>
                  </a:cubicBezTo>
                  <a:moveTo>
                    <a:pt x="258" y="251"/>
                  </a:moveTo>
                  <a:cubicBezTo>
                    <a:pt x="258" y="244"/>
                    <a:pt x="258" y="244"/>
                    <a:pt x="258" y="244"/>
                  </a:cubicBezTo>
                  <a:cubicBezTo>
                    <a:pt x="265" y="244"/>
                    <a:pt x="265" y="244"/>
                    <a:pt x="265" y="244"/>
                  </a:cubicBezTo>
                  <a:cubicBezTo>
                    <a:pt x="265" y="251"/>
                    <a:pt x="265" y="251"/>
                    <a:pt x="265" y="251"/>
                  </a:cubicBezTo>
                  <a:cubicBezTo>
                    <a:pt x="258" y="251"/>
                    <a:pt x="258" y="251"/>
                    <a:pt x="258" y="251"/>
                  </a:cubicBezTo>
                  <a:moveTo>
                    <a:pt x="273" y="251"/>
                  </a:moveTo>
                  <a:cubicBezTo>
                    <a:pt x="273" y="244"/>
                    <a:pt x="273" y="244"/>
                    <a:pt x="273" y="244"/>
                  </a:cubicBezTo>
                  <a:cubicBezTo>
                    <a:pt x="280" y="244"/>
                    <a:pt x="280" y="244"/>
                    <a:pt x="280" y="244"/>
                  </a:cubicBezTo>
                  <a:cubicBezTo>
                    <a:pt x="280" y="251"/>
                    <a:pt x="280" y="251"/>
                    <a:pt x="280" y="251"/>
                  </a:cubicBezTo>
                  <a:cubicBezTo>
                    <a:pt x="273" y="251"/>
                    <a:pt x="273" y="251"/>
                    <a:pt x="273" y="251"/>
                  </a:cubicBezTo>
                  <a:moveTo>
                    <a:pt x="288" y="251"/>
                  </a:moveTo>
                  <a:cubicBezTo>
                    <a:pt x="288" y="244"/>
                    <a:pt x="288" y="244"/>
                    <a:pt x="288" y="244"/>
                  </a:cubicBezTo>
                  <a:cubicBezTo>
                    <a:pt x="295" y="244"/>
                    <a:pt x="295" y="244"/>
                    <a:pt x="295" y="244"/>
                  </a:cubicBezTo>
                  <a:cubicBezTo>
                    <a:pt x="295" y="251"/>
                    <a:pt x="295" y="251"/>
                    <a:pt x="295" y="251"/>
                  </a:cubicBezTo>
                  <a:cubicBezTo>
                    <a:pt x="288" y="251"/>
                    <a:pt x="288" y="251"/>
                    <a:pt x="288" y="251"/>
                  </a:cubicBezTo>
                  <a:moveTo>
                    <a:pt x="303" y="251"/>
                  </a:moveTo>
                  <a:cubicBezTo>
                    <a:pt x="303" y="244"/>
                    <a:pt x="303" y="244"/>
                    <a:pt x="303" y="244"/>
                  </a:cubicBezTo>
                  <a:cubicBezTo>
                    <a:pt x="310" y="244"/>
                    <a:pt x="310" y="244"/>
                    <a:pt x="310" y="244"/>
                  </a:cubicBezTo>
                  <a:cubicBezTo>
                    <a:pt x="310" y="251"/>
                    <a:pt x="310" y="251"/>
                    <a:pt x="310" y="251"/>
                  </a:cubicBezTo>
                  <a:cubicBezTo>
                    <a:pt x="303" y="251"/>
                    <a:pt x="303" y="251"/>
                    <a:pt x="303" y="251"/>
                  </a:cubicBezTo>
                  <a:moveTo>
                    <a:pt x="317" y="251"/>
                  </a:moveTo>
                  <a:cubicBezTo>
                    <a:pt x="317" y="244"/>
                    <a:pt x="317" y="244"/>
                    <a:pt x="317" y="244"/>
                  </a:cubicBezTo>
                  <a:cubicBezTo>
                    <a:pt x="324" y="244"/>
                    <a:pt x="324" y="244"/>
                    <a:pt x="324" y="244"/>
                  </a:cubicBezTo>
                  <a:cubicBezTo>
                    <a:pt x="324" y="251"/>
                    <a:pt x="324" y="251"/>
                    <a:pt x="324" y="251"/>
                  </a:cubicBezTo>
                  <a:cubicBezTo>
                    <a:pt x="317" y="251"/>
                    <a:pt x="317" y="251"/>
                    <a:pt x="317" y="251"/>
                  </a:cubicBezTo>
                  <a:moveTo>
                    <a:pt x="332" y="251"/>
                  </a:moveTo>
                  <a:cubicBezTo>
                    <a:pt x="332" y="244"/>
                    <a:pt x="332" y="244"/>
                    <a:pt x="332" y="244"/>
                  </a:cubicBezTo>
                  <a:cubicBezTo>
                    <a:pt x="339" y="244"/>
                    <a:pt x="339" y="244"/>
                    <a:pt x="339" y="244"/>
                  </a:cubicBezTo>
                  <a:cubicBezTo>
                    <a:pt x="339" y="251"/>
                    <a:pt x="339" y="251"/>
                    <a:pt x="339" y="251"/>
                  </a:cubicBezTo>
                  <a:cubicBezTo>
                    <a:pt x="332" y="251"/>
                    <a:pt x="332" y="251"/>
                    <a:pt x="332" y="251"/>
                  </a:cubicBezTo>
                  <a:moveTo>
                    <a:pt x="347" y="251"/>
                  </a:moveTo>
                  <a:cubicBezTo>
                    <a:pt x="347" y="244"/>
                    <a:pt x="347" y="244"/>
                    <a:pt x="347" y="244"/>
                  </a:cubicBezTo>
                  <a:cubicBezTo>
                    <a:pt x="354" y="244"/>
                    <a:pt x="354" y="244"/>
                    <a:pt x="354" y="244"/>
                  </a:cubicBezTo>
                  <a:cubicBezTo>
                    <a:pt x="354" y="251"/>
                    <a:pt x="354" y="251"/>
                    <a:pt x="354" y="251"/>
                  </a:cubicBezTo>
                  <a:cubicBezTo>
                    <a:pt x="347" y="251"/>
                    <a:pt x="347" y="251"/>
                    <a:pt x="347" y="251"/>
                  </a:cubicBezTo>
                  <a:moveTo>
                    <a:pt x="362" y="251"/>
                  </a:moveTo>
                  <a:cubicBezTo>
                    <a:pt x="362" y="244"/>
                    <a:pt x="362" y="244"/>
                    <a:pt x="362" y="244"/>
                  </a:cubicBezTo>
                  <a:cubicBezTo>
                    <a:pt x="369" y="244"/>
                    <a:pt x="369" y="244"/>
                    <a:pt x="369" y="244"/>
                  </a:cubicBezTo>
                  <a:cubicBezTo>
                    <a:pt x="369" y="251"/>
                    <a:pt x="369" y="251"/>
                    <a:pt x="369" y="251"/>
                  </a:cubicBezTo>
                  <a:cubicBezTo>
                    <a:pt x="362" y="251"/>
                    <a:pt x="362" y="251"/>
                    <a:pt x="362" y="251"/>
                  </a:cubicBezTo>
                  <a:moveTo>
                    <a:pt x="8" y="236"/>
                  </a:moveTo>
                  <a:cubicBezTo>
                    <a:pt x="8" y="229"/>
                    <a:pt x="8" y="229"/>
                    <a:pt x="8" y="229"/>
                  </a:cubicBezTo>
                  <a:cubicBezTo>
                    <a:pt x="15" y="229"/>
                    <a:pt x="15" y="229"/>
                    <a:pt x="15" y="229"/>
                  </a:cubicBezTo>
                  <a:cubicBezTo>
                    <a:pt x="15" y="236"/>
                    <a:pt x="15" y="236"/>
                    <a:pt x="15" y="236"/>
                  </a:cubicBezTo>
                  <a:cubicBezTo>
                    <a:pt x="8" y="236"/>
                    <a:pt x="8" y="236"/>
                    <a:pt x="8" y="236"/>
                  </a:cubicBezTo>
                  <a:moveTo>
                    <a:pt x="22" y="236"/>
                  </a:moveTo>
                  <a:cubicBezTo>
                    <a:pt x="22" y="229"/>
                    <a:pt x="22" y="229"/>
                    <a:pt x="22" y="229"/>
                  </a:cubicBezTo>
                  <a:cubicBezTo>
                    <a:pt x="29" y="229"/>
                    <a:pt x="29" y="229"/>
                    <a:pt x="29" y="229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22" y="236"/>
                    <a:pt x="22" y="236"/>
                    <a:pt x="22" y="236"/>
                  </a:cubicBezTo>
                  <a:moveTo>
                    <a:pt x="37" y="236"/>
                  </a:moveTo>
                  <a:cubicBezTo>
                    <a:pt x="37" y="229"/>
                    <a:pt x="37" y="229"/>
                    <a:pt x="37" y="229"/>
                  </a:cubicBezTo>
                  <a:cubicBezTo>
                    <a:pt x="44" y="229"/>
                    <a:pt x="44" y="229"/>
                    <a:pt x="44" y="229"/>
                  </a:cubicBezTo>
                  <a:cubicBezTo>
                    <a:pt x="44" y="236"/>
                    <a:pt x="44" y="236"/>
                    <a:pt x="44" y="236"/>
                  </a:cubicBezTo>
                  <a:cubicBezTo>
                    <a:pt x="37" y="236"/>
                    <a:pt x="37" y="236"/>
                    <a:pt x="37" y="236"/>
                  </a:cubicBezTo>
                  <a:moveTo>
                    <a:pt x="52" y="236"/>
                  </a:moveTo>
                  <a:cubicBezTo>
                    <a:pt x="52" y="229"/>
                    <a:pt x="52" y="229"/>
                    <a:pt x="52" y="229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59" y="236"/>
                    <a:pt x="59" y="236"/>
                    <a:pt x="59" y="236"/>
                  </a:cubicBezTo>
                  <a:cubicBezTo>
                    <a:pt x="52" y="236"/>
                    <a:pt x="52" y="236"/>
                    <a:pt x="52" y="236"/>
                  </a:cubicBezTo>
                  <a:moveTo>
                    <a:pt x="67" y="236"/>
                  </a:moveTo>
                  <a:cubicBezTo>
                    <a:pt x="67" y="229"/>
                    <a:pt x="67" y="229"/>
                    <a:pt x="67" y="229"/>
                  </a:cubicBezTo>
                  <a:cubicBezTo>
                    <a:pt x="74" y="229"/>
                    <a:pt x="74" y="229"/>
                    <a:pt x="74" y="229"/>
                  </a:cubicBezTo>
                  <a:cubicBezTo>
                    <a:pt x="74" y="236"/>
                    <a:pt x="74" y="236"/>
                    <a:pt x="74" y="236"/>
                  </a:cubicBezTo>
                  <a:cubicBezTo>
                    <a:pt x="67" y="236"/>
                    <a:pt x="67" y="236"/>
                    <a:pt x="67" y="236"/>
                  </a:cubicBezTo>
                  <a:moveTo>
                    <a:pt x="81" y="236"/>
                  </a:moveTo>
                  <a:cubicBezTo>
                    <a:pt x="81" y="229"/>
                    <a:pt x="81" y="229"/>
                    <a:pt x="81" y="229"/>
                  </a:cubicBezTo>
                  <a:cubicBezTo>
                    <a:pt x="88" y="229"/>
                    <a:pt x="88" y="229"/>
                    <a:pt x="88" y="229"/>
                  </a:cubicBezTo>
                  <a:cubicBezTo>
                    <a:pt x="88" y="236"/>
                    <a:pt x="88" y="236"/>
                    <a:pt x="88" y="236"/>
                  </a:cubicBezTo>
                  <a:cubicBezTo>
                    <a:pt x="81" y="236"/>
                    <a:pt x="81" y="236"/>
                    <a:pt x="81" y="236"/>
                  </a:cubicBezTo>
                  <a:moveTo>
                    <a:pt x="96" y="236"/>
                  </a:moveTo>
                  <a:cubicBezTo>
                    <a:pt x="96" y="229"/>
                    <a:pt x="96" y="229"/>
                    <a:pt x="96" y="229"/>
                  </a:cubicBezTo>
                  <a:cubicBezTo>
                    <a:pt x="103" y="229"/>
                    <a:pt x="103" y="229"/>
                    <a:pt x="103" y="229"/>
                  </a:cubicBezTo>
                  <a:cubicBezTo>
                    <a:pt x="103" y="236"/>
                    <a:pt x="103" y="236"/>
                    <a:pt x="103" y="236"/>
                  </a:cubicBezTo>
                  <a:cubicBezTo>
                    <a:pt x="96" y="236"/>
                    <a:pt x="96" y="236"/>
                    <a:pt x="96" y="236"/>
                  </a:cubicBezTo>
                  <a:moveTo>
                    <a:pt x="111" y="236"/>
                  </a:moveTo>
                  <a:cubicBezTo>
                    <a:pt x="111" y="229"/>
                    <a:pt x="111" y="229"/>
                    <a:pt x="111" y="229"/>
                  </a:cubicBezTo>
                  <a:cubicBezTo>
                    <a:pt x="118" y="229"/>
                    <a:pt x="118" y="229"/>
                    <a:pt x="118" y="229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1" y="236"/>
                    <a:pt x="111" y="236"/>
                    <a:pt x="111" y="236"/>
                  </a:cubicBezTo>
                  <a:moveTo>
                    <a:pt x="126" y="236"/>
                  </a:moveTo>
                  <a:cubicBezTo>
                    <a:pt x="126" y="229"/>
                    <a:pt x="126" y="229"/>
                    <a:pt x="126" y="229"/>
                  </a:cubicBezTo>
                  <a:cubicBezTo>
                    <a:pt x="133" y="229"/>
                    <a:pt x="133" y="229"/>
                    <a:pt x="133" y="229"/>
                  </a:cubicBezTo>
                  <a:cubicBezTo>
                    <a:pt x="133" y="236"/>
                    <a:pt x="133" y="236"/>
                    <a:pt x="133" y="236"/>
                  </a:cubicBezTo>
                  <a:cubicBezTo>
                    <a:pt x="126" y="236"/>
                    <a:pt x="126" y="236"/>
                    <a:pt x="126" y="236"/>
                  </a:cubicBezTo>
                  <a:moveTo>
                    <a:pt x="140" y="236"/>
                  </a:moveTo>
                  <a:cubicBezTo>
                    <a:pt x="140" y="229"/>
                    <a:pt x="140" y="229"/>
                    <a:pt x="140" y="229"/>
                  </a:cubicBezTo>
                  <a:cubicBezTo>
                    <a:pt x="147" y="229"/>
                    <a:pt x="147" y="229"/>
                    <a:pt x="147" y="229"/>
                  </a:cubicBezTo>
                  <a:cubicBezTo>
                    <a:pt x="147" y="236"/>
                    <a:pt x="147" y="236"/>
                    <a:pt x="147" y="236"/>
                  </a:cubicBezTo>
                  <a:cubicBezTo>
                    <a:pt x="140" y="236"/>
                    <a:pt x="140" y="236"/>
                    <a:pt x="140" y="236"/>
                  </a:cubicBezTo>
                  <a:moveTo>
                    <a:pt x="155" y="236"/>
                  </a:moveTo>
                  <a:cubicBezTo>
                    <a:pt x="155" y="229"/>
                    <a:pt x="155" y="229"/>
                    <a:pt x="155" y="229"/>
                  </a:cubicBezTo>
                  <a:cubicBezTo>
                    <a:pt x="162" y="229"/>
                    <a:pt x="162" y="229"/>
                    <a:pt x="162" y="229"/>
                  </a:cubicBezTo>
                  <a:cubicBezTo>
                    <a:pt x="162" y="236"/>
                    <a:pt x="162" y="236"/>
                    <a:pt x="162" y="236"/>
                  </a:cubicBezTo>
                  <a:cubicBezTo>
                    <a:pt x="155" y="236"/>
                    <a:pt x="155" y="236"/>
                    <a:pt x="155" y="236"/>
                  </a:cubicBezTo>
                  <a:moveTo>
                    <a:pt x="170" y="236"/>
                  </a:moveTo>
                  <a:cubicBezTo>
                    <a:pt x="170" y="229"/>
                    <a:pt x="170" y="229"/>
                    <a:pt x="170" y="229"/>
                  </a:cubicBezTo>
                  <a:cubicBezTo>
                    <a:pt x="177" y="229"/>
                    <a:pt x="177" y="229"/>
                    <a:pt x="177" y="229"/>
                  </a:cubicBezTo>
                  <a:cubicBezTo>
                    <a:pt x="177" y="236"/>
                    <a:pt x="177" y="236"/>
                    <a:pt x="177" y="236"/>
                  </a:cubicBezTo>
                  <a:cubicBezTo>
                    <a:pt x="170" y="236"/>
                    <a:pt x="170" y="236"/>
                    <a:pt x="170" y="236"/>
                  </a:cubicBezTo>
                  <a:moveTo>
                    <a:pt x="185" y="236"/>
                  </a:moveTo>
                  <a:cubicBezTo>
                    <a:pt x="185" y="229"/>
                    <a:pt x="185" y="229"/>
                    <a:pt x="185" y="229"/>
                  </a:cubicBezTo>
                  <a:cubicBezTo>
                    <a:pt x="192" y="229"/>
                    <a:pt x="192" y="229"/>
                    <a:pt x="192" y="229"/>
                  </a:cubicBezTo>
                  <a:cubicBezTo>
                    <a:pt x="192" y="236"/>
                    <a:pt x="192" y="236"/>
                    <a:pt x="192" y="236"/>
                  </a:cubicBezTo>
                  <a:cubicBezTo>
                    <a:pt x="185" y="236"/>
                    <a:pt x="185" y="236"/>
                    <a:pt x="185" y="236"/>
                  </a:cubicBezTo>
                  <a:moveTo>
                    <a:pt x="199" y="236"/>
                  </a:moveTo>
                  <a:cubicBezTo>
                    <a:pt x="199" y="229"/>
                    <a:pt x="199" y="229"/>
                    <a:pt x="199" y="229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6" y="236"/>
                    <a:pt x="206" y="236"/>
                    <a:pt x="206" y="236"/>
                  </a:cubicBezTo>
                  <a:cubicBezTo>
                    <a:pt x="199" y="236"/>
                    <a:pt x="199" y="236"/>
                    <a:pt x="199" y="236"/>
                  </a:cubicBezTo>
                  <a:moveTo>
                    <a:pt x="214" y="236"/>
                  </a:moveTo>
                  <a:cubicBezTo>
                    <a:pt x="214" y="229"/>
                    <a:pt x="214" y="229"/>
                    <a:pt x="214" y="229"/>
                  </a:cubicBezTo>
                  <a:cubicBezTo>
                    <a:pt x="221" y="229"/>
                    <a:pt x="221" y="229"/>
                    <a:pt x="221" y="229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14" y="236"/>
                    <a:pt x="214" y="236"/>
                    <a:pt x="214" y="236"/>
                  </a:cubicBezTo>
                  <a:moveTo>
                    <a:pt x="229" y="236"/>
                  </a:moveTo>
                  <a:cubicBezTo>
                    <a:pt x="229" y="229"/>
                    <a:pt x="229" y="229"/>
                    <a:pt x="229" y="229"/>
                  </a:cubicBezTo>
                  <a:cubicBezTo>
                    <a:pt x="236" y="229"/>
                    <a:pt x="236" y="229"/>
                    <a:pt x="236" y="229"/>
                  </a:cubicBezTo>
                  <a:cubicBezTo>
                    <a:pt x="236" y="236"/>
                    <a:pt x="236" y="236"/>
                    <a:pt x="236" y="236"/>
                  </a:cubicBezTo>
                  <a:cubicBezTo>
                    <a:pt x="229" y="236"/>
                    <a:pt x="229" y="236"/>
                    <a:pt x="229" y="236"/>
                  </a:cubicBezTo>
                  <a:moveTo>
                    <a:pt x="244" y="236"/>
                  </a:moveTo>
                  <a:cubicBezTo>
                    <a:pt x="244" y="229"/>
                    <a:pt x="244" y="229"/>
                    <a:pt x="244" y="229"/>
                  </a:cubicBezTo>
                  <a:cubicBezTo>
                    <a:pt x="251" y="229"/>
                    <a:pt x="251" y="229"/>
                    <a:pt x="251" y="229"/>
                  </a:cubicBezTo>
                  <a:cubicBezTo>
                    <a:pt x="251" y="236"/>
                    <a:pt x="251" y="236"/>
                    <a:pt x="251" y="236"/>
                  </a:cubicBezTo>
                  <a:cubicBezTo>
                    <a:pt x="244" y="236"/>
                    <a:pt x="244" y="236"/>
                    <a:pt x="244" y="236"/>
                  </a:cubicBezTo>
                  <a:moveTo>
                    <a:pt x="258" y="236"/>
                  </a:moveTo>
                  <a:cubicBezTo>
                    <a:pt x="258" y="229"/>
                    <a:pt x="258" y="229"/>
                    <a:pt x="258" y="229"/>
                  </a:cubicBezTo>
                  <a:cubicBezTo>
                    <a:pt x="265" y="229"/>
                    <a:pt x="265" y="229"/>
                    <a:pt x="265" y="229"/>
                  </a:cubicBezTo>
                  <a:cubicBezTo>
                    <a:pt x="265" y="236"/>
                    <a:pt x="265" y="236"/>
                    <a:pt x="265" y="236"/>
                  </a:cubicBezTo>
                  <a:cubicBezTo>
                    <a:pt x="258" y="236"/>
                    <a:pt x="258" y="236"/>
                    <a:pt x="258" y="236"/>
                  </a:cubicBezTo>
                  <a:moveTo>
                    <a:pt x="273" y="236"/>
                  </a:moveTo>
                  <a:cubicBezTo>
                    <a:pt x="273" y="229"/>
                    <a:pt x="273" y="229"/>
                    <a:pt x="273" y="229"/>
                  </a:cubicBezTo>
                  <a:cubicBezTo>
                    <a:pt x="280" y="229"/>
                    <a:pt x="280" y="229"/>
                    <a:pt x="280" y="229"/>
                  </a:cubicBezTo>
                  <a:cubicBezTo>
                    <a:pt x="280" y="236"/>
                    <a:pt x="280" y="236"/>
                    <a:pt x="280" y="236"/>
                  </a:cubicBezTo>
                  <a:cubicBezTo>
                    <a:pt x="273" y="236"/>
                    <a:pt x="273" y="236"/>
                    <a:pt x="273" y="236"/>
                  </a:cubicBezTo>
                  <a:moveTo>
                    <a:pt x="288" y="236"/>
                  </a:moveTo>
                  <a:cubicBezTo>
                    <a:pt x="288" y="229"/>
                    <a:pt x="288" y="229"/>
                    <a:pt x="288" y="229"/>
                  </a:cubicBezTo>
                  <a:cubicBezTo>
                    <a:pt x="295" y="229"/>
                    <a:pt x="295" y="229"/>
                    <a:pt x="295" y="229"/>
                  </a:cubicBezTo>
                  <a:cubicBezTo>
                    <a:pt x="295" y="236"/>
                    <a:pt x="295" y="236"/>
                    <a:pt x="295" y="236"/>
                  </a:cubicBezTo>
                  <a:cubicBezTo>
                    <a:pt x="288" y="236"/>
                    <a:pt x="288" y="236"/>
                    <a:pt x="288" y="236"/>
                  </a:cubicBezTo>
                  <a:moveTo>
                    <a:pt x="303" y="236"/>
                  </a:moveTo>
                  <a:cubicBezTo>
                    <a:pt x="303" y="229"/>
                    <a:pt x="303" y="229"/>
                    <a:pt x="303" y="229"/>
                  </a:cubicBezTo>
                  <a:cubicBezTo>
                    <a:pt x="310" y="229"/>
                    <a:pt x="310" y="229"/>
                    <a:pt x="310" y="229"/>
                  </a:cubicBezTo>
                  <a:cubicBezTo>
                    <a:pt x="310" y="236"/>
                    <a:pt x="310" y="236"/>
                    <a:pt x="310" y="236"/>
                  </a:cubicBezTo>
                  <a:cubicBezTo>
                    <a:pt x="303" y="236"/>
                    <a:pt x="303" y="236"/>
                    <a:pt x="303" y="236"/>
                  </a:cubicBezTo>
                  <a:moveTo>
                    <a:pt x="317" y="236"/>
                  </a:moveTo>
                  <a:cubicBezTo>
                    <a:pt x="317" y="229"/>
                    <a:pt x="317" y="229"/>
                    <a:pt x="317" y="229"/>
                  </a:cubicBezTo>
                  <a:cubicBezTo>
                    <a:pt x="324" y="229"/>
                    <a:pt x="324" y="229"/>
                    <a:pt x="324" y="229"/>
                  </a:cubicBezTo>
                  <a:cubicBezTo>
                    <a:pt x="324" y="236"/>
                    <a:pt x="324" y="236"/>
                    <a:pt x="324" y="236"/>
                  </a:cubicBezTo>
                  <a:cubicBezTo>
                    <a:pt x="317" y="236"/>
                    <a:pt x="317" y="236"/>
                    <a:pt x="317" y="236"/>
                  </a:cubicBezTo>
                  <a:moveTo>
                    <a:pt x="332" y="236"/>
                  </a:moveTo>
                  <a:cubicBezTo>
                    <a:pt x="332" y="229"/>
                    <a:pt x="332" y="229"/>
                    <a:pt x="332" y="229"/>
                  </a:cubicBezTo>
                  <a:cubicBezTo>
                    <a:pt x="339" y="229"/>
                    <a:pt x="339" y="229"/>
                    <a:pt x="339" y="229"/>
                  </a:cubicBezTo>
                  <a:cubicBezTo>
                    <a:pt x="339" y="236"/>
                    <a:pt x="339" y="236"/>
                    <a:pt x="339" y="236"/>
                  </a:cubicBezTo>
                  <a:cubicBezTo>
                    <a:pt x="332" y="236"/>
                    <a:pt x="332" y="236"/>
                    <a:pt x="332" y="236"/>
                  </a:cubicBezTo>
                  <a:moveTo>
                    <a:pt x="347" y="236"/>
                  </a:moveTo>
                  <a:cubicBezTo>
                    <a:pt x="347" y="229"/>
                    <a:pt x="347" y="229"/>
                    <a:pt x="347" y="229"/>
                  </a:cubicBezTo>
                  <a:cubicBezTo>
                    <a:pt x="354" y="229"/>
                    <a:pt x="354" y="229"/>
                    <a:pt x="354" y="229"/>
                  </a:cubicBezTo>
                  <a:cubicBezTo>
                    <a:pt x="354" y="236"/>
                    <a:pt x="354" y="236"/>
                    <a:pt x="354" y="236"/>
                  </a:cubicBezTo>
                  <a:cubicBezTo>
                    <a:pt x="347" y="236"/>
                    <a:pt x="347" y="236"/>
                    <a:pt x="347" y="236"/>
                  </a:cubicBezTo>
                  <a:moveTo>
                    <a:pt x="362" y="236"/>
                  </a:moveTo>
                  <a:cubicBezTo>
                    <a:pt x="362" y="229"/>
                    <a:pt x="362" y="229"/>
                    <a:pt x="362" y="229"/>
                  </a:cubicBezTo>
                  <a:cubicBezTo>
                    <a:pt x="369" y="229"/>
                    <a:pt x="369" y="229"/>
                    <a:pt x="369" y="229"/>
                  </a:cubicBezTo>
                  <a:cubicBezTo>
                    <a:pt x="369" y="236"/>
                    <a:pt x="369" y="236"/>
                    <a:pt x="369" y="236"/>
                  </a:cubicBezTo>
                  <a:cubicBezTo>
                    <a:pt x="362" y="236"/>
                    <a:pt x="362" y="236"/>
                    <a:pt x="362" y="236"/>
                  </a:cubicBezTo>
                  <a:moveTo>
                    <a:pt x="376" y="236"/>
                  </a:moveTo>
                  <a:cubicBezTo>
                    <a:pt x="376" y="229"/>
                    <a:pt x="376" y="229"/>
                    <a:pt x="376" y="229"/>
                  </a:cubicBezTo>
                  <a:cubicBezTo>
                    <a:pt x="383" y="229"/>
                    <a:pt x="383" y="229"/>
                    <a:pt x="383" y="229"/>
                  </a:cubicBezTo>
                  <a:cubicBezTo>
                    <a:pt x="383" y="236"/>
                    <a:pt x="383" y="236"/>
                    <a:pt x="383" y="236"/>
                  </a:cubicBezTo>
                  <a:cubicBezTo>
                    <a:pt x="376" y="236"/>
                    <a:pt x="376" y="236"/>
                    <a:pt x="376" y="236"/>
                  </a:cubicBezTo>
                  <a:moveTo>
                    <a:pt x="8" y="222"/>
                  </a:moveTo>
                  <a:cubicBezTo>
                    <a:pt x="8" y="215"/>
                    <a:pt x="8" y="215"/>
                    <a:pt x="8" y="215"/>
                  </a:cubicBezTo>
                  <a:cubicBezTo>
                    <a:pt x="15" y="215"/>
                    <a:pt x="15" y="215"/>
                    <a:pt x="15" y="215"/>
                  </a:cubicBezTo>
                  <a:cubicBezTo>
                    <a:pt x="15" y="222"/>
                    <a:pt x="15" y="222"/>
                    <a:pt x="15" y="222"/>
                  </a:cubicBezTo>
                  <a:cubicBezTo>
                    <a:pt x="8" y="222"/>
                    <a:pt x="8" y="222"/>
                    <a:pt x="8" y="222"/>
                  </a:cubicBezTo>
                  <a:moveTo>
                    <a:pt x="22" y="222"/>
                  </a:moveTo>
                  <a:cubicBezTo>
                    <a:pt x="22" y="215"/>
                    <a:pt x="22" y="215"/>
                    <a:pt x="22" y="215"/>
                  </a:cubicBezTo>
                  <a:cubicBezTo>
                    <a:pt x="29" y="215"/>
                    <a:pt x="29" y="215"/>
                    <a:pt x="29" y="215"/>
                  </a:cubicBezTo>
                  <a:cubicBezTo>
                    <a:pt x="29" y="222"/>
                    <a:pt x="29" y="222"/>
                    <a:pt x="29" y="222"/>
                  </a:cubicBezTo>
                  <a:cubicBezTo>
                    <a:pt x="22" y="222"/>
                    <a:pt x="22" y="222"/>
                    <a:pt x="22" y="222"/>
                  </a:cubicBezTo>
                  <a:moveTo>
                    <a:pt x="37" y="222"/>
                  </a:moveTo>
                  <a:cubicBezTo>
                    <a:pt x="37" y="215"/>
                    <a:pt x="37" y="215"/>
                    <a:pt x="37" y="215"/>
                  </a:cubicBezTo>
                  <a:cubicBezTo>
                    <a:pt x="44" y="215"/>
                    <a:pt x="44" y="215"/>
                    <a:pt x="44" y="215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37" y="222"/>
                    <a:pt x="37" y="222"/>
                    <a:pt x="37" y="222"/>
                  </a:cubicBezTo>
                  <a:moveTo>
                    <a:pt x="52" y="222"/>
                  </a:moveTo>
                  <a:cubicBezTo>
                    <a:pt x="52" y="215"/>
                    <a:pt x="52" y="215"/>
                    <a:pt x="52" y="215"/>
                  </a:cubicBezTo>
                  <a:cubicBezTo>
                    <a:pt x="59" y="215"/>
                    <a:pt x="59" y="215"/>
                    <a:pt x="59" y="215"/>
                  </a:cubicBezTo>
                  <a:cubicBezTo>
                    <a:pt x="59" y="222"/>
                    <a:pt x="59" y="222"/>
                    <a:pt x="59" y="222"/>
                  </a:cubicBezTo>
                  <a:cubicBezTo>
                    <a:pt x="52" y="222"/>
                    <a:pt x="52" y="222"/>
                    <a:pt x="52" y="222"/>
                  </a:cubicBezTo>
                  <a:moveTo>
                    <a:pt x="67" y="222"/>
                  </a:moveTo>
                  <a:cubicBezTo>
                    <a:pt x="67" y="215"/>
                    <a:pt x="67" y="215"/>
                    <a:pt x="67" y="215"/>
                  </a:cubicBezTo>
                  <a:cubicBezTo>
                    <a:pt x="74" y="215"/>
                    <a:pt x="74" y="215"/>
                    <a:pt x="74" y="215"/>
                  </a:cubicBezTo>
                  <a:cubicBezTo>
                    <a:pt x="74" y="222"/>
                    <a:pt x="74" y="222"/>
                    <a:pt x="74" y="222"/>
                  </a:cubicBezTo>
                  <a:cubicBezTo>
                    <a:pt x="67" y="222"/>
                    <a:pt x="67" y="222"/>
                    <a:pt x="67" y="222"/>
                  </a:cubicBezTo>
                  <a:moveTo>
                    <a:pt x="81" y="222"/>
                  </a:moveTo>
                  <a:cubicBezTo>
                    <a:pt x="81" y="215"/>
                    <a:pt x="81" y="215"/>
                    <a:pt x="81" y="215"/>
                  </a:cubicBezTo>
                  <a:cubicBezTo>
                    <a:pt x="88" y="215"/>
                    <a:pt x="88" y="215"/>
                    <a:pt x="88" y="215"/>
                  </a:cubicBezTo>
                  <a:cubicBezTo>
                    <a:pt x="88" y="222"/>
                    <a:pt x="88" y="222"/>
                    <a:pt x="88" y="222"/>
                  </a:cubicBezTo>
                  <a:cubicBezTo>
                    <a:pt x="81" y="222"/>
                    <a:pt x="81" y="222"/>
                    <a:pt x="81" y="222"/>
                  </a:cubicBezTo>
                  <a:moveTo>
                    <a:pt x="96" y="222"/>
                  </a:moveTo>
                  <a:cubicBezTo>
                    <a:pt x="96" y="215"/>
                    <a:pt x="96" y="215"/>
                    <a:pt x="96" y="215"/>
                  </a:cubicBezTo>
                  <a:cubicBezTo>
                    <a:pt x="103" y="215"/>
                    <a:pt x="103" y="215"/>
                    <a:pt x="103" y="215"/>
                  </a:cubicBezTo>
                  <a:cubicBezTo>
                    <a:pt x="103" y="222"/>
                    <a:pt x="103" y="222"/>
                    <a:pt x="103" y="222"/>
                  </a:cubicBezTo>
                  <a:cubicBezTo>
                    <a:pt x="96" y="222"/>
                    <a:pt x="96" y="222"/>
                    <a:pt x="96" y="222"/>
                  </a:cubicBezTo>
                  <a:moveTo>
                    <a:pt x="111" y="222"/>
                  </a:moveTo>
                  <a:cubicBezTo>
                    <a:pt x="111" y="215"/>
                    <a:pt x="111" y="215"/>
                    <a:pt x="111" y="215"/>
                  </a:cubicBezTo>
                  <a:cubicBezTo>
                    <a:pt x="118" y="215"/>
                    <a:pt x="118" y="215"/>
                    <a:pt x="118" y="215"/>
                  </a:cubicBezTo>
                  <a:cubicBezTo>
                    <a:pt x="118" y="222"/>
                    <a:pt x="118" y="222"/>
                    <a:pt x="118" y="222"/>
                  </a:cubicBezTo>
                  <a:cubicBezTo>
                    <a:pt x="111" y="222"/>
                    <a:pt x="111" y="222"/>
                    <a:pt x="111" y="222"/>
                  </a:cubicBezTo>
                  <a:moveTo>
                    <a:pt x="126" y="222"/>
                  </a:moveTo>
                  <a:cubicBezTo>
                    <a:pt x="126" y="215"/>
                    <a:pt x="126" y="215"/>
                    <a:pt x="126" y="215"/>
                  </a:cubicBezTo>
                  <a:cubicBezTo>
                    <a:pt x="133" y="215"/>
                    <a:pt x="133" y="215"/>
                    <a:pt x="133" y="215"/>
                  </a:cubicBezTo>
                  <a:cubicBezTo>
                    <a:pt x="133" y="222"/>
                    <a:pt x="133" y="222"/>
                    <a:pt x="133" y="222"/>
                  </a:cubicBezTo>
                  <a:cubicBezTo>
                    <a:pt x="126" y="222"/>
                    <a:pt x="126" y="222"/>
                    <a:pt x="126" y="222"/>
                  </a:cubicBezTo>
                  <a:moveTo>
                    <a:pt x="140" y="222"/>
                  </a:moveTo>
                  <a:cubicBezTo>
                    <a:pt x="140" y="215"/>
                    <a:pt x="140" y="215"/>
                    <a:pt x="140" y="215"/>
                  </a:cubicBezTo>
                  <a:cubicBezTo>
                    <a:pt x="147" y="215"/>
                    <a:pt x="147" y="215"/>
                    <a:pt x="147" y="215"/>
                  </a:cubicBezTo>
                  <a:cubicBezTo>
                    <a:pt x="147" y="222"/>
                    <a:pt x="147" y="222"/>
                    <a:pt x="147" y="222"/>
                  </a:cubicBezTo>
                  <a:cubicBezTo>
                    <a:pt x="140" y="222"/>
                    <a:pt x="140" y="222"/>
                    <a:pt x="140" y="222"/>
                  </a:cubicBezTo>
                  <a:moveTo>
                    <a:pt x="155" y="222"/>
                  </a:moveTo>
                  <a:cubicBezTo>
                    <a:pt x="155" y="215"/>
                    <a:pt x="155" y="215"/>
                    <a:pt x="155" y="215"/>
                  </a:cubicBezTo>
                  <a:cubicBezTo>
                    <a:pt x="162" y="215"/>
                    <a:pt x="162" y="215"/>
                    <a:pt x="162" y="215"/>
                  </a:cubicBezTo>
                  <a:cubicBezTo>
                    <a:pt x="162" y="222"/>
                    <a:pt x="162" y="222"/>
                    <a:pt x="162" y="222"/>
                  </a:cubicBezTo>
                  <a:cubicBezTo>
                    <a:pt x="155" y="222"/>
                    <a:pt x="155" y="222"/>
                    <a:pt x="155" y="222"/>
                  </a:cubicBezTo>
                  <a:moveTo>
                    <a:pt x="170" y="222"/>
                  </a:moveTo>
                  <a:cubicBezTo>
                    <a:pt x="170" y="215"/>
                    <a:pt x="170" y="215"/>
                    <a:pt x="170" y="215"/>
                  </a:cubicBezTo>
                  <a:cubicBezTo>
                    <a:pt x="177" y="215"/>
                    <a:pt x="177" y="215"/>
                    <a:pt x="177" y="215"/>
                  </a:cubicBezTo>
                  <a:cubicBezTo>
                    <a:pt x="177" y="222"/>
                    <a:pt x="177" y="222"/>
                    <a:pt x="177" y="222"/>
                  </a:cubicBezTo>
                  <a:cubicBezTo>
                    <a:pt x="170" y="222"/>
                    <a:pt x="170" y="222"/>
                    <a:pt x="170" y="222"/>
                  </a:cubicBezTo>
                  <a:moveTo>
                    <a:pt x="185" y="222"/>
                  </a:moveTo>
                  <a:cubicBezTo>
                    <a:pt x="185" y="215"/>
                    <a:pt x="185" y="215"/>
                    <a:pt x="185" y="215"/>
                  </a:cubicBezTo>
                  <a:cubicBezTo>
                    <a:pt x="192" y="215"/>
                    <a:pt x="192" y="215"/>
                    <a:pt x="192" y="215"/>
                  </a:cubicBezTo>
                  <a:cubicBezTo>
                    <a:pt x="192" y="222"/>
                    <a:pt x="192" y="222"/>
                    <a:pt x="192" y="222"/>
                  </a:cubicBezTo>
                  <a:cubicBezTo>
                    <a:pt x="185" y="222"/>
                    <a:pt x="185" y="222"/>
                    <a:pt x="185" y="222"/>
                  </a:cubicBezTo>
                  <a:moveTo>
                    <a:pt x="199" y="222"/>
                  </a:moveTo>
                  <a:cubicBezTo>
                    <a:pt x="199" y="215"/>
                    <a:pt x="199" y="215"/>
                    <a:pt x="199" y="215"/>
                  </a:cubicBezTo>
                  <a:cubicBezTo>
                    <a:pt x="206" y="215"/>
                    <a:pt x="206" y="215"/>
                    <a:pt x="206" y="215"/>
                  </a:cubicBezTo>
                  <a:cubicBezTo>
                    <a:pt x="206" y="222"/>
                    <a:pt x="206" y="222"/>
                    <a:pt x="206" y="222"/>
                  </a:cubicBezTo>
                  <a:cubicBezTo>
                    <a:pt x="199" y="222"/>
                    <a:pt x="199" y="222"/>
                    <a:pt x="199" y="222"/>
                  </a:cubicBezTo>
                  <a:moveTo>
                    <a:pt x="214" y="222"/>
                  </a:moveTo>
                  <a:cubicBezTo>
                    <a:pt x="214" y="215"/>
                    <a:pt x="214" y="215"/>
                    <a:pt x="214" y="215"/>
                  </a:cubicBezTo>
                  <a:cubicBezTo>
                    <a:pt x="221" y="215"/>
                    <a:pt x="221" y="215"/>
                    <a:pt x="221" y="215"/>
                  </a:cubicBezTo>
                  <a:cubicBezTo>
                    <a:pt x="221" y="222"/>
                    <a:pt x="221" y="222"/>
                    <a:pt x="221" y="222"/>
                  </a:cubicBezTo>
                  <a:cubicBezTo>
                    <a:pt x="214" y="222"/>
                    <a:pt x="214" y="222"/>
                    <a:pt x="214" y="222"/>
                  </a:cubicBezTo>
                  <a:moveTo>
                    <a:pt x="229" y="222"/>
                  </a:moveTo>
                  <a:cubicBezTo>
                    <a:pt x="229" y="215"/>
                    <a:pt x="229" y="215"/>
                    <a:pt x="229" y="215"/>
                  </a:cubicBezTo>
                  <a:cubicBezTo>
                    <a:pt x="236" y="215"/>
                    <a:pt x="236" y="215"/>
                    <a:pt x="236" y="215"/>
                  </a:cubicBezTo>
                  <a:cubicBezTo>
                    <a:pt x="236" y="222"/>
                    <a:pt x="236" y="222"/>
                    <a:pt x="236" y="222"/>
                  </a:cubicBezTo>
                  <a:cubicBezTo>
                    <a:pt x="229" y="222"/>
                    <a:pt x="229" y="222"/>
                    <a:pt x="229" y="222"/>
                  </a:cubicBezTo>
                  <a:moveTo>
                    <a:pt x="244" y="222"/>
                  </a:moveTo>
                  <a:cubicBezTo>
                    <a:pt x="244" y="215"/>
                    <a:pt x="244" y="215"/>
                    <a:pt x="244" y="215"/>
                  </a:cubicBezTo>
                  <a:cubicBezTo>
                    <a:pt x="251" y="215"/>
                    <a:pt x="251" y="215"/>
                    <a:pt x="251" y="215"/>
                  </a:cubicBezTo>
                  <a:cubicBezTo>
                    <a:pt x="251" y="222"/>
                    <a:pt x="251" y="222"/>
                    <a:pt x="251" y="222"/>
                  </a:cubicBezTo>
                  <a:cubicBezTo>
                    <a:pt x="244" y="222"/>
                    <a:pt x="244" y="222"/>
                    <a:pt x="244" y="222"/>
                  </a:cubicBezTo>
                  <a:moveTo>
                    <a:pt x="258" y="222"/>
                  </a:moveTo>
                  <a:cubicBezTo>
                    <a:pt x="258" y="215"/>
                    <a:pt x="258" y="215"/>
                    <a:pt x="258" y="215"/>
                  </a:cubicBezTo>
                  <a:cubicBezTo>
                    <a:pt x="265" y="215"/>
                    <a:pt x="265" y="215"/>
                    <a:pt x="265" y="215"/>
                  </a:cubicBezTo>
                  <a:cubicBezTo>
                    <a:pt x="265" y="222"/>
                    <a:pt x="265" y="222"/>
                    <a:pt x="265" y="222"/>
                  </a:cubicBezTo>
                  <a:cubicBezTo>
                    <a:pt x="258" y="222"/>
                    <a:pt x="258" y="222"/>
                    <a:pt x="258" y="222"/>
                  </a:cubicBezTo>
                  <a:moveTo>
                    <a:pt x="273" y="222"/>
                  </a:moveTo>
                  <a:cubicBezTo>
                    <a:pt x="273" y="215"/>
                    <a:pt x="273" y="215"/>
                    <a:pt x="273" y="215"/>
                  </a:cubicBezTo>
                  <a:cubicBezTo>
                    <a:pt x="280" y="215"/>
                    <a:pt x="280" y="215"/>
                    <a:pt x="280" y="215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73" y="222"/>
                    <a:pt x="273" y="222"/>
                    <a:pt x="273" y="222"/>
                  </a:cubicBezTo>
                  <a:moveTo>
                    <a:pt x="288" y="222"/>
                  </a:moveTo>
                  <a:cubicBezTo>
                    <a:pt x="288" y="215"/>
                    <a:pt x="288" y="215"/>
                    <a:pt x="288" y="215"/>
                  </a:cubicBezTo>
                  <a:cubicBezTo>
                    <a:pt x="295" y="215"/>
                    <a:pt x="295" y="215"/>
                    <a:pt x="295" y="215"/>
                  </a:cubicBezTo>
                  <a:cubicBezTo>
                    <a:pt x="295" y="222"/>
                    <a:pt x="295" y="222"/>
                    <a:pt x="295" y="222"/>
                  </a:cubicBezTo>
                  <a:cubicBezTo>
                    <a:pt x="288" y="222"/>
                    <a:pt x="288" y="222"/>
                    <a:pt x="288" y="222"/>
                  </a:cubicBezTo>
                  <a:moveTo>
                    <a:pt x="303" y="222"/>
                  </a:moveTo>
                  <a:cubicBezTo>
                    <a:pt x="303" y="215"/>
                    <a:pt x="303" y="215"/>
                    <a:pt x="303" y="215"/>
                  </a:cubicBezTo>
                  <a:cubicBezTo>
                    <a:pt x="310" y="215"/>
                    <a:pt x="310" y="215"/>
                    <a:pt x="310" y="215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03" y="222"/>
                    <a:pt x="303" y="222"/>
                    <a:pt x="303" y="222"/>
                  </a:cubicBezTo>
                  <a:moveTo>
                    <a:pt x="317" y="222"/>
                  </a:moveTo>
                  <a:cubicBezTo>
                    <a:pt x="317" y="215"/>
                    <a:pt x="317" y="215"/>
                    <a:pt x="317" y="215"/>
                  </a:cubicBezTo>
                  <a:cubicBezTo>
                    <a:pt x="324" y="215"/>
                    <a:pt x="324" y="215"/>
                    <a:pt x="324" y="215"/>
                  </a:cubicBezTo>
                  <a:cubicBezTo>
                    <a:pt x="324" y="222"/>
                    <a:pt x="324" y="222"/>
                    <a:pt x="324" y="222"/>
                  </a:cubicBezTo>
                  <a:cubicBezTo>
                    <a:pt x="317" y="222"/>
                    <a:pt x="317" y="222"/>
                    <a:pt x="317" y="222"/>
                  </a:cubicBezTo>
                  <a:moveTo>
                    <a:pt x="332" y="222"/>
                  </a:moveTo>
                  <a:cubicBezTo>
                    <a:pt x="332" y="215"/>
                    <a:pt x="332" y="215"/>
                    <a:pt x="332" y="215"/>
                  </a:cubicBezTo>
                  <a:cubicBezTo>
                    <a:pt x="339" y="215"/>
                    <a:pt x="339" y="215"/>
                    <a:pt x="339" y="215"/>
                  </a:cubicBezTo>
                  <a:cubicBezTo>
                    <a:pt x="339" y="222"/>
                    <a:pt x="339" y="222"/>
                    <a:pt x="339" y="222"/>
                  </a:cubicBezTo>
                  <a:cubicBezTo>
                    <a:pt x="332" y="222"/>
                    <a:pt x="332" y="222"/>
                    <a:pt x="332" y="222"/>
                  </a:cubicBezTo>
                  <a:moveTo>
                    <a:pt x="347" y="222"/>
                  </a:moveTo>
                  <a:cubicBezTo>
                    <a:pt x="347" y="215"/>
                    <a:pt x="347" y="215"/>
                    <a:pt x="347" y="215"/>
                  </a:cubicBezTo>
                  <a:cubicBezTo>
                    <a:pt x="354" y="215"/>
                    <a:pt x="354" y="215"/>
                    <a:pt x="354" y="215"/>
                  </a:cubicBezTo>
                  <a:cubicBezTo>
                    <a:pt x="354" y="222"/>
                    <a:pt x="354" y="222"/>
                    <a:pt x="354" y="222"/>
                  </a:cubicBezTo>
                  <a:cubicBezTo>
                    <a:pt x="347" y="222"/>
                    <a:pt x="347" y="222"/>
                    <a:pt x="347" y="222"/>
                  </a:cubicBezTo>
                  <a:moveTo>
                    <a:pt x="362" y="222"/>
                  </a:moveTo>
                  <a:cubicBezTo>
                    <a:pt x="362" y="215"/>
                    <a:pt x="362" y="215"/>
                    <a:pt x="362" y="215"/>
                  </a:cubicBezTo>
                  <a:cubicBezTo>
                    <a:pt x="369" y="215"/>
                    <a:pt x="369" y="215"/>
                    <a:pt x="369" y="215"/>
                  </a:cubicBezTo>
                  <a:cubicBezTo>
                    <a:pt x="369" y="222"/>
                    <a:pt x="369" y="222"/>
                    <a:pt x="369" y="222"/>
                  </a:cubicBezTo>
                  <a:cubicBezTo>
                    <a:pt x="362" y="222"/>
                    <a:pt x="362" y="222"/>
                    <a:pt x="362" y="222"/>
                  </a:cubicBezTo>
                  <a:moveTo>
                    <a:pt x="376" y="222"/>
                  </a:moveTo>
                  <a:cubicBezTo>
                    <a:pt x="376" y="215"/>
                    <a:pt x="376" y="215"/>
                    <a:pt x="376" y="215"/>
                  </a:cubicBezTo>
                  <a:cubicBezTo>
                    <a:pt x="383" y="215"/>
                    <a:pt x="383" y="215"/>
                    <a:pt x="383" y="215"/>
                  </a:cubicBezTo>
                  <a:cubicBezTo>
                    <a:pt x="383" y="222"/>
                    <a:pt x="383" y="222"/>
                    <a:pt x="383" y="222"/>
                  </a:cubicBezTo>
                  <a:cubicBezTo>
                    <a:pt x="376" y="222"/>
                    <a:pt x="376" y="222"/>
                    <a:pt x="376" y="222"/>
                  </a:cubicBezTo>
                  <a:moveTo>
                    <a:pt x="8" y="207"/>
                  </a:moveTo>
                  <a:cubicBezTo>
                    <a:pt x="8" y="200"/>
                    <a:pt x="8" y="200"/>
                    <a:pt x="8" y="200"/>
                  </a:cubicBezTo>
                  <a:cubicBezTo>
                    <a:pt x="15" y="200"/>
                    <a:pt x="15" y="200"/>
                    <a:pt x="15" y="200"/>
                  </a:cubicBezTo>
                  <a:cubicBezTo>
                    <a:pt x="15" y="207"/>
                    <a:pt x="15" y="207"/>
                    <a:pt x="15" y="207"/>
                  </a:cubicBezTo>
                  <a:cubicBezTo>
                    <a:pt x="8" y="207"/>
                    <a:pt x="8" y="207"/>
                    <a:pt x="8" y="207"/>
                  </a:cubicBezTo>
                  <a:moveTo>
                    <a:pt x="22" y="207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9" y="200"/>
                    <a:pt x="29" y="200"/>
                    <a:pt x="29" y="200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22" y="207"/>
                    <a:pt x="22" y="207"/>
                    <a:pt x="22" y="207"/>
                  </a:cubicBezTo>
                  <a:moveTo>
                    <a:pt x="37" y="207"/>
                  </a:moveTo>
                  <a:cubicBezTo>
                    <a:pt x="37" y="200"/>
                    <a:pt x="37" y="200"/>
                    <a:pt x="37" y="200"/>
                  </a:cubicBezTo>
                  <a:cubicBezTo>
                    <a:pt x="44" y="200"/>
                    <a:pt x="44" y="200"/>
                    <a:pt x="44" y="200"/>
                  </a:cubicBezTo>
                  <a:cubicBezTo>
                    <a:pt x="44" y="207"/>
                    <a:pt x="44" y="207"/>
                    <a:pt x="44" y="207"/>
                  </a:cubicBezTo>
                  <a:cubicBezTo>
                    <a:pt x="37" y="207"/>
                    <a:pt x="37" y="207"/>
                    <a:pt x="37" y="207"/>
                  </a:cubicBezTo>
                  <a:moveTo>
                    <a:pt x="52" y="207"/>
                  </a:moveTo>
                  <a:cubicBezTo>
                    <a:pt x="52" y="200"/>
                    <a:pt x="52" y="200"/>
                    <a:pt x="52" y="200"/>
                  </a:cubicBezTo>
                  <a:cubicBezTo>
                    <a:pt x="59" y="200"/>
                    <a:pt x="59" y="200"/>
                    <a:pt x="59" y="200"/>
                  </a:cubicBezTo>
                  <a:cubicBezTo>
                    <a:pt x="59" y="207"/>
                    <a:pt x="59" y="207"/>
                    <a:pt x="59" y="207"/>
                  </a:cubicBezTo>
                  <a:cubicBezTo>
                    <a:pt x="52" y="207"/>
                    <a:pt x="52" y="207"/>
                    <a:pt x="52" y="207"/>
                  </a:cubicBezTo>
                  <a:moveTo>
                    <a:pt x="67" y="207"/>
                  </a:moveTo>
                  <a:cubicBezTo>
                    <a:pt x="67" y="200"/>
                    <a:pt x="67" y="200"/>
                    <a:pt x="67" y="200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74" y="207"/>
                    <a:pt x="74" y="207"/>
                    <a:pt x="74" y="207"/>
                  </a:cubicBezTo>
                  <a:cubicBezTo>
                    <a:pt x="67" y="207"/>
                    <a:pt x="67" y="207"/>
                    <a:pt x="67" y="207"/>
                  </a:cubicBezTo>
                  <a:moveTo>
                    <a:pt x="81" y="207"/>
                  </a:moveTo>
                  <a:cubicBezTo>
                    <a:pt x="81" y="200"/>
                    <a:pt x="81" y="200"/>
                    <a:pt x="81" y="200"/>
                  </a:cubicBezTo>
                  <a:cubicBezTo>
                    <a:pt x="88" y="200"/>
                    <a:pt x="88" y="200"/>
                    <a:pt x="88" y="200"/>
                  </a:cubicBezTo>
                  <a:cubicBezTo>
                    <a:pt x="88" y="207"/>
                    <a:pt x="88" y="207"/>
                    <a:pt x="88" y="207"/>
                  </a:cubicBezTo>
                  <a:cubicBezTo>
                    <a:pt x="81" y="207"/>
                    <a:pt x="81" y="207"/>
                    <a:pt x="81" y="207"/>
                  </a:cubicBezTo>
                  <a:moveTo>
                    <a:pt x="96" y="207"/>
                  </a:moveTo>
                  <a:cubicBezTo>
                    <a:pt x="96" y="200"/>
                    <a:pt x="96" y="200"/>
                    <a:pt x="96" y="200"/>
                  </a:cubicBezTo>
                  <a:cubicBezTo>
                    <a:pt x="103" y="200"/>
                    <a:pt x="103" y="200"/>
                    <a:pt x="103" y="200"/>
                  </a:cubicBezTo>
                  <a:cubicBezTo>
                    <a:pt x="103" y="207"/>
                    <a:pt x="103" y="207"/>
                    <a:pt x="103" y="207"/>
                  </a:cubicBezTo>
                  <a:cubicBezTo>
                    <a:pt x="96" y="207"/>
                    <a:pt x="96" y="207"/>
                    <a:pt x="96" y="207"/>
                  </a:cubicBezTo>
                  <a:moveTo>
                    <a:pt x="111" y="207"/>
                  </a:moveTo>
                  <a:cubicBezTo>
                    <a:pt x="111" y="200"/>
                    <a:pt x="111" y="200"/>
                    <a:pt x="111" y="200"/>
                  </a:cubicBezTo>
                  <a:cubicBezTo>
                    <a:pt x="118" y="200"/>
                    <a:pt x="118" y="200"/>
                    <a:pt x="118" y="200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11" y="207"/>
                    <a:pt x="111" y="207"/>
                    <a:pt x="111" y="207"/>
                  </a:cubicBezTo>
                  <a:moveTo>
                    <a:pt x="126" y="207"/>
                  </a:moveTo>
                  <a:cubicBezTo>
                    <a:pt x="126" y="200"/>
                    <a:pt x="126" y="200"/>
                    <a:pt x="126" y="200"/>
                  </a:cubicBezTo>
                  <a:cubicBezTo>
                    <a:pt x="133" y="200"/>
                    <a:pt x="133" y="200"/>
                    <a:pt x="133" y="200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26" y="207"/>
                    <a:pt x="126" y="207"/>
                    <a:pt x="126" y="207"/>
                  </a:cubicBezTo>
                  <a:moveTo>
                    <a:pt x="140" y="207"/>
                  </a:moveTo>
                  <a:cubicBezTo>
                    <a:pt x="140" y="200"/>
                    <a:pt x="140" y="200"/>
                    <a:pt x="140" y="200"/>
                  </a:cubicBezTo>
                  <a:cubicBezTo>
                    <a:pt x="147" y="200"/>
                    <a:pt x="147" y="200"/>
                    <a:pt x="147" y="200"/>
                  </a:cubicBezTo>
                  <a:cubicBezTo>
                    <a:pt x="147" y="207"/>
                    <a:pt x="147" y="207"/>
                    <a:pt x="147" y="207"/>
                  </a:cubicBezTo>
                  <a:cubicBezTo>
                    <a:pt x="140" y="207"/>
                    <a:pt x="140" y="207"/>
                    <a:pt x="140" y="207"/>
                  </a:cubicBezTo>
                  <a:moveTo>
                    <a:pt x="155" y="207"/>
                  </a:moveTo>
                  <a:cubicBezTo>
                    <a:pt x="155" y="200"/>
                    <a:pt x="155" y="200"/>
                    <a:pt x="155" y="200"/>
                  </a:cubicBezTo>
                  <a:cubicBezTo>
                    <a:pt x="162" y="200"/>
                    <a:pt x="162" y="200"/>
                    <a:pt x="162" y="200"/>
                  </a:cubicBezTo>
                  <a:cubicBezTo>
                    <a:pt x="162" y="207"/>
                    <a:pt x="162" y="207"/>
                    <a:pt x="162" y="207"/>
                  </a:cubicBezTo>
                  <a:cubicBezTo>
                    <a:pt x="155" y="207"/>
                    <a:pt x="155" y="207"/>
                    <a:pt x="155" y="207"/>
                  </a:cubicBezTo>
                  <a:moveTo>
                    <a:pt x="170" y="207"/>
                  </a:moveTo>
                  <a:cubicBezTo>
                    <a:pt x="170" y="200"/>
                    <a:pt x="170" y="200"/>
                    <a:pt x="170" y="200"/>
                  </a:cubicBezTo>
                  <a:cubicBezTo>
                    <a:pt x="177" y="200"/>
                    <a:pt x="177" y="200"/>
                    <a:pt x="177" y="200"/>
                  </a:cubicBezTo>
                  <a:cubicBezTo>
                    <a:pt x="177" y="207"/>
                    <a:pt x="177" y="207"/>
                    <a:pt x="177" y="207"/>
                  </a:cubicBezTo>
                  <a:cubicBezTo>
                    <a:pt x="170" y="207"/>
                    <a:pt x="170" y="207"/>
                    <a:pt x="170" y="207"/>
                  </a:cubicBezTo>
                  <a:moveTo>
                    <a:pt x="185" y="207"/>
                  </a:moveTo>
                  <a:cubicBezTo>
                    <a:pt x="185" y="200"/>
                    <a:pt x="185" y="200"/>
                    <a:pt x="185" y="200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2" y="207"/>
                    <a:pt x="192" y="207"/>
                    <a:pt x="192" y="207"/>
                  </a:cubicBezTo>
                  <a:cubicBezTo>
                    <a:pt x="185" y="207"/>
                    <a:pt x="185" y="207"/>
                    <a:pt x="185" y="207"/>
                  </a:cubicBezTo>
                  <a:moveTo>
                    <a:pt x="199" y="207"/>
                  </a:moveTo>
                  <a:cubicBezTo>
                    <a:pt x="199" y="200"/>
                    <a:pt x="199" y="200"/>
                    <a:pt x="199" y="200"/>
                  </a:cubicBezTo>
                  <a:cubicBezTo>
                    <a:pt x="206" y="200"/>
                    <a:pt x="206" y="200"/>
                    <a:pt x="206" y="200"/>
                  </a:cubicBezTo>
                  <a:cubicBezTo>
                    <a:pt x="206" y="207"/>
                    <a:pt x="206" y="207"/>
                    <a:pt x="206" y="207"/>
                  </a:cubicBezTo>
                  <a:cubicBezTo>
                    <a:pt x="199" y="207"/>
                    <a:pt x="199" y="207"/>
                    <a:pt x="199" y="207"/>
                  </a:cubicBezTo>
                  <a:moveTo>
                    <a:pt x="214" y="207"/>
                  </a:moveTo>
                  <a:cubicBezTo>
                    <a:pt x="214" y="200"/>
                    <a:pt x="214" y="200"/>
                    <a:pt x="214" y="200"/>
                  </a:cubicBezTo>
                  <a:cubicBezTo>
                    <a:pt x="221" y="200"/>
                    <a:pt x="221" y="200"/>
                    <a:pt x="221" y="200"/>
                  </a:cubicBezTo>
                  <a:cubicBezTo>
                    <a:pt x="221" y="207"/>
                    <a:pt x="221" y="207"/>
                    <a:pt x="221" y="207"/>
                  </a:cubicBezTo>
                  <a:cubicBezTo>
                    <a:pt x="214" y="207"/>
                    <a:pt x="214" y="207"/>
                    <a:pt x="214" y="207"/>
                  </a:cubicBezTo>
                  <a:moveTo>
                    <a:pt x="229" y="207"/>
                  </a:moveTo>
                  <a:cubicBezTo>
                    <a:pt x="229" y="200"/>
                    <a:pt x="229" y="200"/>
                    <a:pt x="229" y="200"/>
                  </a:cubicBezTo>
                  <a:cubicBezTo>
                    <a:pt x="236" y="200"/>
                    <a:pt x="236" y="200"/>
                    <a:pt x="236" y="200"/>
                  </a:cubicBezTo>
                  <a:cubicBezTo>
                    <a:pt x="236" y="207"/>
                    <a:pt x="236" y="207"/>
                    <a:pt x="236" y="207"/>
                  </a:cubicBezTo>
                  <a:cubicBezTo>
                    <a:pt x="229" y="207"/>
                    <a:pt x="229" y="207"/>
                    <a:pt x="229" y="207"/>
                  </a:cubicBezTo>
                  <a:moveTo>
                    <a:pt x="244" y="207"/>
                  </a:moveTo>
                  <a:cubicBezTo>
                    <a:pt x="244" y="200"/>
                    <a:pt x="244" y="200"/>
                    <a:pt x="244" y="200"/>
                  </a:cubicBezTo>
                  <a:cubicBezTo>
                    <a:pt x="251" y="200"/>
                    <a:pt x="251" y="200"/>
                    <a:pt x="251" y="200"/>
                  </a:cubicBezTo>
                  <a:cubicBezTo>
                    <a:pt x="251" y="207"/>
                    <a:pt x="251" y="207"/>
                    <a:pt x="251" y="207"/>
                  </a:cubicBezTo>
                  <a:cubicBezTo>
                    <a:pt x="244" y="207"/>
                    <a:pt x="244" y="207"/>
                    <a:pt x="244" y="207"/>
                  </a:cubicBezTo>
                  <a:moveTo>
                    <a:pt x="258" y="207"/>
                  </a:moveTo>
                  <a:cubicBezTo>
                    <a:pt x="258" y="200"/>
                    <a:pt x="258" y="200"/>
                    <a:pt x="258" y="200"/>
                  </a:cubicBezTo>
                  <a:cubicBezTo>
                    <a:pt x="265" y="200"/>
                    <a:pt x="265" y="200"/>
                    <a:pt x="265" y="200"/>
                  </a:cubicBezTo>
                  <a:cubicBezTo>
                    <a:pt x="265" y="207"/>
                    <a:pt x="265" y="207"/>
                    <a:pt x="265" y="207"/>
                  </a:cubicBezTo>
                  <a:cubicBezTo>
                    <a:pt x="258" y="207"/>
                    <a:pt x="258" y="207"/>
                    <a:pt x="258" y="207"/>
                  </a:cubicBezTo>
                  <a:moveTo>
                    <a:pt x="273" y="207"/>
                  </a:moveTo>
                  <a:cubicBezTo>
                    <a:pt x="273" y="200"/>
                    <a:pt x="273" y="200"/>
                    <a:pt x="273" y="200"/>
                  </a:cubicBezTo>
                  <a:cubicBezTo>
                    <a:pt x="280" y="200"/>
                    <a:pt x="280" y="200"/>
                    <a:pt x="280" y="200"/>
                  </a:cubicBezTo>
                  <a:cubicBezTo>
                    <a:pt x="280" y="207"/>
                    <a:pt x="280" y="207"/>
                    <a:pt x="280" y="207"/>
                  </a:cubicBezTo>
                  <a:cubicBezTo>
                    <a:pt x="273" y="207"/>
                    <a:pt x="273" y="207"/>
                    <a:pt x="273" y="207"/>
                  </a:cubicBezTo>
                  <a:moveTo>
                    <a:pt x="288" y="207"/>
                  </a:moveTo>
                  <a:cubicBezTo>
                    <a:pt x="288" y="200"/>
                    <a:pt x="288" y="200"/>
                    <a:pt x="288" y="200"/>
                  </a:cubicBezTo>
                  <a:cubicBezTo>
                    <a:pt x="295" y="200"/>
                    <a:pt x="295" y="200"/>
                    <a:pt x="295" y="200"/>
                  </a:cubicBezTo>
                  <a:cubicBezTo>
                    <a:pt x="295" y="207"/>
                    <a:pt x="295" y="207"/>
                    <a:pt x="295" y="207"/>
                  </a:cubicBezTo>
                  <a:cubicBezTo>
                    <a:pt x="288" y="207"/>
                    <a:pt x="288" y="207"/>
                    <a:pt x="288" y="207"/>
                  </a:cubicBezTo>
                  <a:moveTo>
                    <a:pt x="303" y="207"/>
                  </a:moveTo>
                  <a:cubicBezTo>
                    <a:pt x="303" y="200"/>
                    <a:pt x="303" y="200"/>
                    <a:pt x="303" y="200"/>
                  </a:cubicBezTo>
                  <a:cubicBezTo>
                    <a:pt x="310" y="200"/>
                    <a:pt x="310" y="200"/>
                    <a:pt x="310" y="200"/>
                  </a:cubicBezTo>
                  <a:cubicBezTo>
                    <a:pt x="310" y="207"/>
                    <a:pt x="310" y="207"/>
                    <a:pt x="310" y="207"/>
                  </a:cubicBezTo>
                  <a:cubicBezTo>
                    <a:pt x="303" y="207"/>
                    <a:pt x="303" y="207"/>
                    <a:pt x="303" y="207"/>
                  </a:cubicBezTo>
                  <a:moveTo>
                    <a:pt x="317" y="207"/>
                  </a:moveTo>
                  <a:cubicBezTo>
                    <a:pt x="317" y="200"/>
                    <a:pt x="317" y="200"/>
                    <a:pt x="317" y="200"/>
                  </a:cubicBezTo>
                  <a:cubicBezTo>
                    <a:pt x="324" y="200"/>
                    <a:pt x="324" y="200"/>
                    <a:pt x="324" y="200"/>
                  </a:cubicBezTo>
                  <a:cubicBezTo>
                    <a:pt x="324" y="207"/>
                    <a:pt x="324" y="207"/>
                    <a:pt x="324" y="207"/>
                  </a:cubicBezTo>
                  <a:cubicBezTo>
                    <a:pt x="317" y="207"/>
                    <a:pt x="317" y="207"/>
                    <a:pt x="317" y="207"/>
                  </a:cubicBezTo>
                  <a:moveTo>
                    <a:pt x="332" y="207"/>
                  </a:moveTo>
                  <a:cubicBezTo>
                    <a:pt x="332" y="200"/>
                    <a:pt x="332" y="200"/>
                    <a:pt x="332" y="200"/>
                  </a:cubicBezTo>
                  <a:cubicBezTo>
                    <a:pt x="339" y="200"/>
                    <a:pt x="339" y="200"/>
                    <a:pt x="339" y="200"/>
                  </a:cubicBezTo>
                  <a:cubicBezTo>
                    <a:pt x="339" y="207"/>
                    <a:pt x="339" y="207"/>
                    <a:pt x="339" y="207"/>
                  </a:cubicBezTo>
                  <a:cubicBezTo>
                    <a:pt x="332" y="207"/>
                    <a:pt x="332" y="207"/>
                    <a:pt x="332" y="207"/>
                  </a:cubicBezTo>
                  <a:moveTo>
                    <a:pt x="347" y="207"/>
                  </a:moveTo>
                  <a:cubicBezTo>
                    <a:pt x="347" y="200"/>
                    <a:pt x="347" y="200"/>
                    <a:pt x="347" y="200"/>
                  </a:cubicBezTo>
                  <a:cubicBezTo>
                    <a:pt x="354" y="200"/>
                    <a:pt x="354" y="200"/>
                    <a:pt x="354" y="200"/>
                  </a:cubicBezTo>
                  <a:cubicBezTo>
                    <a:pt x="354" y="207"/>
                    <a:pt x="354" y="207"/>
                    <a:pt x="354" y="207"/>
                  </a:cubicBezTo>
                  <a:cubicBezTo>
                    <a:pt x="347" y="207"/>
                    <a:pt x="347" y="207"/>
                    <a:pt x="347" y="207"/>
                  </a:cubicBezTo>
                  <a:moveTo>
                    <a:pt x="362" y="207"/>
                  </a:moveTo>
                  <a:cubicBezTo>
                    <a:pt x="362" y="200"/>
                    <a:pt x="362" y="200"/>
                    <a:pt x="362" y="200"/>
                  </a:cubicBezTo>
                  <a:cubicBezTo>
                    <a:pt x="369" y="200"/>
                    <a:pt x="369" y="200"/>
                    <a:pt x="369" y="200"/>
                  </a:cubicBezTo>
                  <a:cubicBezTo>
                    <a:pt x="369" y="207"/>
                    <a:pt x="369" y="207"/>
                    <a:pt x="369" y="207"/>
                  </a:cubicBezTo>
                  <a:cubicBezTo>
                    <a:pt x="362" y="207"/>
                    <a:pt x="362" y="207"/>
                    <a:pt x="362" y="207"/>
                  </a:cubicBezTo>
                  <a:moveTo>
                    <a:pt x="376" y="207"/>
                  </a:moveTo>
                  <a:cubicBezTo>
                    <a:pt x="376" y="200"/>
                    <a:pt x="376" y="200"/>
                    <a:pt x="376" y="200"/>
                  </a:cubicBezTo>
                  <a:cubicBezTo>
                    <a:pt x="383" y="200"/>
                    <a:pt x="383" y="200"/>
                    <a:pt x="383" y="200"/>
                  </a:cubicBezTo>
                  <a:cubicBezTo>
                    <a:pt x="383" y="207"/>
                    <a:pt x="383" y="207"/>
                    <a:pt x="383" y="207"/>
                  </a:cubicBezTo>
                  <a:cubicBezTo>
                    <a:pt x="376" y="207"/>
                    <a:pt x="376" y="207"/>
                    <a:pt x="376" y="207"/>
                  </a:cubicBezTo>
                  <a:moveTo>
                    <a:pt x="8" y="192"/>
                  </a:moveTo>
                  <a:cubicBezTo>
                    <a:pt x="8" y="185"/>
                    <a:pt x="8" y="185"/>
                    <a:pt x="8" y="185"/>
                  </a:cubicBezTo>
                  <a:cubicBezTo>
                    <a:pt x="15" y="185"/>
                    <a:pt x="15" y="185"/>
                    <a:pt x="15" y="185"/>
                  </a:cubicBezTo>
                  <a:cubicBezTo>
                    <a:pt x="15" y="192"/>
                    <a:pt x="15" y="192"/>
                    <a:pt x="15" y="192"/>
                  </a:cubicBezTo>
                  <a:cubicBezTo>
                    <a:pt x="8" y="192"/>
                    <a:pt x="8" y="192"/>
                    <a:pt x="8" y="192"/>
                  </a:cubicBezTo>
                  <a:moveTo>
                    <a:pt x="22" y="192"/>
                  </a:moveTo>
                  <a:cubicBezTo>
                    <a:pt x="22" y="185"/>
                    <a:pt x="22" y="185"/>
                    <a:pt x="22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22" y="192"/>
                    <a:pt x="22" y="192"/>
                    <a:pt x="22" y="192"/>
                  </a:cubicBezTo>
                  <a:moveTo>
                    <a:pt x="37" y="192"/>
                  </a:moveTo>
                  <a:cubicBezTo>
                    <a:pt x="37" y="185"/>
                    <a:pt x="37" y="185"/>
                    <a:pt x="37" y="185"/>
                  </a:cubicBezTo>
                  <a:cubicBezTo>
                    <a:pt x="44" y="185"/>
                    <a:pt x="44" y="185"/>
                    <a:pt x="44" y="185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37" y="192"/>
                    <a:pt x="37" y="192"/>
                    <a:pt x="37" y="192"/>
                  </a:cubicBezTo>
                  <a:moveTo>
                    <a:pt x="52" y="192"/>
                  </a:moveTo>
                  <a:cubicBezTo>
                    <a:pt x="52" y="185"/>
                    <a:pt x="52" y="185"/>
                    <a:pt x="52" y="185"/>
                  </a:cubicBezTo>
                  <a:cubicBezTo>
                    <a:pt x="59" y="185"/>
                    <a:pt x="59" y="185"/>
                    <a:pt x="59" y="185"/>
                  </a:cubicBezTo>
                  <a:cubicBezTo>
                    <a:pt x="59" y="192"/>
                    <a:pt x="59" y="192"/>
                    <a:pt x="59" y="192"/>
                  </a:cubicBezTo>
                  <a:cubicBezTo>
                    <a:pt x="52" y="192"/>
                    <a:pt x="52" y="192"/>
                    <a:pt x="52" y="192"/>
                  </a:cubicBezTo>
                  <a:moveTo>
                    <a:pt x="67" y="192"/>
                  </a:moveTo>
                  <a:cubicBezTo>
                    <a:pt x="67" y="185"/>
                    <a:pt x="67" y="185"/>
                    <a:pt x="67" y="185"/>
                  </a:cubicBezTo>
                  <a:cubicBezTo>
                    <a:pt x="74" y="185"/>
                    <a:pt x="74" y="185"/>
                    <a:pt x="74" y="185"/>
                  </a:cubicBezTo>
                  <a:cubicBezTo>
                    <a:pt x="74" y="192"/>
                    <a:pt x="74" y="192"/>
                    <a:pt x="74" y="192"/>
                  </a:cubicBezTo>
                  <a:cubicBezTo>
                    <a:pt x="67" y="192"/>
                    <a:pt x="67" y="192"/>
                    <a:pt x="67" y="192"/>
                  </a:cubicBezTo>
                  <a:moveTo>
                    <a:pt x="81" y="192"/>
                  </a:moveTo>
                  <a:cubicBezTo>
                    <a:pt x="81" y="185"/>
                    <a:pt x="81" y="185"/>
                    <a:pt x="81" y="185"/>
                  </a:cubicBezTo>
                  <a:cubicBezTo>
                    <a:pt x="88" y="185"/>
                    <a:pt x="88" y="185"/>
                    <a:pt x="88" y="185"/>
                  </a:cubicBezTo>
                  <a:cubicBezTo>
                    <a:pt x="88" y="192"/>
                    <a:pt x="88" y="192"/>
                    <a:pt x="88" y="192"/>
                  </a:cubicBezTo>
                  <a:cubicBezTo>
                    <a:pt x="81" y="192"/>
                    <a:pt x="81" y="192"/>
                    <a:pt x="81" y="192"/>
                  </a:cubicBezTo>
                  <a:moveTo>
                    <a:pt x="96" y="192"/>
                  </a:moveTo>
                  <a:cubicBezTo>
                    <a:pt x="96" y="185"/>
                    <a:pt x="96" y="185"/>
                    <a:pt x="96" y="185"/>
                  </a:cubicBezTo>
                  <a:cubicBezTo>
                    <a:pt x="103" y="185"/>
                    <a:pt x="103" y="185"/>
                    <a:pt x="103" y="185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6" y="192"/>
                    <a:pt x="96" y="192"/>
                    <a:pt x="96" y="192"/>
                  </a:cubicBezTo>
                  <a:moveTo>
                    <a:pt x="111" y="192"/>
                  </a:moveTo>
                  <a:cubicBezTo>
                    <a:pt x="111" y="185"/>
                    <a:pt x="111" y="185"/>
                    <a:pt x="111" y="185"/>
                  </a:cubicBezTo>
                  <a:cubicBezTo>
                    <a:pt x="118" y="185"/>
                    <a:pt x="118" y="185"/>
                    <a:pt x="118" y="185"/>
                  </a:cubicBezTo>
                  <a:cubicBezTo>
                    <a:pt x="118" y="192"/>
                    <a:pt x="118" y="192"/>
                    <a:pt x="118" y="192"/>
                  </a:cubicBezTo>
                  <a:cubicBezTo>
                    <a:pt x="111" y="192"/>
                    <a:pt x="111" y="192"/>
                    <a:pt x="111" y="192"/>
                  </a:cubicBezTo>
                  <a:moveTo>
                    <a:pt x="126" y="192"/>
                  </a:moveTo>
                  <a:cubicBezTo>
                    <a:pt x="126" y="185"/>
                    <a:pt x="126" y="185"/>
                    <a:pt x="126" y="185"/>
                  </a:cubicBezTo>
                  <a:cubicBezTo>
                    <a:pt x="133" y="185"/>
                    <a:pt x="133" y="185"/>
                    <a:pt x="133" y="185"/>
                  </a:cubicBezTo>
                  <a:cubicBezTo>
                    <a:pt x="133" y="192"/>
                    <a:pt x="133" y="192"/>
                    <a:pt x="133" y="192"/>
                  </a:cubicBezTo>
                  <a:cubicBezTo>
                    <a:pt x="126" y="192"/>
                    <a:pt x="126" y="192"/>
                    <a:pt x="126" y="192"/>
                  </a:cubicBezTo>
                  <a:moveTo>
                    <a:pt x="140" y="192"/>
                  </a:moveTo>
                  <a:cubicBezTo>
                    <a:pt x="140" y="185"/>
                    <a:pt x="140" y="185"/>
                    <a:pt x="140" y="185"/>
                  </a:cubicBezTo>
                  <a:cubicBezTo>
                    <a:pt x="147" y="185"/>
                    <a:pt x="147" y="185"/>
                    <a:pt x="147" y="185"/>
                  </a:cubicBezTo>
                  <a:cubicBezTo>
                    <a:pt x="147" y="192"/>
                    <a:pt x="147" y="192"/>
                    <a:pt x="147" y="192"/>
                  </a:cubicBezTo>
                  <a:cubicBezTo>
                    <a:pt x="140" y="192"/>
                    <a:pt x="140" y="192"/>
                    <a:pt x="140" y="192"/>
                  </a:cubicBezTo>
                  <a:moveTo>
                    <a:pt x="155" y="192"/>
                  </a:moveTo>
                  <a:cubicBezTo>
                    <a:pt x="155" y="185"/>
                    <a:pt x="155" y="185"/>
                    <a:pt x="155" y="185"/>
                  </a:cubicBezTo>
                  <a:cubicBezTo>
                    <a:pt x="162" y="185"/>
                    <a:pt x="162" y="185"/>
                    <a:pt x="162" y="185"/>
                  </a:cubicBezTo>
                  <a:cubicBezTo>
                    <a:pt x="162" y="192"/>
                    <a:pt x="162" y="192"/>
                    <a:pt x="162" y="192"/>
                  </a:cubicBezTo>
                  <a:cubicBezTo>
                    <a:pt x="155" y="192"/>
                    <a:pt x="155" y="192"/>
                    <a:pt x="155" y="192"/>
                  </a:cubicBezTo>
                  <a:moveTo>
                    <a:pt x="170" y="192"/>
                  </a:moveTo>
                  <a:cubicBezTo>
                    <a:pt x="170" y="185"/>
                    <a:pt x="170" y="185"/>
                    <a:pt x="170" y="185"/>
                  </a:cubicBezTo>
                  <a:cubicBezTo>
                    <a:pt x="177" y="185"/>
                    <a:pt x="177" y="185"/>
                    <a:pt x="177" y="185"/>
                  </a:cubicBezTo>
                  <a:cubicBezTo>
                    <a:pt x="177" y="192"/>
                    <a:pt x="177" y="192"/>
                    <a:pt x="177" y="192"/>
                  </a:cubicBezTo>
                  <a:cubicBezTo>
                    <a:pt x="170" y="192"/>
                    <a:pt x="170" y="192"/>
                    <a:pt x="170" y="192"/>
                  </a:cubicBezTo>
                  <a:moveTo>
                    <a:pt x="185" y="192"/>
                  </a:moveTo>
                  <a:cubicBezTo>
                    <a:pt x="185" y="185"/>
                    <a:pt x="185" y="185"/>
                    <a:pt x="185" y="185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85" y="192"/>
                    <a:pt x="185" y="192"/>
                    <a:pt x="185" y="192"/>
                  </a:cubicBezTo>
                  <a:moveTo>
                    <a:pt x="199" y="192"/>
                  </a:moveTo>
                  <a:cubicBezTo>
                    <a:pt x="199" y="185"/>
                    <a:pt x="199" y="185"/>
                    <a:pt x="199" y="185"/>
                  </a:cubicBezTo>
                  <a:cubicBezTo>
                    <a:pt x="206" y="185"/>
                    <a:pt x="206" y="185"/>
                    <a:pt x="206" y="185"/>
                  </a:cubicBezTo>
                  <a:cubicBezTo>
                    <a:pt x="206" y="192"/>
                    <a:pt x="206" y="192"/>
                    <a:pt x="206" y="192"/>
                  </a:cubicBezTo>
                  <a:cubicBezTo>
                    <a:pt x="199" y="192"/>
                    <a:pt x="199" y="192"/>
                    <a:pt x="199" y="192"/>
                  </a:cubicBezTo>
                  <a:moveTo>
                    <a:pt x="214" y="192"/>
                  </a:moveTo>
                  <a:cubicBezTo>
                    <a:pt x="214" y="185"/>
                    <a:pt x="214" y="185"/>
                    <a:pt x="214" y="185"/>
                  </a:cubicBezTo>
                  <a:cubicBezTo>
                    <a:pt x="221" y="185"/>
                    <a:pt x="221" y="185"/>
                    <a:pt x="221" y="185"/>
                  </a:cubicBezTo>
                  <a:cubicBezTo>
                    <a:pt x="221" y="192"/>
                    <a:pt x="221" y="192"/>
                    <a:pt x="221" y="192"/>
                  </a:cubicBezTo>
                  <a:cubicBezTo>
                    <a:pt x="214" y="192"/>
                    <a:pt x="214" y="192"/>
                    <a:pt x="214" y="192"/>
                  </a:cubicBezTo>
                  <a:moveTo>
                    <a:pt x="229" y="192"/>
                  </a:moveTo>
                  <a:cubicBezTo>
                    <a:pt x="229" y="185"/>
                    <a:pt x="229" y="185"/>
                    <a:pt x="229" y="185"/>
                  </a:cubicBezTo>
                  <a:cubicBezTo>
                    <a:pt x="236" y="185"/>
                    <a:pt x="236" y="185"/>
                    <a:pt x="236" y="185"/>
                  </a:cubicBezTo>
                  <a:cubicBezTo>
                    <a:pt x="236" y="192"/>
                    <a:pt x="236" y="192"/>
                    <a:pt x="236" y="192"/>
                  </a:cubicBezTo>
                  <a:cubicBezTo>
                    <a:pt x="229" y="192"/>
                    <a:pt x="229" y="192"/>
                    <a:pt x="229" y="192"/>
                  </a:cubicBezTo>
                  <a:moveTo>
                    <a:pt x="244" y="192"/>
                  </a:moveTo>
                  <a:cubicBezTo>
                    <a:pt x="244" y="185"/>
                    <a:pt x="244" y="185"/>
                    <a:pt x="244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92"/>
                    <a:pt x="251" y="192"/>
                    <a:pt x="251" y="192"/>
                  </a:cubicBezTo>
                  <a:cubicBezTo>
                    <a:pt x="244" y="192"/>
                    <a:pt x="244" y="192"/>
                    <a:pt x="244" y="192"/>
                  </a:cubicBezTo>
                  <a:moveTo>
                    <a:pt x="258" y="192"/>
                  </a:moveTo>
                  <a:cubicBezTo>
                    <a:pt x="258" y="185"/>
                    <a:pt x="258" y="185"/>
                    <a:pt x="258" y="185"/>
                  </a:cubicBezTo>
                  <a:cubicBezTo>
                    <a:pt x="265" y="185"/>
                    <a:pt x="265" y="185"/>
                    <a:pt x="265" y="185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58" y="192"/>
                    <a:pt x="258" y="192"/>
                    <a:pt x="258" y="192"/>
                  </a:cubicBezTo>
                  <a:moveTo>
                    <a:pt x="273" y="192"/>
                  </a:moveTo>
                  <a:cubicBezTo>
                    <a:pt x="273" y="185"/>
                    <a:pt x="273" y="185"/>
                    <a:pt x="273" y="185"/>
                  </a:cubicBezTo>
                  <a:cubicBezTo>
                    <a:pt x="280" y="185"/>
                    <a:pt x="280" y="185"/>
                    <a:pt x="280" y="185"/>
                  </a:cubicBezTo>
                  <a:cubicBezTo>
                    <a:pt x="280" y="192"/>
                    <a:pt x="280" y="192"/>
                    <a:pt x="280" y="192"/>
                  </a:cubicBezTo>
                  <a:cubicBezTo>
                    <a:pt x="273" y="192"/>
                    <a:pt x="273" y="192"/>
                    <a:pt x="273" y="192"/>
                  </a:cubicBezTo>
                  <a:moveTo>
                    <a:pt x="288" y="192"/>
                  </a:moveTo>
                  <a:cubicBezTo>
                    <a:pt x="288" y="185"/>
                    <a:pt x="288" y="185"/>
                    <a:pt x="288" y="185"/>
                  </a:cubicBezTo>
                  <a:cubicBezTo>
                    <a:pt x="295" y="185"/>
                    <a:pt x="295" y="185"/>
                    <a:pt x="295" y="185"/>
                  </a:cubicBezTo>
                  <a:cubicBezTo>
                    <a:pt x="295" y="192"/>
                    <a:pt x="295" y="192"/>
                    <a:pt x="295" y="192"/>
                  </a:cubicBezTo>
                  <a:cubicBezTo>
                    <a:pt x="288" y="192"/>
                    <a:pt x="288" y="192"/>
                    <a:pt x="288" y="192"/>
                  </a:cubicBezTo>
                  <a:moveTo>
                    <a:pt x="303" y="192"/>
                  </a:moveTo>
                  <a:cubicBezTo>
                    <a:pt x="303" y="185"/>
                    <a:pt x="303" y="185"/>
                    <a:pt x="303" y="185"/>
                  </a:cubicBezTo>
                  <a:cubicBezTo>
                    <a:pt x="310" y="185"/>
                    <a:pt x="310" y="185"/>
                    <a:pt x="310" y="185"/>
                  </a:cubicBezTo>
                  <a:cubicBezTo>
                    <a:pt x="310" y="192"/>
                    <a:pt x="310" y="192"/>
                    <a:pt x="310" y="192"/>
                  </a:cubicBezTo>
                  <a:cubicBezTo>
                    <a:pt x="303" y="192"/>
                    <a:pt x="303" y="192"/>
                    <a:pt x="303" y="192"/>
                  </a:cubicBezTo>
                  <a:moveTo>
                    <a:pt x="317" y="192"/>
                  </a:moveTo>
                  <a:cubicBezTo>
                    <a:pt x="317" y="185"/>
                    <a:pt x="317" y="185"/>
                    <a:pt x="317" y="185"/>
                  </a:cubicBezTo>
                  <a:cubicBezTo>
                    <a:pt x="324" y="185"/>
                    <a:pt x="324" y="185"/>
                    <a:pt x="324" y="185"/>
                  </a:cubicBezTo>
                  <a:cubicBezTo>
                    <a:pt x="324" y="192"/>
                    <a:pt x="324" y="192"/>
                    <a:pt x="324" y="192"/>
                  </a:cubicBezTo>
                  <a:cubicBezTo>
                    <a:pt x="317" y="192"/>
                    <a:pt x="317" y="192"/>
                    <a:pt x="317" y="192"/>
                  </a:cubicBezTo>
                  <a:moveTo>
                    <a:pt x="332" y="192"/>
                  </a:moveTo>
                  <a:cubicBezTo>
                    <a:pt x="332" y="185"/>
                    <a:pt x="332" y="185"/>
                    <a:pt x="332" y="185"/>
                  </a:cubicBezTo>
                  <a:cubicBezTo>
                    <a:pt x="339" y="185"/>
                    <a:pt x="339" y="185"/>
                    <a:pt x="339" y="185"/>
                  </a:cubicBezTo>
                  <a:cubicBezTo>
                    <a:pt x="339" y="192"/>
                    <a:pt x="339" y="192"/>
                    <a:pt x="339" y="192"/>
                  </a:cubicBezTo>
                  <a:cubicBezTo>
                    <a:pt x="332" y="192"/>
                    <a:pt x="332" y="192"/>
                    <a:pt x="332" y="192"/>
                  </a:cubicBezTo>
                  <a:moveTo>
                    <a:pt x="347" y="192"/>
                  </a:moveTo>
                  <a:cubicBezTo>
                    <a:pt x="347" y="185"/>
                    <a:pt x="347" y="185"/>
                    <a:pt x="347" y="185"/>
                  </a:cubicBezTo>
                  <a:cubicBezTo>
                    <a:pt x="354" y="185"/>
                    <a:pt x="354" y="185"/>
                    <a:pt x="354" y="185"/>
                  </a:cubicBezTo>
                  <a:cubicBezTo>
                    <a:pt x="354" y="192"/>
                    <a:pt x="354" y="192"/>
                    <a:pt x="354" y="192"/>
                  </a:cubicBezTo>
                  <a:cubicBezTo>
                    <a:pt x="347" y="192"/>
                    <a:pt x="347" y="192"/>
                    <a:pt x="347" y="192"/>
                  </a:cubicBezTo>
                  <a:moveTo>
                    <a:pt x="362" y="192"/>
                  </a:moveTo>
                  <a:cubicBezTo>
                    <a:pt x="362" y="185"/>
                    <a:pt x="362" y="185"/>
                    <a:pt x="362" y="185"/>
                  </a:cubicBezTo>
                  <a:cubicBezTo>
                    <a:pt x="369" y="185"/>
                    <a:pt x="369" y="185"/>
                    <a:pt x="369" y="185"/>
                  </a:cubicBezTo>
                  <a:cubicBezTo>
                    <a:pt x="369" y="192"/>
                    <a:pt x="369" y="192"/>
                    <a:pt x="369" y="192"/>
                  </a:cubicBezTo>
                  <a:cubicBezTo>
                    <a:pt x="362" y="192"/>
                    <a:pt x="362" y="192"/>
                    <a:pt x="362" y="192"/>
                  </a:cubicBezTo>
                  <a:moveTo>
                    <a:pt x="376" y="192"/>
                  </a:moveTo>
                  <a:cubicBezTo>
                    <a:pt x="376" y="185"/>
                    <a:pt x="376" y="185"/>
                    <a:pt x="376" y="185"/>
                  </a:cubicBezTo>
                  <a:cubicBezTo>
                    <a:pt x="383" y="185"/>
                    <a:pt x="383" y="185"/>
                    <a:pt x="383" y="185"/>
                  </a:cubicBezTo>
                  <a:cubicBezTo>
                    <a:pt x="383" y="192"/>
                    <a:pt x="383" y="192"/>
                    <a:pt x="383" y="192"/>
                  </a:cubicBezTo>
                  <a:cubicBezTo>
                    <a:pt x="376" y="192"/>
                    <a:pt x="376" y="192"/>
                    <a:pt x="376" y="192"/>
                  </a:cubicBezTo>
                  <a:moveTo>
                    <a:pt x="8" y="177"/>
                  </a:moveTo>
                  <a:cubicBezTo>
                    <a:pt x="8" y="170"/>
                    <a:pt x="8" y="170"/>
                    <a:pt x="8" y="170"/>
                  </a:cubicBezTo>
                  <a:cubicBezTo>
                    <a:pt x="15" y="170"/>
                    <a:pt x="15" y="170"/>
                    <a:pt x="15" y="170"/>
                  </a:cubicBezTo>
                  <a:cubicBezTo>
                    <a:pt x="15" y="177"/>
                    <a:pt x="15" y="177"/>
                    <a:pt x="15" y="177"/>
                  </a:cubicBezTo>
                  <a:cubicBezTo>
                    <a:pt x="8" y="177"/>
                    <a:pt x="8" y="177"/>
                    <a:pt x="8" y="177"/>
                  </a:cubicBezTo>
                  <a:moveTo>
                    <a:pt x="22" y="177"/>
                  </a:moveTo>
                  <a:cubicBezTo>
                    <a:pt x="22" y="170"/>
                    <a:pt x="22" y="170"/>
                    <a:pt x="22" y="170"/>
                  </a:cubicBezTo>
                  <a:cubicBezTo>
                    <a:pt x="29" y="170"/>
                    <a:pt x="29" y="170"/>
                    <a:pt x="29" y="170"/>
                  </a:cubicBezTo>
                  <a:cubicBezTo>
                    <a:pt x="29" y="177"/>
                    <a:pt x="29" y="177"/>
                    <a:pt x="29" y="177"/>
                  </a:cubicBezTo>
                  <a:cubicBezTo>
                    <a:pt x="22" y="177"/>
                    <a:pt x="22" y="177"/>
                    <a:pt x="22" y="177"/>
                  </a:cubicBezTo>
                  <a:moveTo>
                    <a:pt x="37" y="177"/>
                  </a:moveTo>
                  <a:cubicBezTo>
                    <a:pt x="37" y="170"/>
                    <a:pt x="37" y="170"/>
                    <a:pt x="37" y="170"/>
                  </a:cubicBezTo>
                  <a:cubicBezTo>
                    <a:pt x="44" y="170"/>
                    <a:pt x="44" y="170"/>
                    <a:pt x="44" y="170"/>
                  </a:cubicBezTo>
                  <a:cubicBezTo>
                    <a:pt x="44" y="177"/>
                    <a:pt x="44" y="177"/>
                    <a:pt x="44" y="177"/>
                  </a:cubicBezTo>
                  <a:cubicBezTo>
                    <a:pt x="37" y="177"/>
                    <a:pt x="37" y="177"/>
                    <a:pt x="37" y="177"/>
                  </a:cubicBezTo>
                  <a:moveTo>
                    <a:pt x="52" y="177"/>
                  </a:moveTo>
                  <a:cubicBezTo>
                    <a:pt x="52" y="170"/>
                    <a:pt x="52" y="170"/>
                    <a:pt x="52" y="170"/>
                  </a:cubicBezTo>
                  <a:cubicBezTo>
                    <a:pt x="59" y="170"/>
                    <a:pt x="59" y="170"/>
                    <a:pt x="59" y="170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2" y="177"/>
                    <a:pt x="52" y="177"/>
                    <a:pt x="52" y="177"/>
                  </a:cubicBezTo>
                  <a:moveTo>
                    <a:pt x="67" y="177"/>
                  </a:moveTo>
                  <a:cubicBezTo>
                    <a:pt x="67" y="170"/>
                    <a:pt x="67" y="170"/>
                    <a:pt x="67" y="170"/>
                  </a:cubicBezTo>
                  <a:cubicBezTo>
                    <a:pt x="74" y="170"/>
                    <a:pt x="74" y="170"/>
                    <a:pt x="74" y="170"/>
                  </a:cubicBezTo>
                  <a:cubicBezTo>
                    <a:pt x="74" y="177"/>
                    <a:pt x="74" y="177"/>
                    <a:pt x="74" y="177"/>
                  </a:cubicBezTo>
                  <a:cubicBezTo>
                    <a:pt x="67" y="177"/>
                    <a:pt x="67" y="177"/>
                    <a:pt x="67" y="177"/>
                  </a:cubicBezTo>
                  <a:moveTo>
                    <a:pt x="81" y="177"/>
                  </a:moveTo>
                  <a:cubicBezTo>
                    <a:pt x="81" y="170"/>
                    <a:pt x="81" y="170"/>
                    <a:pt x="81" y="170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1" y="177"/>
                    <a:pt x="81" y="177"/>
                    <a:pt x="81" y="177"/>
                  </a:cubicBezTo>
                  <a:moveTo>
                    <a:pt x="96" y="177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103" y="170"/>
                    <a:pt x="103" y="170"/>
                    <a:pt x="103" y="170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96" y="177"/>
                    <a:pt x="96" y="177"/>
                    <a:pt x="96" y="177"/>
                  </a:cubicBezTo>
                  <a:moveTo>
                    <a:pt x="111" y="177"/>
                  </a:moveTo>
                  <a:cubicBezTo>
                    <a:pt x="111" y="170"/>
                    <a:pt x="111" y="170"/>
                    <a:pt x="111" y="170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8" y="177"/>
                    <a:pt x="118" y="177"/>
                    <a:pt x="118" y="177"/>
                  </a:cubicBezTo>
                  <a:cubicBezTo>
                    <a:pt x="111" y="177"/>
                    <a:pt x="111" y="177"/>
                    <a:pt x="111" y="177"/>
                  </a:cubicBezTo>
                  <a:moveTo>
                    <a:pt x="126" y="177"/>
                  </a:moveTo>
                  <a:cubicBezTo>
                    <a:pt x="126" y="170"/>
                    <a:pt x="126" y="170"/>
                    <a:pt x="126" y="170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3" y="177"/>
                    <a:pt x="133" y="177"/>
                    <a:pt x="133" y="177"/>
                  </a:cubicBezTo>
                  <a:cubicBezTo>
                    <a:pt x="126" y="177"/>
                    <a:pt x="126" y="177"/>
                    <a:pt x="126" y="177"/>
                  </a:cubicBezTo>
                  <a:moveTo>
                    <a:pt x="140" y="177"/>
                  </a:moveTo>
                  <a:cubicBezTo>
                    <a:pt x="140" y="170"/>
                    <a:pt x="140" y="170"/>
                    <a:pt x="140" y="170"/>
                  </a:cubicBezTo>
                  <a:cubicBezTo>
                    <a:pt x="147" y="170"/>
                    <a:pt x="147" y="170"/>
                    <a:pt x="147" y="170"/>
                  </a:cubicBezTo>
                  <a:cubicBezTo>
                    <a:pt x="147" y="177"/>
                    <a:pt x="147" y="177"/>
                    <a:pt x="147" y="177"/>
                  </a:cubicBezTo>
                  <a:cubicBezTo>
                    <a:pt x="140" y="177"/>
                    <a:pt x="140" y="177"/>
                    <a:pt x="140" y="177"/>
                  </a:cubicBezTo>
                  <a:moveTo>
                    <a:pt x="155" y="177"/>
                  </a:moveTo>
                  <a:cubicBezTo>
                    <a:pt x="155" y="170"/>
                    <a:pt x="155" y="170"/>
                    <a:pt x="155" y="170"/>
                  </a:cubicBezTo>
                  <a:cubicBezTo>
                    <a:pt x="162" y="170"/>
                    <a:pt x="162" y="170"/>
                    <a:pt x="162" y="170"/>
                  </a:cubicBezTo>
                  <a:cubicBezTo>
                    <a:pt x="162" y="177"/>
                    <a:pt x="162" y="177"/>
                    <a:pt x="162" y="177"/>
                  </a:cubicBezTo>
                  <a:cubicBezTo>
                    <a:pt x="155" y="177"/>
                    <a:pt x="155" y="177"/>
                    <a:pt x="155" y="177"/>
                  </a:cubicBezTo>
                  <a:moveTo>
                    <a:pt x="170" y="177"/>
                  </a:moveTo>
                  <a:cubicBezTo>
                    <a:pt x="170" y="170"/>
                    <a:pt x="170" y="170"/>
                    <a:pt x="170" y="170"/>
                  </a:cubicBezTo>
                  <a:cubicBezTo>
                    <a:pt x="177" y="170"/>
                    <a:pt x="177" y="170"/>
                    <a:pt x="177" y="170"/>
                  </a:cubicBezTo>
                  <a:cubicBezTo>
                    <a:pt x="177" y="177"/>
                    <a:pt x="177" y="177"/>
                    <a:pt x="177" y="177"/>
                  </a:cubicBezTo>
                  <a:cubicBezTo>
                    <a:pt x="170" y="177"/>
                    <a:pt x="170" y="177"/>
                    <a:pt x="170" y="177"/>
                  </a:cubicBezTo>
                  <a:moveTo>
                    <a:pt x="185" y="177"/>
                  </a:moveTo>
                  <a:cubicBezTo>
                    <a:pt x="185" y="170"/>
                    <a:pt x="185" y="170"/>
                    <a:pt x="185" y="170"/>
                  </a:cubicBezTo>
                  <a:cubicBezTo>
                    <a:pt x="192" y="170"/>
                    <a:pt x="192" y="170"/>
                    <a:pt x="192" y="170"/>
                  </a:cubicBezTo>
                  <a:cubicBezTo>
                    <a:pt x="192" y="177"/>
                    <a:pt x="192" y="177"/>
                    <a:pt x="192" y="177"/>
                  </a:cubicBezTo>
                  <a:cubicBezTo>
                    <a:pt x="185" y="177"/>
                    <a:pt x="185" y="177"/>
                    <a:pt x="185" y="177"/>
                  </a:cubicBezTo>
                  <a:moveTo>
                    <a:pt x="199" y="177"/>
                  </a:moveTo>
                  <a:cubicBezTo>
                    <a:pt x="199" y="170"/>
                    <a:pt x="199" y="170"/>
                    <a:pt x="199" y="170"/>
                  </a:cubicBezTo>
                  <a:cubicBezTo>
                    <a:pt x="206" y="170"/>
                    <a:pt x="206" y="170"/>
                    <a:pt x="206" y="170"/>
                  </a:cubicBezTo>
                  <a:cubicBezTo>
                    <a:pt x="206" y="177"/>
                    <a:pt x="206" y="177"/>
                    <a:pt x="206" y="177"/>
                  </a:cubicBezTo>
                  <a:cubicBezTo>
                    <a:pt x="199" y="177"/>
                    <a:pt x="199" y="177"/>
                    <a:pt x="199" y="177"/>
                  </a:cubicBezTo>
                  <a:moveTo>
                    <a:pt x="214" y="177"/>
                  </a:moveTo>
                  <a:cubicBezTo>
                    <a:pt x="214" y="170"/>
                    <a:pt x="214" y="170"/>
                    <a:pt x="214" y="170"/>
                  </a:cubicBezTo>
                  <a:cubicBezTo>
                    <a:pt x="221" y="170"/>
                    <a:pt x="221" y="170"/>
                    <a:pt x="221" y="170"/>
                  </a:cubicBezTo>
                  <a:cubicBezTo>
                    <a:pt x="221" y="177"/>
                    <a:pt x="221" y="177"/>
                    <a:pt x="221" y="177"/>
                  </a:cubicBezTo>
                  <a:cubicBezTo>
                    <a:pt x="214" y="177"/>
                    <a:pt x="214" y="177"/>
                    <a:pt x="214" y="177"/>
                  </a:cubicBezTo>
                  <a:moveTo>
                    <a:pt x="229" y="177"/>
                  </a:moveTo>
                  <a:cubicBezTo>
                    <a:pt x="229" y="170"/>
                    <a:pt x="229" y="170"/>
                    <a:pt x="229" y="170"/>
                  </a:cubicBezTo>
                  <a:cubicBezTo>
                    <a:pt x="236" y="170"/>
                    <a:pt x="236" y="170"/>
                    <a:pt x="236" y="170"/>
                  </a:cubicBezTo>
                  <a:cubicBezTo>
                    <a:pt x="236" y="177"/>
                    <a:pt x="236" y="177"/>
                    <a:pt x="236" y="177"/>
                  </a:cubicBezTo>
                  <a:cubicBezTo>
                    <a:pt x="229" y="177"/>
                    <a:pt x="229" y="177"/>
                    <a:pt x="229" y="177"/>
                  </a:cubicBezTo>
                  <a:moveTo>
                    <a:pt x="244" y="177"/>
                  </a:moveTo>
                  <a:cubicBezTo>
                    <a:pt x="244" y="170"/>
                    <a:pt x="244" y="170"/>
                    <a:pt x="244" y="170"/>
                  </a:cubicBezTo>
                  <a:cubicBezTo>
                    <a:pt x="251" y="170"/>
                    <a:pt x="251" y="170"/>
                    <a:pt x="251" y="170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44" y="177"/>
                    <a:pt x="244" y="177"/>
                    <a:pt x="244" y="177"/>
                  </a:cubicBezTo>
                  <a:moveTo>
                    <a:pt x="258" y="177"/>
                  </a:moveTo>
                  <a:cubicBezTo>
                    <a:pt x="258" y="170"/>
                    <a:pt x="258" y="170"/>
                    <a:pt x="258" y="170"/>
                  </a:cubicBezTo>
                  <a:cubicBezTo>
                    <a:pt x="265" y="170"/>
                    <a:pt x="265" y="170"/>
                    <a:pt x="265" y="170"/>
                  </a:cubicBezTo>
                  <a:cubicBezTo>
                    <a:pt x="265" y="177"/>
                    <a:pt x="265" y="177"/>
                    <a:pt x="265" y="177"/>
                  </a:cubicBezTo>
                  <a:cubicBezTo>
                    <a:pt x="258" y="177"/>
                    <a:pt x="258" y="177"/>
                    <a:pt x="258" y="177"/>
                  </a:cubicBezTo>
                  <a:moveTo>
                    <a:pt x="273" y="177"/>
                  </a:moveTo>
                  <a:cubicBezTo>
                    <a:pt x="273" y="170"/>
                    <a:pt x="273" y="170"/>
                    <a:pt x="273" y="170"/>
                  </a:cubicBezTo>
                  <a:cubicBezTo>
                    <a:pt x="280" y="170"/>
                    <a:pt x="280" y="170"/>
                    <a:pt x="280" y="170"/>
                  </a:cubicBezTo>
                  <a:cubicBezTo>
                    <a:pt x="280" y="177"/>
                    <a:pt x="280" y="177"/>
                    <a:pt x="280" y="177"/>
                  </a:cubicBezTo>
                  <a:cubicBezTo>
                    <a:pt x="273" y="177"/>
                    <a:pt x="273" y="177"/>
                    <a:pt x="273" y="177"/>
                  </a:cubicBezTo>
                  <a:moveTo>
                    <a:pt x="288" y="177"/>
                  </a:moveTo>
                  <a:cubicBezTo>
                    <a:pt x="288" y="170"/>
                    <a:pt x="288" y="170"/>
                    <a:pt x="288" y="170"/>
                  </a:cubicBezTo>
                  <a:cubicBezTo>
                    <a:pt x="295" y="170"/>
                    <a:pt x="295" y="170"/>
                    <a:pt x="295" y="170"/>
                  </a:cubicBezTo>
                  <a:cubicBezTo>
                    <a:pt x="295" y="177"/>
                    <a:pt x="295" y="177"/>
                    <a:pt x="295" y="177"/>
                  </a:cubicBezTo>
                  <a:cubicBezTo>
                    <a:pt x="288" y="177"/>
                    <a:pt x="288" y="177"/>
                    <a:pt x="288" y="177"/>
                  </a:cubicBezTo>
                  <a:moveTo>
                    <a:pt x="303" y="177"/>
                  </a:moveTo>
                  <a:cubicBezTo>
                    <a:pt x="303" y="170"/>
                    <a:pt x="303" y="170"/>
                    <a:pt x="303" y="170"/>
                  </a:cubicBezTo>
                  <a:cubicBezTo>
                    <a:pt x="310" y="170"/>
                    <a:pt x="310" y="170"/>
                    <a:pt x="310" y="170"/>
                  </a:cubicBezTo>
                  <a:cubicBezTo>
                    <a:pt x="310" y="177"/>
                    <a:pt x="310" y="177"/>
                    <a:pt x="310" y="177"/>
                  </a:cubicBezTo>
                  <a:cubicBezTo>
                    <a:pt x="303" y="177"/>
                    <a:pt x="303" y="177"/>
                    <a:pt x="303" y="177"/>
                  </a:cubicBezTo>
                  <a:moveTo>
                    <a:pt x="317" y="177"/>
                  </a:moveTo>
                  <a:cubicBezTo>
                    <a:pt x="317" y="170"/>
                    <a:pt x="317" y="170"/>
                    <a:pt x="317" y="170"/>
                  </a:cubicBezTo>
                  <a:cubicBezTo>
                    <a:pt x="324" y="170"/>
                    <a:pt x="324" y="170"/>
                    <a:pt x="324" y="170"/>
                  </a:cubicBezTo>
                  <a:cubicBezTo>
                    <a:pt x="324" y="177"/>
                    <a:pt x="324" y="177"/>
                    <a:pt x="324" y="177"/>
                  </a:cubicBezTo>
                  <a:cubicBezTo>
                    <a:pt x="317" y="177"/>
                    <a:pt x="317" y="177"/>
                    <a:pt x="317" y="177"/>
                  </a:cubicBezTo>
                  <a:moveTo>
                    <a:pt x="332" y="177"/>
                  </a:moveTo>
                  <a:cubicBezTo>
                    <a:pt x="332" y="170"/>
                    <a:pt x="332" y="170"/>
                    <a:pt x="332" y="170"/>
                  </a:cubicBezTo>
                  <a:cubicBezTo>
                    <a:pt x="339" y="170"/>
                    <a:pt x="339" y="170"/>
                    <a:pt x="339" y="170"/>
                  </a:cubicBezTo>
                  <a:cubicBezTo>
                    <a:pt x="339" y="177"/>
                    <a:pt x="339" y="177"/>
                    <a:pt x="339" y="177"/>
                  </a:cubicBezTo>
                  <a:cubicBezTo>
                    <a:pt x="332" y="177"/>
                    <a:pt x="332" y="177"/>
                    <a:pt x="332" y="177"/>
                  </a:cubicBezTo>
                  <a:moveTo>
                    <a:pt x="347" y="177"/>
                  </a:moveTo>
                  <a:cubicBezTo>
                    <a:pt x="347" y="170"/>
                    <a:pt x="347" y="170"/>
                    <a:pt x="347" y="170"/>
                  </a:cubicBezTo>
                  <a:cubicBezTo>
                    <a:pt x="354" y="170"/>
                    <a:pt x="354" y="170"/>
                    <a:pt x="354" y="170"/>
                  </a:cubicBezTo>
                  <a:cubicBezTo>
                    <a:pt x="354" y="177"/>
                    <a:pt x="354" y="177"/>
                    <a:pt x="354" y="177"/>
                  </a:cubicBezTo>
                  <a:cubicBezTo>
                    <a:pt x="347" y="177"/>
                    <a:pt x="347" y="177"/>
                    <a:pt x="347" y="177"/>
                  </a:cubicBezTo>
                  <a:moveTo>
                    <a:pt x="362" y="177"/>
                  </a:moveTo>
                  <a:cubicBezTo>
                    <a:pt x="362" y="170"/>
                    <a:pt x="362" y="170"/>
                    <a:pt x="362" y="170"/>
                  </a:cubicBezTo>
                  <a:cubicBezTo>
                    <a:pt x="369" y="170"/>
                    <a:pt x="369" y="170"/>
                    <a:pt x="369" y="170"/>
                  </a:cubicBezTo>
                  <a:cubicBezTo>
                    <a:pt x="369" y="177"/>
                    <a:pt x="369" y="177"/>
                    <a:pt x="369" y="177"/>
                  </a:cubicBezTo>
                  <a:cubicBezTo>
                    <a:pt x="362" y="177"/>
                    <a:pt x="362" y="177"/>
                    <a:pt x="362" y="177"/>
                  </a:cubicBezTo>
                  <a:moveTo>
                    <a:pt x="376" y="177"/>
                  </a:moveTo>
                  <a:cubicBezTo>
                    <a:pt x="376" y="170"/>
                    <a:pt x="376" y="170"/>
                    <a:pt x="376" y="170"/>
                  </a:cubicBezTo>
                  <a:cubicBezTo>
                    <a:pt x="383" y="170"/>
                    <a:pt x="383" y="170"/>
                    <a:pt x="383" y="170"/>
                  </a:cubicBezTo>
                  <a:cubicBezTo>
                    <a:pt x="383" y="177"/>
                    <a:pt x="383" y="177"/>
                    <a:pt x="383" y="177"/>
                  </a:cubicBezTo>
                  <a:cubicBezTo>
                    <a:pt x="376" y="177"/>
                    <a:pt x="376" y="177"/>
                    <a:pt x="376" y="177"/>
                  </a:cubicBezTo>
                  <a:moveTo>
                    <a:pt x="8" y="163"/>
                  </a:moveTo>
                  <a:cubicBezTo>
                    <a:pt x="8" y="156"/>
                    <a:pt x="8" y="156"/>
                    <a:pt x="8" y="156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15" y="163"/>
                    <a:pt x="15" y="163"/>
                    <a:pt x="15" y="163"/>
                  </a:cubicBezTo>
                  <a:cubicBezTo>
                    <a:pt x="8" y="163"/>
                    <a:pt x="8" y="163"/>
                    <a:pt x="8" y="163"/>
                  </a:cubicBezTo>
                  <a:moveTo>
                    <a:pt x="22" y="163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9" y="156"/>
                    <a:pt x="29" y="156"/>
                    <a:pt x="29" y="156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2" y="163"/>
                    <a:pt x="22" y="163"/>
                    <a:pt x="22" y="163"/>
                  </a:cubicBezTo>
                  <a:moveTo>
                    <a:pt x="37" y="163"/>
                  </a:moveTo>
                  <a:cubicBezTo>
                    <a:pt x="37" y="156"/>
                    <a:pt x="37" y="156"/>
                    <a:pt x="37" y="156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44" y="163"/>
                    <a:pt x="44" y="163"/>
                    <a:pt x="44" y="163"/>
                  </a:cubicBezTo>
                  <a:cubicBezTo>
                    <a:pt x="37" y="163"/>
                    <a:pt x="37" y="163"/>
                    <a:pt x="37" y="163"/>
                  </a:cubicBezTo>
                  <a:moveTo>
                    <a:pt x="52" y="163"/>
                  </a:moveTo>
                  <a:cubicBezTo>
                    <a:pt x="52" y="156"/>
                    <a:pt x="52" y="156"/>
                    <a:pt x="52" y="156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2" y="163"/>
                    <a:pt x="52" y="163"/>
                    <a:pt x="52" y="163"/>
                  </a:cubicBezTo>
                  <a:moveTo>
                    <a:pt x="67" y="163"/>
                  </a:moveTo>
                  <a:cubicBezTo>
                    <a:pt x="67" y="156"/>
                    <a:pt x="67" y="156"/>
                    <a:pt x="67" y="156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4" y="163"/>
                    <a:pt x="74" y="163"/>
                    <a:pt x="74" y="163"/>
                  </a:cubicBezTo>
                  <a:cubicBezTo>
                    <a:pt x="67" y="163"/>
                    <a:pt x="67" y="163"/>
                    <a:pt x="67" y="163"/>
                  </a:cubicBezTo>
                  <a:moveTo>
                    <a:pt x="81" y="163"/>
                  </a:moveTo>
                  <a:cubicBezTo>
                    <a:pt x="81" y="156"/>
                    <a:pt x="81" y="156"/>
                    <a:pt x="81" y="156"/>
                  </a:cubicBezTo>
                  <a:cubicBezTo>
                    <a:pt x="88" y="156"/>
                    <a:pt x="88" y="156"/>
                    <a:pt x="88" y="156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81" y="163"/>
                    <a:pt x="81" y="163"/>
                    <a:pt x="81" y="163"/>
                  </a:cubicBezTo>
                  <a:moveTo>
                    <a:pt x="96" y="163"/>
                  </a:moveTo>
                  <a:cubicBezTo>
                    <a:pt x="96" y="156"/>
                    <a:pt x="96" y="156"/>
                    <a:pt x="96" y="156"/>
                  </a:cubicBezTo>
                  <a:cubicBezTo>
                    <a:pt x="103" y="156"/>
                    <a:pt x="103" y="156"/>
                    <a:pt x="103" y="156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96" y="163"/>
                    <a:pt x="96" y="163"/>
                    <a:pt x="96" y="163"/>
                  </a:cubicBezTo>
                  <a:moveTo>
                    <a:pt x="111" y="163"/>
                  </a:moveTo>
                  <a:cubicBezTo>
                    <a:pt x="111" y="156"/>
                    <a:pt x="111" y="156"/>
                    <a:pt x="111" y="156"/>
                  </a:cubicBezTo>
                  <a:cubicBezTo>
                    <a:pt x="118" y="156"/>
                    <a:pt x="118" y="156"/>
                    <a:pt x="118" y="156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1" y="163"/>
                    <a:pt x="111" y="163"/>
                    <a:pt x="111" y="163"/>
                  </a:cubicBezTo>
                  <a:moveTo>
                    <a:pt x="126" y="163"/>
                  </a:moveTo>
                  <a:cubicBezTo>
                    <a:pt x="126" y="156"/>
                    <a:pt x="126" y="156"/>
                    <a:pt x="126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26" y="163"/>
                    <a:pt x="126" y="163"/>
                    <a:pt x="126" y="163"/>
                  </a:cubicBezTo>
                  <a:moveTo>
                    <a:pt x="140" y="163"/>
                  </a:moveTo>
                  <a:cubicBezTo>
                    <a:pt x="140" y="156"/>
                    <a:pt x="140" y="156"/>
                    <a:pt x="140" y="156"/>
                  </a:cubicBezTo>
                  <a:cubicBezTo>
                    <a:pt x="147" y="156"/>
                    <a:pt x="147" y="156"/>
                    <a:pt x="147" y="156"/>
                  </a:cubicBezTo>
                  <a:cubicBezTo>
                    <a:pt x="147" y="163"/>
                    <a:pt x="147" y="163"/>
                    <a:pt x="147" y="163"/>
                  </a:cubicBezTo>
                  <a:cubicBezTo>
                    <a:pt x="140" y="163"/>
                    <a:pt x="140" y="163"/>
                    <a:pt x="140" y="163"/>
                  </a:cubicBezTo>
                  <a:moveTo>
                    <a:pt x="155" y="163"/>
                  </a:moveTo>
                  <a:cubicBezTo>
                    <a:pt x="155" y="156"/>
                    <a:pt x="155" y="156"/>
                    <a:pt x="155" y="156"/>
                  </a:cubicBezTo>
                  <a:cubicBezTo>
                    <a:pt x="162" y="156"/>
                    <a:pt x="162" y="156"/>
                    <a:pt x="162" y="156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55" y="163"/>
                    <a:pt x="155" y="163"/>
                    <a:pt x="155" y="163"/>
                  </a:cubicBezTo>
                  <a:moveTo>
                    <a:pt x="170" y="163"/>
                  </a:moveTo>
                  <a:cubicBezTo>
                    <a:pt x="170" y="156"/>
                    <a:pt x="170" y="156"/>
                    <a:pt x="170" y="156"/>
                  </a:cubicBezTo>
                  <a:cubicBezTo>
                    <a:pt x="177" y="156"/>
                    <a:pt x="177" y="156"/>
                    <a:pt x="177" y="156"/>
                  </a:cubicBezTo>
                  <a:cubicBezTo>
                    <a:pt x="177" y="163"/>
                    <a:pt x="177" y="163"/>
                    <a:pt x="177" y="163"/>
                  </a:cubicBezTo>
                  <a:cubicBezTo>
                    <a:pt x="170" y="163"/>
                    <a:pt x="170" y="163"/>
                    <a:pt x="170" y="163"/>
                  </a:cubicBezTo>
                  <a:moveTo>
                    <a:pt x="185" y="163"/>
                  </a:moveTo>
                  <a:cubicBezTo>
                    <a:pt x="185" y="156"/>
                    <a:pt x="185" y="156"/>
                    <a:pt x="185" y="156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92" y="163"/>
                    <a:pt x="192" y="163"/>
                    <a:pt x="192" y="163"/>
                  </a:cubicBezTo>
                  <a:cubicBezTo>
                    <a:pt x="185" y="163"/>
                    <a:pt x="185" y="163"/>
                    <a:pt x="185" y="163"/>
                  </a:cubicBezTo>
                  <a:moveTo>
                    <a:pt x="199" y="163"/>
                  </a:moveTo>
                  <a:cubicBezTo>
                    <a:pt x="199" y="156"/>
                    <a:pt x="199" y="156"/>
                    <a:pt x="199" y="156"/>
                  </a:cubicBezTo>
                  <a:cubicBezTo>
                    <a:pt x="206" y="156"/>
                    <a:pt x="206" y="156"/>
                    <a:pt x="206" y="156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99" y="163"/>
                    <a:pt x="199" y="163"/>
                    <a:pt x="199" y="163"/>
                  </a:cubicBezTo>
                  <a:moveTo>
                    <a:pt x="214" y="163"/>
                  </a:moveTo>
                  <a:cubicBezTo>
                    <a:pt x="214" y="156"/>
                    <a:pt x="214" y="156"/>
                    <a:pt x="214" y="156"/>
                  </a:cubicBezTo>
                  <a:cubicBezTo>
                    <a:pt x="221" y="156"/>
                    <a:pt x="221" y="156"/>
                    <a:pt x="221" y="156"/>
                  </a:cubicBezTo>
                  <a:cubicBezTo>
                    <a:pt x="221" y="163"/>
                    <a:pt x="221" y="163"/>
                    <a:pt x="221" y="163"/>
                  </a:cubicBezTo>
                  <a:cubicBezTo>
                    <a:pt x="214" y="163"/>
                    <a:pt x="214" y="163"/>
                    <a:pt x="214" y="163"/>
                  </a:cubicBezTo>
                  <a:moveTo>
                    <a:pt x="229" y="163"/>
                  </a:moveTo>
                  <a:cubicBezTo>
                    <a:pt x="229" y="156"/>
                    <a:pt x="229" y="156"/>
                    <a:pt x="229" y="156"/>
                  </a:cubicBezTo>
                  <a:cubicBezTo>
                    <a:pt x="236" y="156"/>
                    <a:pt x="236" y="156"/>
                    <a:pt x="236" y="156"/>
                  </a:cubicBezTo>
                  <a:cubicBezTo>
                    <a:pt x="236" y="163"/>
                    <a:pt x="236" y="163"/>
                    <a:pt x="236" y="163"/>
                  </a:cubicBezTo>
                  <a:cubicBezTo>
                    <a:pt x="229" y="163"/>
                    <a:pt x="229" y="163"/>
                    <a:pt x="229" y="163"/>
                  </a:cubicBezTo>
                  <a:moveTo>
                    <a:pt x="244" y="163"/>
                  </a:moveTo>
                  <a:cubicBezTo>
                    <a:pt x="244" y="156"/>
                    <a:pt x="244" y="156"/>
                    <a:pt x="244" y="156"/>
                  </a:cubicBezTo>
                  <a:cubicBezTo>
                    <a:pt x="251" y="156"/>
                    <a:pt x="251" y="156"/>
                    <a:pt x="251" y="156"/>
                  </a:cubicBezTo>
                  <a:cubicBezTo>
                    <a:pt x="251" y="163"/>
                    <a:pt x="251" y="163"/>
                    <a:pt x="251" y="163"/>
                  </a:cubicBezTo>
                  <a:cubicBezTo>
                    <a:pt x="244" y="163"/>
                    <a:pt x="244" y="163"/>
                    <a:pt x="244" y="163"/>
                  </a:cubicBezTo>
                  <a:moveTo>
                    <a:pt x="258" y="163"/>
                  </a:moveTo>
                  <a:cubicBezTo>
                    <a:pt x="258" y="156"/>
                    <a:pt x="258" y="156"/>
                    <a:pt x="258" y="156"/>
                  </a:cubicBezTo>
                  <a:cubicBezTo>
                    <a:pt x="265" y="156"/>
                    <a:pt x="265" y="156"/>
                    <a:pt x="265" y="156"/>
                  </a:cubicBezTo>
                  <a:cubicBezTo>
                    <a:pt x="265" y="163"/>
                    <a:pt x="265" y="163"/>
                    <a:pt x="265" y="163"/>
                  </a:cubicBezTo>
                  <a:cubicBezTo>
                    <a:pt x="258" y="163"/>
                    <a:pt x="258" y="163"/>
                    <a:pt x="258" y="163"/>
                  </a:cubicBezTo>
                  <a:moveTo>
                    <a:pt x="273" y="163"/>
                  </a:moveTo>
                  <a:cubicBezTo>
                    <a:pt x="273" y="156"/>
                    <a:pt x="273" y="156"/>
                    <a:pt x="273" y="156"/>
                  </a:cubicBezTo>
                  <a:cubicBezTo>
                    <a:pt x="280" y="156"/>
                    <a:pt x="280" y="156"/>
                    <a:pt x="280" y="156"/>
                  </a:cubicBezTo>
                  <a:cubicBezTo>
                    <a:pt x="280" y="163"/>
                    <a:pt x="280" y="163"/>
                    <a:pt x="280" y="163"/>
                  </a:cubicBezTo>
                  <a:cubicBezTo>
                    <a:pt x="273" y="163"/>
                    <a:pt x="273" y="163"/>
                    <a:pt x="273" y="163"/>
                  </a:cubicBezTo>
                  <a:moveTo>
                    <a:pt x="288" y="163"/>
                  </a:moveTo>
                  <a:cubicBezTo>
                    <a:pt x="288" y="156"/>
                    <a:pt x="288" y="156"/>
                    <a:pt x="288" y="156"/>
                  </a:cubicBezTo>
                  <a:cubicBezTo>
                    <a:pt x="295" y="156"/>
                    <a:pt x="295" y="156"/>
                    <a:pt x="295" y="156"/>
                  </a:cubicBezTo>
                  <a:cubicBezTo>
                    <a:pt x="295" y="163"/>
                    <a:pt x="295" y="163"/>
                    <a:pt x="295" y="163"/>
                  </a:cubicBezTo>
                  <a:cubicBezTo>
                    <a:pt x="288" y="163"/>
                    <a:pt x="288" y="163"/>
                    <a:pt x="288" y="163"/>
                  </a:cubicBezTo>
                  <a:moveTo>
                    <a:pt x="303" y="163"/>
                  </a:moveTo>
                  <a:cubicBezTo>
                    <a:pt x="303" y="156"/>
                    <a:pt x="303" y="156"/>
                    <a:pt x="303" y="156"/>
                  </a:cubicBezTo>
                  <a:cubicBezTo>
                    <a:pt x="310" y="156"/>
                    <a:pt x="310" y="156"/>
                    <a:pt x="310" y="156"/>
                  </a:cubicBezTo>
                  <a:cubicBezTo>
                    <a:pt x="310" y="163"/>
                    <a:pt x="310" y="163"/>
                    <a:pt x="310" y="163"/>
                  </a:cubicBezTo>
                  <a:cubicBezTo>
                    <a:pt x="303" y="163"/>
                    <a:pt x="303" y="163"/>
                    <a:pt x="303" y="163"/>
                  </a:cubicBezTo>
                  <a:moveTo>
                    <a:pt x="317" y="163"/>
                  </a:moveTo>
                  <a:cubicBezTo>
                    <a:pt x="317" y="156"/>
                    <a:pt x="317" y="156"/>
                    <a:pt x="317" y="156"/>
                  </a:cubicBezTo>
                  <a:cubicBezTo>
                    <a:pt x="324" y="156"/>
                    <a:pt x="324" y="156"/>
                    <a:pt x="324" y="156"/>
                  </a:cubicBezTo>
                  <a:cubicBezTo>
                    <a:pt x="324" y="163"/>
                    <a:pt x="324" y="163"/>
                    <a:pt x="324" y="163"/>
                  </a:cubicBezTo>
                  <a:cubicBezTo>
                    <a:pt x="317" y="163"/>
                    <a:pt x="317" y="163"/>
                    <a:pt x="317" y="163"/>
                  </a:cubicBezTo>
                  <a:moveTo>
                    <a:pt x="332" y="163"/>
                  </a:moveTo>
                  <a:cubicBezTo>
                    <a:pt x="332" y="156"/>
                    <a:pt x="332" y="156"/>
                    <a:pt x="332" y="156"/>
                  </a:cubicBezTo>
                  <a:cubicBezTo>
                    <a:pt x="339" y="156"/>
                    <a:pt x="339" y="156"/>
                    <a:pt x="339" y="156"/>
                  </a:cubicBezTo>
                  <a:cubicBezTo>
                    <a:pt x="339" y="163"/>
                    <a:pt x="339" y="163"/>
                    <a:pt x="339" y="163"/>
                  </a:cubicBezTo>
                  <a:cubicBezTo>
                    <a:pt x="332" y="163"/>
                    <a:pt x="332" y="163"/>
                    <a:pt x="332" y="163"/>
                  </a:cubicBezTo>
                  <a:moveTo>
                    <a:pt x="347" y="163"/>
                  </a:moveTo>
                  <a:cubicBezTo>
                    <a:pt x="347" y="156"/>
                    <a:pt x="347" y="156"/>
                    <a:pt x="347" y="156"/>
                  </a:cubicBezTo>
                  <a:cubicBezTo>
                    <a:pt x="354" y="156"/>
                    <a:pt x="354" y="156"/>
                    <a:pt x="354" y="156"/>
                  </a:cubicBezTo>
                  <a:cubicBezTo>
                    <a:pt x="354" y="163"/>
                    <a:pt x="354" y="163"/>
                    <a:pt x="354" y="163"/>
                  </a:cubicBezTo>
                  <a:cubicBezTo>
                    <a:pt x="347" y="163"/>
                    <a:pt x="347" y="163"/>
                    <a:pt x="347" y="163"/>
                  </a:cubicBezTo>
                  <a:moveTo>
                    <a:pt x="362" y="163"/>
                  </a:moveTo>
                  <a:cubicBezTo>
                    <a:pt x="362" y="156"/>
                    <a:pt x="362" y="156"/>
                    <a:pt x="362" y="156"/>
                  </a:cubicBezTo>
                  <a:cubicBezTo>
                    <a:pt x="369" y="156"/>
                    <a:pt x="369" y="156"/>
                    <a:pt x="369" y="156"/>
                  </a:cubicBezTo>
                  <a:cubicBezTo>
                    <a:pt x="369" y="163"/>
                    <a:pt x="369" y="163"/>
                    <a:pt x="369" y="163"/>
                  </a:cubicBezTo>
                  <a:cubicBezTo>
                    <a:pt x="362" y="163"/>
                    <a:pt x="362" y="163"/>
                    <a:pt x="362" y="163"/>
                  </a:cubicBezTo>
                  <a:moveTo>
                    <a:pt x="376" y="163"/>
                  </a:moveTo>
                  <a:cubicBezTo>
                    <a:pt x="376" y="156"/>
                    <a:pt x="376" y="156"/>
                    <a:pt x="376" y="156"/>
                  </a:cubicBezTo>
                  <a:cubicBezTo>
                    <a:pt x="383" y="156"/>
                    <a:pt x="383" y="156"/>
                    <a:pt x="383" y="156"/>
                  </a:cubicBezTo>
                  <a:cubicBezTo>
                    <a:pt x="383" y="163"/>
                    <a:pt x="383" y="163"/>
                    <a:pt x="383" y="163"/>
                  </a:cubicBezTo>
                  <a:cubicBezTo>
                    <a:pt x="376" y="163"/>
                    <a:pt x="376" y="163"/>
                    <a:pt x="376" y="163"/>
                  </a:cubicBezTo>
                  <a:moveTo>
                    <a:pt x="22" y="148"/>
                  </a:moveTo>
                  <a:cubicBezTo>
                    <a:pt x="22" y="141"/>
                    <a:pt x="22" y="141"/>
                    <a:pt x="22" y="141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22" y="148"/>
                    <a:pt x="22" y="148"/>
                    <a:pt x="22" y="148"/>
                  </a:cubicBezTo>
                  <a:moveTo>
                    <a:pt x="37" y="148"/>
                  </a:moveTo>
                  <a:cubicBezTo>
                    <a:pt x="37" y="141"/>
                    <a:pt x="37" y="141"/>
                    <a:pt x="37" y="141"/>
                  </a:cubicBezTo>
                  <a:cubicBezTo>
                    <a:pt x="44" y="141"/>
                    <a:pt x="44" y="141"/>
                    <a:pt x="44" y="141"/>
                  </a:cubicBezTo>
                  <a:cubicBezTo>
                    <a:pt x="44" y="148"/>
                    <a:pt x="44" y="148"/>
                    <a:pt x="44" y="148"/>
                  </a:cubicBezTo>
                  <a:cubicBezTo>
                    <a:pt x="37" y="148"/>
                    <a:pt x="37" y="148"/>
                    <a:pt x="37" y="148"/>
                  </a:cubicBezTo>
                  <a:moveTo>
                    <a:pt x="52" y="148"/>
                  </a:moveTo>
                  <a:cubicBezTo>
                    <a:pt x="52" y="141"/>
                    <a:pt x="52" y="141"/>
                    <a:pt x="52" y="141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2" y="148"/>
                    <a:pt x="52" y="148"/>
                    <a:pt x="52" y="148"/>
                  </a:cubicBezTo>
                  <a:moveTo>
                    <a:pt x="67" y="148"/>
                  </a:moveTo>
                  <a:cubicBezTo>
                    <a:pt x="67" y="141"/>
                    <a:pt x="67" y="141"/>
                    <a:pt x="67" y="141"/>
                  </a:cubicBezTo>
                  <a:cubicBezTo>
                    <a:pt x="74" y="141"/>
                    <a:pt x="74" y="141"/>
                    <a:pt x="74" y="141"/>
                  </a:cubicBezTo>
                  <a:cubicBezTo>
                    <a:pt x="74" y="148"/>
                    <a:pt x="74" y="148"/>
                    <a:pt x="74" y="148"/>
                  </a:cubicBezTo>
                  <a:cubicBezTo>
                    <a:pt x="67" y="148"/>
                    <a:pt x="67" y="148"/>
                    <a:pt x="67" y="148"/>
                  </a:cubicBezTo>
                  <a:moveTo>
                    <a:pt x="81" y="148"/>
                  </a:moveTo>
                  <a:cubicBezTo>
                    <a:pt x="81" y="141"/>
                    <a:pt x="81" y="141"/>
                    <a:pt x="81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8"/>
                    <a:pt x="88" y="148"/>
                    <a:pt x="88" y="148"/>
                  </a:cubicBezTo>
                  <a:cubicBezTo>
                    <a:pt x="81" y="148"/>
                    <a:pt x="81" y="148"/>
                    <a:pt x="81" y="148"/>
                  </a:cubicBezTo>
                  <a:moveTo>
                    <a:pt x="96" y="148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103" y="141"/>
                    <a:pt x="103" y="141"/>
                    <a:pt x="103" y="141"/>
                  </a:cubicBezTo>
                  <a:cubicBezTo>
                    <a:pt x="103" y="148"/>
                    <a:pt x="103" y="148"/>
                    <a:pt x="103" y="148"/>
                  </a:cubicBezTo>
                  <a:cubicBezTo>
                    <a:pt x="96" y="148"/>
                    <a:pt x="96" y="148"/>
                    <a:pt x="96" y="148"/>
                  </a:cubicBezTo>
                  <a:moveTo>
                    <a:pt x="111" y="148"/>
                  </a:moveTo>
                  <a:cubicBezTo>
                    <a:pt x="111" y="141"/>
                    <a:pt x="111" y="141"/>
                    <a:pt x="111" y="141"/>
                  </a:cubicBezTo>
                  <a:cubicBezTo>
                    <a:pt x="118" y="141"/>
                    <a:pt x="118" y="141"/>
                    <a:pt x="118" y="141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1" y="148"/>
                    <a:pt x="111" y="148"/>
                    <a:pt x="111" y="148"/>
                  </a:cubicBezTo>
                  <a:moveTo>
                    <a:pt x="126" y="148"/>
                  </a:moveTo>
                  <a:cubicBezTo>
                    <a:pt x="126" y="141"/>
                    <a:pt x="126" y="141"/>
                    <a:pt x="126" y="141"/>
                  </a:cubicBezTo>
                  <a:cubicBezTo>
                    <a:pt x="133" y="141"/>
                    <a:pt x="133" y="141"/>
                    <a:pt x="133" y="141"/>
                  </a:cubicBezTo>
                  <a:cubicBezTo>
                    <a:pt x="133" y="148"/>
                    <a:pt x="133" y="148"/>
                    <a:pt x="133" y="148"/>
                  </a:cubicBezTo>
                  <a:cubicBezTo>
                    <a:pt x="126" y="148"/>
                    <a:pt x="126" y="148"/>
                    <a:pt x="126" y="148"/>
                  </a:cubicBezTo>
                  <a:moveTo>
                    <a:pt x="140" y="148"/>
                  </a:moveTo>
                  <a:cubicBezTo>
                    <a:pt x="140" y="141"/>
                    <a:pt x="140" y="141"/>
                    <a:pt x="140" y="141"/>
                  </a:cubicBezTo>
                  <a:cubicBezTo>
                    <a:pt x="147" y="141"/>
                    <a:pt x="147" y="141"/>
                    <a:pt x="147" y="141"/>
                  </a:cubicBezTo>
                  <a:cubicBezTo>
                    <a:pt x="147" y="148"/>
                    <a:pt x="147" y="148"/>
                    <a:pt x="147" y="148"/>
                  </a:cubicBezTo>
                  <a:cubicBezTo>
                    <a:pt x="140" y="148"/>
                    <a:pt x="140" y="148"/>
                    <a:pt x="140" y="148"/>
                  </a:cubicBezTo>
                  <a:moveTo>
                    <a:pt x="155" y="148"/>
                  </a:moveTo>
                  <a:cubicBezTo>
                    <a:pt x="155" y="141"/>
                    <a:pt x="155" y="141"/>
                    <a:pt x="155" y="141"/>
                  </a:cubicBezTo>
                  <a:cubicBezTo>
                    <a:pt x="162" y="141"/>
                    <a:pt x="162" y="141"/>
                    <a:pt x="162" y="141"/>
                  </a:cubicBezTo>
                  <a:cubicBezTo>
                    <a:pt x="162" y="148"/>
                    <a:pt x="162" y="148"/>
                    <a:pt x="162" y="148"/>
                  </a:cubicBezTo>
                  <a:cubicBezTo>
                    <a:pt x="155" y="148"/>
                    <a:pt x="155" y="148"/>
                    <a:pt x="155" y="148"/>
                  </a:cubicBezTo>
                  <a:moveTo>
                    <a:pt x="170" y="148"/>
                  </a:moveTo>
                  <a:cubicBezTo>
                    <a:pt x="170" y="141"/>
                    <a:pt x="170" y="141"/>
                    <a:pt x="170" y="141"/>
                  </a:cubicBezTo>
                  <a:cubicBezTo>
                    <a:pt x="177" y="141"/>
                    <a:pt x="177" y="141"/>
                    <a:pt x="177" y="141"/>
                  </a:cubicBezTo>
                  <a:cubicBezTo>
                    <a:pt x="177" y="148"/>
                    <a:pt x="177" y="148"/>
                    <a:pt x="177" y="148"/>
                  </a:cubicBezTo>
                  <a:cubicBezTo>
                    <a:pt x="170" y="148"/>
                    <a:pt x="170" y="148"/>
                    <a:pt x="170" y="148"/>
                  </a:cubicBezTo>
                  <a:moveTo>
                    <a:pt x="185" y="148"/>
                  </a:moveTo>
                  <a:cubicBezTo>
                    <a:pt x="185" y="141"/>
                    <a:pt x="185" y="141"/>
                    <a:pt x="185" y="141"/>
                  </a:cubicBezTo>
                  <a:cubicBezTo>
                    <a:pt x="192" y="141"/>
                    <a:pt x="192" y="141"/>
                    <a:pt x="192" y="141"/>
                  </a:cubicBezTo>
                  <a:cubicBezTo>
                    <a:pt x="192" y="148"/>
                    <a:pt x="192" y="148"/>
                    <a:pt x="192" y="148"/>
                  </a:cubicBezTo>
                  <a:cubicBezTo>
                    <a:pt x="185" y="148"/>
                    <a:pt x="185" y="148"/>
                    <a:pt x="185" y="148"/>
                  </a:cubicBezTo>
                  <a:moveTo>
                    <a:pt x="199" y="148"/>
                  </a:moveTo>
                  <a:cubicBezTo>
                    <a:pt x="199" y="141"/>
                    <a:pt x="199" y="141"/>
                    <a:pt x="199" y="141"/>
                  </a:cubicBezTo>
                  <a:cubicBezTo>
                    <a:pt x="206" y="141"/>
                    <a:pt x="206" y="141"/>
                    <a:pt x="206" y="141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199" y="148"/>
                    <a:pt x="199" y="148"/>
                    <a:pt x="199" y="148"/>
                  </a:cubicBezTo>
                  <a:moveTo>
                    <a:pt x="214" y="148"/>
                  </a:moveTo>
                  <a:cubicBezTo>
                    <a:pt x="214" y="141"/>
                    <a:pt x="214" y="141"/>
                    <a:pt x="214" y="141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14" y="148"/>
                    <a:pt x="214" y="148"/>
                    <a:pt x="214" y="148"/>
                  </a:cubicBezTo>
                  <a:moveTo>
                    <a:pt x="229" y="148"/>
                  </a:moveTo>
                  <a:cubicBezTo>
                    <a:pt x="229" y="141"/>
                    <a:pt x="229" y="141"/>
                    <a:pt x="229" y="141"/>
                  </a:cubicBezTo>
                  <a:cubicBezTo>
                    <a:pt x="236" y="141"/>
                    <a:pt x="236" y="141"/>
                    <a:pt x="236" y="141"/>
                  </a:cubicBezTo>
                  <a:cubicBezTo>
                    <a:pt x="236" y="148"/>
                    <a:pt x="236" y="148"/>
                    <a:pt x="236" y="148"/>
                  </a:cubicBezTo>
                  <a:cubicBezTo>
                    <a:pt x="229" y="148"/>
                    <a:pt x="229" y="148"/>
                    <a:pt x="229" y="148"/>
                  </a:cubicBezTo>
                  <a:moveTo>
                    <a:pt x="244" y="148"/>
                  </a:moveTo>
                  <a:cubicBezTo>
                    <a:pt x="244" y="141"/>
                    <a:pt x="244" y="141"/>
                    <a:pt x="244" y="141"/>
                  </a:cubicBezTo>
                  <a:cubicBezTo>
                    <a:pt x="251" y="141"/>
                    <a:pt x="251" y="141"/>
                    <a:pt x="251" y="141"/>
                  </a:cubicBezTo>
                  <a:cubicBezTo>
                    <a:pt x="251" y="148"/>
                    <a:pt x="251" y="148"/>
                    <a:pt x="251" y="148"/>
                  </a:cubicBezTo>
                  <a:cubicBezTo>
                    <a:pt x="244" y="148"/>
                    <a:pt x="244" y="148"/>
                    <a:pt x="244" y="148"/>
                  </a:cubicBezTo>
                  <a:moveTo>
                    <a:pt x="258" y="148"/>
                  </a:moveTo>
                  <a:cubicBezTo>
                    <a:pt x="258" y="141"/>
                    <a:pt x="258" y="141"/>
                    <a:pt x="258" y="141"/>
                  </a:cubicBezTo>
                  <a:cubicBezTo>
                    <a:pt x="265" y="141"/>
                    <a:pt x="265" y="141"/>
                    <a:pt x="265" y="141"/>
                  </a:cubicBezTo>
                  <a:cubicBezTo>
                    <a:pt x="265" y="148"/>
                    <a:pt x="265" y="148"/>
                    <a:pt x="265" y="148"/>
                  </a:cubicBezTo>
                  <a:cubicBezTo>
                    <a:pt x="258" y="148"/>
                    <a:pt x="258" y="148"/>
                    <a:pt x="258" y="148"/>
                  </a:cubicBezTo>
                  <a:moveTo>
                    <a:pt x="273" y="148"/>
                  </a:moveTo>
                  <a:cubicBezTo>
                    <a:pt x="273" y="141"/>
                    <a:pt x="273" y="141"/>
                    <a:pt x="273" y="141"/>
                  </a:cubicBezTo>
                  <a:cubicBezTo>
                    <a:pt x="280" y="141"/>
                    <a:pt x="280" y="141"/>
                    <a:pt x="280" y="141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73" y="148"/>
                    <a:pt x="273" y="148"/>
                    <a:pt x="273" y="148"/>
                  </a:cubicBezTo>
                  <a:moveTo>
                    <a:pt x="288" y="148"/>
                  </a:moveTo>
                  <a:cubicBezTo>
                    <a:pt x="288" y="141"/>
                    <a:pt x="288" y="141"/>
                    <a:pt x="288" y="141"/>
                  </a:cubicBezTo>
                  <a:cubicBezTo>
                    <a:pt x="295" y="141"/>
                    <a:pt x="295" y="141"/>
                    <a:pt x="295" y="141"/>
                  </a:cubicBezTo>
                  <a:cubicBezTo>
                    <a:pt x="295" y="148"/>
                    <a:pt x="295" y="148"/>
                    <a:pt x="295" y="148"/>
                  </a:cubicBezTo>
                  <a:cubicBezTo>
                    <a:pt x="288" y="148"/>
                    <a:pt x="288" y="148"/>
                    <a:pt x="288" y="148"/>
                  </a:cubicBezTo>
                  <a:moveTo>
                    <a:pt x="303" y="148"/>
                  </a:moveTo>
                  <a:cubicBezTo>
                    <a:pt x="303" y="141"/>
                    <a:pt x="303" y="141"/>
                    <a:pt x="303" y="141"/>
                  </a:cubicBezTo>
                  <a:cubicBezTo>
                    <a:pt x="310" y="141"/>
                    <a:pt x="310" y="141"/>
                    <a:pt x="310" y="141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3" y="148"/>
                    <a:pt x="303" y="148"/>
                    <a:pt x="303" y="148"/>
                  </a:cubicBezTo>
                  <a:moveTo>
                    <a:pt x="317" y="148"/>
                  </a:moveTo>
                  <a:cubicBezTo>
                    <a:pt x="317" y="141"/>
                    <a:pt x="317" y="141"/>
                    <a:pt x="317" y="141"/>
                  </a:cubicBezTo>
                  <a:cubicBezTo>
                    <a:pt x="324" y="141"/>
                    <a:pt x="324" y="141"/>
                    <a:pt x="324" y="141"/>
                  </a:cubicBezTo>
                  <a:cubicBezTo>
                    <a:pt x="324" y="148"/>
                    <a:pt x="324" y="148"/>
                    <a:pt x="324" y="148"/>
                  </a:cubicBezTo>
                  <a:cubicBezTo>
                    <a:pt x="317" y="148"/>
                    <a:pt x="317" y="148"/>
                    <a:pt x="317" y="148"/>
                  </a:cubicBezTo>
                  <a:moveTo>
                    <a:pt x="332" y="148"/>
                  </a:moveTo>
                  <a:cubicBezTo>
                    <a:pt x="332" y="141"/>
                    <a:pt x="332" y="141"/>
                    <a:pt x="332" y="141"/>
                  </a:cubicBezTo>
                  <a:cubicBezTo>
                    <a:pt x="339" y="141"/>
                    <a:pt x="339" y="141"/>
                    <a:pt x="339" y="141"/>
                  </a:cubicBezTo>
                  <a:cubicBezTo>
                    <a:pt x="339" y="148"/>
                    <a:pt x="339" y="148"/>
                    <a:pt x="339" y="148"/>
                  </a:cubicBezTo>
                  <a:cubicBezTo>
                    <a:pt x="332" y="148"/>
                    <a:pt x="332" y="148"/>
                    <a:pt x="332" y="148"/>
                  </a:cubicBezTo>
                  <a:moveTo>
                    <a:pt x="347" y="148"/>
                  </a:moveTo>
                  <a:cubicBezTo>
                    <a:pt x="347" y="141"/>
                    <a:pt x="347" y="141"/>
                    <a:pt x="347" y="141"/>
                  </a:cubicBezTo>
                  <a:cubicBezTo>
                    <a:pt x="354" y="141"/>
                    <a:pt x="354" y="141"/>
                    <a:pt x="354" y="141"/>
                  </a:cubicBezTo>
                  <a:cubicBezTo>
                    <a:pt x="354" y="148"/>
                    <a:pt x="354" y="148"/>
                    <a:pt x="354" y="148"/>
                  </a:cubicBezTo>
                  <a:cubicBezTo>
                    <a:pt x="347" y="148"/>
                    <a:pt x="347" y="148"/>
                    <a:pt x="347" y="148"/>
                  </a:cubicBezTo>
                  <a:moveTo>
                    <a:pt x="362" y="148"/>
                  </a:moveTo>
                  <a:cubicBezTo>
                    <a:pt x="362" y="141"/>
                    <a:pt x="362" y="141"/>
                    <a:pt x="362" y="141"/>
                  </a:cubicBezTo>
                  <a:cubicBezTo>
                    <a:pt x="369" y="141"/>
                    <a:pt x="369" y="141"/>
                    <a:pt x="369" y="141"/>
                  </a:cubicBezTo>
                  <a:cubicBezTo>
                    <a:pt x="369" y="148"/>
                    <a:pt x="369" y="148"/>
                    <a:pt x="369" y="148"/>
                  </a:cubicBezTo>
                  <a:cubicBezTo>
                    <a:pt x="362" y="148"/>
                    <a:pt x="362" y="148"/>
                    <a:pt x="362" y="148"/>
                  </a:cubicBezTo>
                  <a:moveTo>
                    <a:pt x="22" y="133"/>
                  </a:moveTo>
                  <a:cubicBezTo>
                    <a:pt x="22" y="126"/>
                    <a:pt x="22" y="126"/>
                    <a:pt x="22" y="126"/>
                  </a:cubicBezTo>
                  <a:cubicBezTo>
                    <a:pt x="29" y="126"/>
                    <a:pt x="29" y="126"/>
                    <a:pt x="29" y="126"/>
                  </a:cubicBezTo>
                  <a:cubicBezTo>
                    <a:pt x="29" y="133"/>
                    <a:pt x="29" y="133"/>
                    <a:pt x="29" y="133"/>
                  </a:cubicBezTo>
                  <a:cubicBezTo>
                    <a:pt x="22" y="133"/>
                    <a:pt x="22" y="133"/>
                    <a:pt x="22" y="133"/>
                  </a:cubicBezTo>
                  <a:moveTo>
                    <a:pt x="37" y="133"/>
                  </a:moveTo>
                  <a:cubicBezTo>
                    <a:pt x="37" y="126"/>
                    <a:pt x="37" y="126"/>
                    <a:pt x="37" y="126"/>
                  </a:cubicBezTo>
                  <a:cubicBezTo>
                    <a:pt x="44" y="126"/>
                    <a:pt x="44" y="126"/>
                    <a:pt x="44" y="12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37" y="133"/>
                    <a:pt x="37" y="133"/>
                    <a:pt x="37" y="133"/>
                  </a:cubicBezTo>
                  <a:moveTo>
                    <a:pt x="52" y="133"/>
                  </a:moveTo>
                  <a:cubicBezTo>
                    <a:pt x="52" y="126"/>
                    <a:pt x="52" y="126"/>
                    <a:pt x="5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59" y="133"/>
                    <a:pt x="59" y="133"/>
                    <a:pt x="59" y="133"/>
                  </a:cubicBezTo>
                  <a:cubicBezTo>
                    <a:pt x="52" y="133"/>
                    <a:pt x="52" y="133"/>
                    <a:pt x="52" y="133"/>
                  </a:cubicBezTo>
                  <a:moveTo>
                    <a:pt x="67" y="133"/>
                  </a:moveTo>
                  <a:cubicBezTo>
                    <a:pt x="67" y="126"/>
                    <a:pt x="67" y="126"/>
                    <a:pt x="67" y="126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67" y="133"/>
                    <a:pt x="67" y="133"/>
                    <a:pt x="67" y="133"/>
                  </a:cubicBezTo>
                  <a:moveTo>
                    <a:pt x="81" y="133"/>
                  </a:moveTo>
                  <a:cubicBezTo>
                    <a:pt x="81" y="126"/>
                    <a:pt x="81" y="126"/>
                    <a:pt x="81" y="126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33"/>
                    <a:pt x="88" y="133"/>
                    <a:pt x="88" y="133"/>
                  </a:cubicBezTo>
                  <a:cubicBezTo>
                    <a:pt x="81" y="133"/>
                    <a:pt x="81" y="133"/>
                    <a:pt x="81" y="133"/>
                  </a:cubicBezTo>
                  <a:moveTo>
                    <a:pt x="96" y="133"/>
                  </a:moveTo>
                  <a:cubicBezTo>
                    <a:pt x="96" y="126"/>
                    <a:pt x="96" y="126"/>
                    <a:pt x="96" y="126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33"/>
                    <a:pt x="103" y="133"/>
                    <a:pt x="103" y="133"/>
                  </a:cubicBezTo>
                  <a:cubicBezTo>
                    <a:pt x="96" y="133"/>
                    <a:pt x="96" y="133"/>
                    <a:pt x="96" y="133"/>
                  </a:cubicBezTo>
                  <a:moveTo>
                    <a:pt x="111" y="133"/>
                  </a:moveTo>
                  <a:cubicBezTo>
                    <a:pt x="111" y="126"/>
                    <a:pt x="111" y="126"/>
                    <a:pt x="111" y="126"/>
                  </a:cubicBezTo>
                  <a:cubicBezTo>
                    <a:pt x="118" y="126"/>
                    <a:pt x="118" y="126"/>
                    <a:pt x="118" y="126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11" y="133"/>
                    <a:pt x="111" y="133"/>
                    <a:pt x="111" y="133"/>
                  </a:cubicBezTo>
                  <a:moveTo>
                    <a:pt x="126" y="133"/>
                  </a:moveTo>
                  <a:cubicBezTo>
                    <a:pt x="126" y="126"/>
                    <a:pt x="126" y="126"/>
                    <a:pt x="126" y="126"/>
                  </a:cubicBezTo>
                  <a:cubicBezTo>
                    <a:pt x="133" y="126"/>
                    <a:pt x="133" y="126"/>
                    <a:pt x="133" y="126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26" y="133"/>
                    <a:pt x="126" y="133"/>
                    <a:pt x="126" y="133"/>
                  </a:cubicBezTo>
                  <a:moveTo>
                    <a:pt x="140" y="133"/>
                  </a:moveTo>
                  <a:cubicBezTo>
                    <a:pt x="140" y="126"/>
                    <a:pt x="140" y="126"/>
                    <a:pt x="140" y="126"/>
                  </a:cubicBezTo>
                  <a:cubicBezTo>
                    <a:pt x="147" y="126"/>
                    <a:pt x="147" y="126"/>
                    <a:pt x="147" y="126"/>
                  </a:cubicBezTo>
                  <a:cubicBezTo>
                    <a:pt x="147" y="133"/>
                    <a:pt x="147" y="133"/>
                    <a:pt x="147" y="133"/>
                  </a:cubicBezTo>
                  <a:cubicBezTo>
                    <a:pt x="140" y="133"/>
                    <a:pt x="140" y="133"/>
                    <a:pt x="140" y="133"/>
                  </a:cubicBezTo>
                  <a:moveTo>
                    <a:pt x="155" y="133"/>
                  </a:moveTo>
                  <a:cubicBezTo>
                    <a:pt x="155" y="126"/>
                    <a:pt x="155" y="126"/>
                    <a:pt x="155" y="126"/>
                  </a:cubicBezTo>
                  <a:cubicBezTo>
                    <a:pt x="162" y="126"/>
                    <a:pt x="162" y="126"/>
                    <a:pt x="162" y="126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55" y="133"/>
                    <a:pt x="155" y="133"/>
                    <a:pt x="155" y="133"/>
                  </a:cubicBezTo>
                  <a:moveTo>
                    <a:pt x="170" y="133"/>
                  </a:moveTo>
                  <a:cubicBezTo>
                    <a:pt x="170" y="126"/>
                    <a:pt x="170" y="126"/>
                    <a:pt x="170" y="126"/>
                  </a:cubicBezTo>
                  <a:cubicBezTo>
                    <a:pt x="177" y="126"/>
                    <a:pt x="177" y="126"/>
                    <a:pt x="177" y="126"/>
                  </a:cubicBezTo>
                  <a:cubicBezTo>
                    <a:pt x="177" y="133"/>
                    <a:pt x="177" y="133"/>
                    <a:pt x="177" y="133"/>
                  </a:cubicBezTo>
                  <a:cubicBezTo>
                    <a:pt x="170" y="133"/>
                    <a:pt x="170" y="133"/>
                    <a:pt x="170" y="133"/>
                  </a:cubicBezTo>
                  <a:moveTo>
                    <a:pt x="185" y="133"/>
                  </a:moveTo>
                  <a:cubicBezTo>
                    <a:pt x="185" y="126"/>
                    <a:pt x="185" y="126"/>
                    <a:pt x="185" y="126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85" y="133"/>
                    <a:pt x="185" y="133"/>
                    <a:pt x="185" y="133"/>
                  </a:cubicBezTo>
                  <a:moveTo>
                    <a:pt x="199" y="133"/>
                  </a:moveTo>
                  <a:cubicBezTo>
                    <a:pt x="199" y="126"/>
                    <a:pt x="199" y="126"/>
                    <a:pt x="199" y="126"/>
                  </a:cubicBezTo>
                  <a:cubicBezTo>
                    <a:pt x="206" y="126"/>
                    <a:pt x="206" y="126"/>
                    <a:pt x="206" y="126"/>
                  </a:cubicBezTo>
                  <a:cubicBezTo>
                    <a:pt x="206" y="133"/>
                    <a:pt x="206" y="133"/>
                    <a:pt x="206" y="133"/>
                  </a:cubicBezTo>
                  <a:cubicBezTo>
                    <a:pt x="199" y="133"/>
                    <a:pt x="199" y="133"/>
                    <a:pt x="199" y="133"/>
                  </a:cubicBezTo>
                  <a:moveTo>
                    <a:pt x="214" y="133"/>
                  </a:moveTo>
                  <a:cubicBezTo>
                    <a:pt x="214" y="126"/>
                    <a:pt x="214" y="126"/>
                    <a:pt x="214" y="126"/>
                  </a:cubicBezTo>
                  <a:cubicBezTo>
                    <a:pt x="221" y="126"/>
                    <a:pt x="221" y="126"/>
                    <a:pt x="221" y="126"/>
                  </a:cubicBezTo>
                  <a:cubicBezTo>
                    <a:pt x="221" y="133"/>
                    <a:pt x="221" y="133"/>
                    <a:pt x="221" y="133"/>
                  </a:cubicBezTo>
                  <a:cubicBezTo>
                    <a:pt x="214" y="133"/>
                    <a:pt x="214" y="133"/>
                    <a:pt x="214" y="133"/>
                  </a:cubicBezTo>
                  <a:moveTo>
                    <a:pt x="229" y="133"/>
                  </a:moveTo>
                  <a:cubicBezTo>
                    <a:pt x="229" y="126"/>
                    <a:pt x="229" y="126"/>
                    <a:pt x="229" y="126"/>
                  </a:cubicBezTo>
                  <a:cubicBezTo>
                    <a:pt x="236" y="126"/>
                    <a:pt x="236" y="126"/>
                    <a:pt x="236" y="126"/>
                  </a:cubicBezTo>
                  <a:cubicBezTo>
                    <a:pt x="236" y="133"/>
                    <a:pt x="236" y="133"/>
                    <a:pt x="236" y="133"/>
                  </a:cubicBezTo>
                  <a:cubicBezTo>
                    <a:pt x="229" y="133"/>
                    <a:pt x="229" y="133"/>
                    <a:pt x="229" y="133"/>
                  </a:cubicBezTo>
                  <a:moveTo>
                    <a:pt x="244" y="133"/>
                  </a:moveTo>
                  <a:cubicBezTo>
                    <a:pt x="244" y="126"/>
                    <a:pt x="244" y="126"/>
                    <a:pt x="244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1" y="133"/>
                    <a:pt x="251" y="133"/>
                    <a:pt x="251" y="133"/>
                  </a:cubicBezTo>
                  <a:cubicBezTo>
                    <a:pt x="244" y="133"/>
                    <a:pt x="244" y="133"/>
                    <a:pt x="244" y="133"/>
                  </a:cubicBezTo>
                  <a:moveTo>
                    <a:pt x="258" y="133"/>
                  </a:moveTo>
                  <a:cubicBezTo>
                    <a:pt x="258" y="126"/>
                    <a:pt x="258" y="126"/>
                    <a:pt x="258" y="126"/>
                  </a:cubicBezTo>
                  <a:cubicBezTo>
                    <a:pt x="265" y="126"/>
                    <a:pt x="265" y="126"/>
                    <a:pt x="265" y="126"/>
                  </a:cubicBezTo>
                  <a:cubicBezTo>
                    <a:pt x="265" y="133"/>
                    <a:pt x="265" y="133"/>
                    <a:pt x="265" y="133"/>
                  </a:cubicBezTo>
                  <a:cubicBezTo>
                    <a:pt x="258" y="133"/>
                    <a:pt x="258" y="133"/>
                    <a:pt x="258" y="133"/>
                  </a:cubicBezTo>
                  <a:moveTo>
                    <a:pt x="273" y="133"/>
                  </a:moveTo>
                  <a:cubicBezTo>
                    <a:pt x="273" y="126"/>
                    <a:pt x="273" y="126"/>
                    <a:pt x="273" y="126"/>
                  </a:cubicBezTo>
                  <a:cubicBezTo>
                    <a:pt x="280" y="126"/>
                    <a:pt x="280" y="126"/>
                    <a:pt x="280" y="126"/>
                  </a:cubicBezTo>
                  <a:cubicBezTo>
                    <a:pt x="280" y="133"/>
                    <a:pt x="280" y="133"/>
                    <a:pt x="280" y="133"/>
                  </a:cubicBezTo>
                  <a:cubicBezTo>
                    <a:pt x="273" y="133"/>
                    <a:pt x="273" y="133"/>
                    <a:pt x="273" y="133"/>
                  </a:cubicBezTo>
                  <a:moveTo>
                    <a:pt x="288" y="133"/>
                  </a:moveTo>
                  <a:cubicBezTo>
                    <a:pt x="288" y="126"/>
                    <a:pt x="288" y="126"/>
                    <a:pt x="288" y="126"/>
                  </a:cubicBezTo>
                  <a:cubicBezTo>
                    <a:pt x="295" y="126"/>
                    <a:pt x="295" y="126"/>
                    <a:pt x="295" y="126"/>
                  </a:cubicBezTo>
                  <a:cubicBezTo>
                    <a:pt x="295" y="133"/>
                    <a:pt x="295" y="133"/>
                    <a:pt x="295" y="133"/>
                  </a:cubicBezTo>
                  <a:cubicBezTo>
                    <a:pt x="288" y="133"/>
                    <a:pt x="288" y="133"/>
                    <a:pt x="288" y="133"/>
                  </a:cubicBezTo>
                  <a:moveTo>
                    <a:pt x="303" y="133"/>
                  </a:moveTo>
                  <a:cubicBezTo>
                    <a:pt x="303" y="126"/>
                    <a:pt x="303" y="126"/>
                    <a:pt x="303" y="126"/>
                  </a:cubicBezTo>
                  <a:cubicBezTo>
                    <a:pt x="310" y="126"/>
                    <a:pt x="310" y="126"/>
                    <a:pt x="310" y="126"/>
                  </a:cubicBezTo>
                  <a:cubicBezTo>
                    <a:pt x="310" y="133"/>
                    <a:pt x="310" y="133"/>
                    <a:pt x="310" y="133"/>
                  </a:cubicBezTo>
                  <a:cubicBezTo>
                    <a:pt x="303" y="133"/>
                    <a:pt x="303" y="133"/>
                    <a:pt x="303" y="133"/>
                  </a:cubicBezTo>
                  <a:moveTo>
                    <a:pt x="317" y="133"/>
                  </a:moveTo>
                  <a:cubicBezTo>
                    <a:pt x="317" y="126"/>
                    <a:pt x="317" y="126"/>
                    <a:pt x="317" y="126"/>
                  </a:cubicBezTo>
                  <a:cubicBezTo>
                    <a:pt x="324" y="126"/>
                    <a:pt x="324" y="126"/>
                    <a:pt x="324" y="126"/>
                  </a:cubicBezTo>
                  <a:cubicBezTo>
                    <a:pt x="324" y="133"/>
                    <a:pt x="324" y="133"/>
                    <a:pt x="324" y="133"/>
                  </a:cubicBezTo>
                  <a:cubicBezTo>
                    <a:pt x="317" y="133"/>
                    <a:pt x="317" y="133"/>
                    <a:pt x="317" y="133"/>
                  </a:cubicBezTo>
                  <a:moveTo>
                    <a:pt x="332" y="133"/>
                  </a:moveTo>
                  <a:cubicBezTo>
                    <a:pt x="332" y="126"/>
                    <a:pt x="332" y="126"/>
                    <a:pt x="332" y="126"/>
                  </a:cubicBezTo>
                  <a:cubicBezTo>
                    <a:pt x="339" y="126"/>
                    <a:pt x="339" y="126"/>
                    <a:pt x="339" y="126"/>
                  </a:cubicBezTo>
                  <a:cubicBezTo>
                    <a:pt x="339" y="133"/>
                    <a:pt x="339" y="133"/>
                    <a:pt x="339" y="133"/>
                  </a:cubicBezTo>
                  <a:cubicBezTo>
                    <a:pt x="332" y="133"/>
                    <a:pt x="332" y="133"/>
                    <a:pt x="332" y="133"/>
                  </a:cubicBezTo>
                  <a:moveTo>
                    <a:pt x="347" y="133"/>
                  </a:moveTo>
                  <a:cubicBezTo>
                    <a:pt x="347" y="126"/>
                    <a:pt x="347" y="126"/>
                    <a:pt x="347" y="126"/>
                  </a:cubicBezTo>
                  <a:cubicBezTo>
                    <a:pt x="354" y="126"/>
                    <a:pt x="354" y="126"/>
                    <a:pt x="354" y="126"/>
                  </a:cubicBezTo>
                  <a:cubicBezTo>
                    <a:pt x="354" y="133"/>
                    <a:pt x="354" y="133"/>
                    <a:pt x="354" y="133"/>
                  </a:cubicBezTo>
                  <a:cubicBezTo>
                    <a:pt x="347" y="133"/>
                    <a:pt x="347" y="133"/>
                    <a:pt x="347" y="133"/>
                  </a:cubicBezTo>
                  <a:moveTo>
                    <a:pt x="362" y="133"/>
                  </a:moveTo>
                  <a:cubicBezTo>
                    <a:pt x="362" y="126"/>
                    <a:pt x="362" y="126"/>
                    <a:pt x="362" y="126"/>
                  </a:cubicBezTo>
                  <a:cubicBezTo>
                    <a:pt x="369" y="126"/>
                    <a:pt x="369" y="126"/>
                    <a:pt x="369" y="126"/>
                  </a:cubicBezTo>
                  <a:cubicBezTo>
                    <a:pt x="369" y="133"/>
                    <a:pt x="369" y="133"/>
                    <a:pt x="369" y="133"/>
                  </a:cubicBezTo>
                  <a:cubicBezTo>
                    <a:pt x="362" y="133"/>
                    <a:pt x="362" y="133"/>
                    <a:pt x="362" y="133"/>
                  </a:cubicBezTo>
                  <a:moveTo>
                    <a:pt x="22" y="118"/>
                  </a:moveTo>
                  <a:cubicBezTo>
                    <a:pt x="22" y="111"/>
                    <a:pt x="22" y="111"/>
                    <a:pt x="22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22" y="118"/>
                    <a:pt x="22" y="118"/>
                    <a:pt x="22" y="118"/>
                  </a:cubicBezTo>
                  <a:moveTo>
                    <a:pt x="37" y="118"/>
                  </a:moveTo>
                  <a:cubicBezTo>
                    <a:pt x="37" y="111"/>
                    <a:pt x="37" y="111"/>
                    <a:pt x="37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8"/>
                    <a:pt x="44" y="118"/>
                    <a:pt x="44" y="118"/>
                  </a:cubicBezTo>
                  <a:cubicBezTo>
                    <a:pt x="37" y="118"/>
                    <a:pt x="37" y="118"/>
                    <a:pt x="37" y="118"/>
                  </a:cubicBezTo>
                  <a:moveTo>
                    <a:pt x="52" y="118"/>
                  </a:moveTo>
                  <a:cubicBezTo>
                    <a:pt x="52" y="111"/>
                    <a:pt x="52" y="111"/>
                    <a:pt x="52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2" y="118"/>
                    <a:pt x="52" y="118"/>
                    <a:pt x="52" y="118"/>
                  </a:cubicBezTo>
                  <a:moveTo>
                    <a:pt x="67" y="118"/>
                  </a:moveTo>
                  <a:cubicBezTo>
                    <a:pt x="67" y="111"/>
                    <a:pt x="67" y="111"/>
                    <a:pt x="67" y="111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67" y="118"/>
                    <a:pt x="67" y="118"/>
                    <a:pt x="67" y="118"/>
                  </a:cubicBezTo>
                  <a:moveTo>
                    <a:pt x="81" y="118"/>
                  </a:moveTo>
                  <a:cubicBezTo>
                    <a:pt x="81" y="111"/>
                    <a:pt x="81" y="111"/>
                    <a:pt x="81" y="111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8" y="118"/>
                    <a:pt x="88" y="118"/>
                    <a:pt x="88" y="118"/>
                  </a:cubicBezTo>
                  <a:cubicBezTo>
                    <a:pt x="81" y="118"/>
                    <a:pt x="81" y="118"/>
                    <a:pt x="81" y="118"/>
                  </a:cubicBezTo>
                  <a:moveTo>
                    <a:pt x="96" y="118"/>
                  </a:moveTo>
                  <a:cubicBezTo>
                    <a:pt x="96" y="111"/>
                    <a:pt x="96" y="111"/>
                    <a:pt x="96" y="111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96" y="118"/>
                    <a:pt x="96" y="118"/>
                    <a:pt x="96" y="118"/>
                  </a:cubicBezTo>
                  <a:moveTo>
                    <a:pt x="111" y="118"/>
                  </a:moveTo>
                  <a:cubicBezTo>
                    <a:pt x="111" y="111"/>
                    <a:pt x="111" y="111"/>
                    <a:pt x="111" y="111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111" y="118"/>
                    <a:pt x="111" y="118"/>
                    <a:pt x="111" y="118"/>
                  </a:cubicBezTo>
                  <a:moveTo>
                    <a:pt x="126" y="118"/>
                  </a:moveTo>
                  <a:cubicBezTo>
                    <a:pt x="126" y="111"/>
                    <a:pt x="126" y="111"/>
                    <a:pt x="126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26" y="118"/>
                    <a:pt x="126" y="118"/>
                    <a:pt x="126" y="118"/>
                  </a:cubicBezTo>
                  <a:moveTo>
                    <a:pt x="140" y="118"/>
                  </a:moveTo>
                  <a:cubicBezTo>
                    <a:pt x="140" y="111"/>
                    <a:pt x="140" y="111"/>
                    <a:pt x="140" y="111"/>
                  </a:cubicBezTo>
                  <a:cubicBezTo>
                    <a:pt x="147" y="111"/>
                    <a:pt x="147" y="111"/>
                    <a:pt x="147" y="111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0" y="118"/>
                    <a:pt x="140" y="118"/>
                    <a:pt x="140" y="118"/>
                  </a:cubicBezTo>
                  <a:moveTo>
                    <a:pt x="155" y="118"/>
                  </a:moveTo>
                  <a:cubicBezTo>
                    <a:pt x="155" y="111"/>
                    <a:pt x="155" y="111"/>
                    <a:pt x="155" y="111"/>
                  </a:cubicBezTo>
                  <a:cubicBezTo>
                    <a:pt x="162" y="111"/>
                    <a:pt x="162" y="111"/>
                    <a:pt x="162" y="111"/>
                  </a:cubicBezTo>
                  <a:cubicBezTo>
                    <a:pt x="162" y="118"/>
                    <a:pt x="162" y="118"/>
                    <a:pt x="162" y="118"/>
                  </a:cubicBezTo>
                  <a:cubicBezTo>
                    <a:pt x="155" y="118"/>
                    <a:pt x="155" y="118"/>
                    <a:pt x="155" y="118"/>
                  </a:cubicBezTo>
                  <a:moveTo>
                    <a:pt x="170" y="118"/>
                  </a:moveTo>
                  <a:cubicBezTo>
                    <a:pt x="170" y="111"/>
                    <a:pt x="170" y="111"/>
                    <a:pt x="170" y="111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77" y="118"/>
                    <a:pt x="177" y="118"/>
                    <a:pt x="177" y="118"/>
                  </a:cubicBezTo>
                  <a:cubicBezTo>
                    <a:pt x="170" y="118"/>
                    <a:pt x="170" y="118"/>
                    <a:pt x="170" y="118"/>
                  </a:cubicBezTo>
                  <a:moveTo>
                    <a:pt x="185" y="118"/>
                  </a:moveTo>
                  <a:cubicBezTo>
                    <a:pt x="185" y="111"/>
                    <a:pt x="185" y="111"/>
                    <a:pt x="185" y="111"/>
                  </a:cubicBezTo>
                  <a:cubicBezTo>
                    <a:pt x="192" y="111"/>
                    <a:pt x="192" y="111"/>
                    <a:pt x="192" y="111"/>
                  </a:cubicBezTo>
                  <a:cubicBezTo>
                    <a:pt x="192" y="118"/>
                    <a:pt x="192" y="118"/>
                    <a:pt x="192" y="118"/>
                  </a:cubicBezTo>
                  <a:cubicBezTo>
                    <a:pt x="185" y="118"/>
                    <a:pt x="185" y="118"/>
                    <a:pt x="185" y="118"/>
                  </a:cubicBezTo>
                  <a:moveTo>
                    <a:pt x="199" y="118"/>
                  </a:moveTo>
                  <a:cubicBezTo>
                    <a:pt x="199" y="111"/>
                    <a:pt x="199" y="111"/>
                    <a:pt x="199" y="111"/>
                  </a:cubicBezTo>
                  <a:cubicBezTo>
                    <a:pt x="206" y="111"/>
                    <a:pt x="206" y="111"/>
                    <a:pt x="206" y="111"/>
                  </a:cubicBezTo>
                  <a:cubicBezTo>
                    <a:pt x="206" y="118"/>
                    <a:pt x="206" y="118"/>
                    <a:pt x="206" y="118"/>
                  </a:cubicBezTo>
                  <a:cubicBezTo>
                    <a:pt x="199" y="118"/>
                    <a:pt x="199" y="118"/>
                    <a:pt x="199" y="118"/>
                  </a:cubicBezTo>
                  <a:moveTo>
                    <a:pt x="214" y="118"/>
                  </a:moveTo>
                  <a:cubicBezTo>
                    <a:pt x="214" y="111"/>
                    <a:pt x="214" y="111"/>
                    <a:pt x="214" y="111"/>
                  </a:cubicBezTo>
                  <a:cubicBezTo>
                    <a:pt x="221" y="111"/>
                    <a:pt x="221" y="111"/>
                    <a:pt x="221" y="111"/>
                  </a:cubicBezTo>
                  <a:cubicBezTo>
                    <a:pt x="221" y="118"/>
                    <a:pt x="221" y="118"/>
                    <a:pt x="221" y="118"/>
                  </a:cubicBezTo>
                  <a:cubicBezTo>
                    <a:pt x="214" y="118"/>
                    <a:pt x="214" y="118"/>
                    <a:pt x="214" y="118"/>
                  </a:cubicBezTo>
                  <a:moveTo>
                    <a:pt x="229" y="118"/>
                  </a:moveTo>
                  <a:cubicBezTo>
                    <a:pt x="229" y="111"/>
                    <a:pt x="229" y="111"/>
                    <a:pt x="229" y="111"/>
                  </a:cubicBezTo>
                  <a:cubicBezTo>
                    <a:pt x="236" y="111"/>
                    <a:pt x="236" y="111"/>
                    <a:pt x="236" y="111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29" y="118"/>
                    <a:pt x="229" y="118"/>
                    <a:pt x="229" y="118"/>
                  </a:cubicBezTo>
                  <a:moveTo>
                    <a:pt x="244" y="118"/>
                  </a:moveTo>
                  <a:cubicBezTo>
                    <a:pt x="244" y="111"/>
                    <a:pt x="244" y="111"/>
                    <a:pt x="244" y="111"/>
                  </a:cubicBezTo>
                  <a:cubicBezTo>
                    <a:pt x="251" y="111"/>
                    <a:pt x="251" y="111"/>
                    <a:pt x="251" y="111"/>
                  </a:cubicBezTo>
                  <a:cubicBezTo>
                    <a:pt x="251" y="118"/>
                    <a:pt x="251" y="118"/>
                    <a:pt x="251" y="118"/>
                  </a:cubicBezTo>
                  <a:cubicBezTo>
                    <a:pt x="244" y="118"/>
                    <a:pt x="244" y="118"/>
                    <a:pt x="244" y="118"/>
                  </a:cubicBezTo>
                  <a:moveTo>
                    <a:pt x="258" y="118"/>
                  </a:moveTo>
                  <a:cubicBezTo>
                    <a:pt x="258" y="111"/>
                    <a:pt x="258" y="111"/>
                    <a:pt x="258" y="111"/>
                  </a:cubicBezTo>
                  <a:cubicBezTo>
                    <a:pt x="265" y="111"/>
                    <a:pt x="265" y="111"/>
                    <a:pt x="265" y="111"/>
                  </a:cubicBezTo>
                  <a:cubicBezTo>
                    <a:pt x="265" y="118"/>
                    <a:pt x="265" y="118"/>
                    <a:pt x="265" y="118"/>
                  </a:cubicBezTo>
                  <a:cubicBezTo>
                    <a:pt x="258" y="118"/>
                    <a:pt x="258" y="118"/>
                    <a:pt x="258" y="118"/>
                  </a:cubicBezTo>
                  <a:moveTo>
                    <a:pt x="273" y="118"/>
                  </a:moveTo>
                  <a:cubicBezTo>
                    <a:pt x="273" y="111"/>
                    <a:pt x="273" y="111"/>
                    <a:pt x="273" y="111"/>
                  </a:cubicBezTo>
                  <a:cubicBezTo>
                    <a:pt x="280" y="111"/>
                    <a:pt x="280" y="111"/>
                    <a:pt x="280" y="111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3" y="118"/>
                    <a:pt x="273" y="118"/>
                    <a:pt x="273" y="118"/>
                  </a:cubicBezTo>
                  <a:moveTo>
                    <a:pt x="288" y="118"/>
                  </a:moveTo>
                  <a:cubicBezTo>
                    <a:pt x="288" y="111"/>
                    <a:pt x="288" y="111"/>
                    <a:pt x="288" y="111"/>
                  </a:cubicBezTo>
                  <a:cubicBezTo>
                    <a:pt x="295" y="111"/>
                    <a:pt x="295" y="111"/>
                    <a:pt x="295" y="111"/>
                  </a:cubicBezTo>
                  <a:cubicBezTo>
                    <a:pt x="295" y="118"/>
                    <a:pt x="295" y="118"/>
                    <a:pt x="295" y="118"/>
                  </a:cubicBezTo>
                  <a:cubicBezTo>
                    <a:pt x="288" y="118"/>
                    <a:pt x="288" y="118"/>
                    <a:pt x="288" y="118"/>
                  </a:cubicBezTo>
                  <a:moveTo>
                    <a:pt x="303" y="118"/>
                  </a:moveTo>
                  <a:cubicBezTo>
                    <a:pt x="303" y="111"/>
                    <a:pt x="303" y="111"/>
                    <a:pt x="303" y="111"/>
                  </a:cubicBezTo>
                  <a:cubicBezTo>
                    <a:pt x="310" y="111"/>
                    <a:pt x="310" y="111"/>
                    <a:pt x="310" y="111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03" y="118"/>
                    <a:pt x="303" y="118"/>
                    <a:pt x="303" y="118"/>
                  </a:cubicBezTo>
                  <a:moveTo>
                    <a:pt x="317" y="118"/>
                  </a:moveTo>
                  <a:cubicBezTo>
                    <a:pt x="317" y="111"/>
                    <a:pt x="317" y="111"/>
                    <a:pt x="317" y="111"/>
                  </a:cubicBezTo>
                  <a:cubicBezTo>
                    <a:pt x="324" y="111"/>
                    <a:pt x="324" y="111"/>
                    <a:pt x="324" y="111"/>
                  </a:cubicBezTo>
                  <a:cubicBezTo>
                    <a:pt x="324" y="118"/>
                    <a:pt x="324" y="118"/>
                    <a:pt x="324" y="118"/>
                  </a:cubicBezTo>
                  <a:cubicBezTo>
                    <a:pt x="317" y="118"/>
                    <a:pt x="317" y="118"/>
                    <a:pt x="317" y="118"/>
                  </a:cubicBezTo>
                  <a:moveTo>
                    <a:pt x="332" y="118"/>
                  </a:moveTo>
                  <a:cubicBezTo>
                    <a:pt x="332" y="111"/>
                    <a:pt x="332" y="111"/>
                    <a:pt x="332" y="111"/>
                  </a:cubicBezTo>
                  <a:cubicBezTo>
                    <a:pt x="339" y="111"/>
                    <a:pt x="339" y="111"/>
                    <a:pt x="339" y="111"/>
                  </a:cubicBezTo>
                  <a:cubicBezTo>
                    <a:pt x="339" y="118"/>
                    <a:pt x="339" y="118"/>
                    <a:pt x="339" y="118"/>
                  </a:cubicBezTo>
                  <a:cubicBezTo>
                    <a:pt x="332" y="118"/>
                    <a:pt x="332" y="118"/>
                    <a:pt x="332" y="118"/>
                  </a:cubicBezTo>
                  <a:moveTo>
                    <a:pt x="347" y="118"/>
                  </a:moveTo>
                  <a:cubicBezTo>
                    <a:pt x="347" y="111"/>
                    <a:pt x="347" y="111"/>
                    <a:pt x="347" y="111"/>
                  </a:cubicBezTo>
                  <a:cubicBezTo>
                    <a:pt x="354" y="111"/>
                    <a:pt x="354" y="111"/>
                    <a:pt x="354" y="111"/>
                  </a:cubicBezTo>
                  <a:cubicBezTo>
                    <a:pt x="354" y="118"/>
                    <a:pt x="354" y="118"/>
                    <a:pt x="354" y="118"/>
                  </a:cubicBezTo>
                  <a:cubicBezTo>
                    <a:pt x="347" y="118"/>
                    <a:pt x="347" y="118"/>
                    <a:pt x="347" y="118"/>
                  </a:cubicBezTo>
                  <a:moveTo>
                    <a:pt x="362" y="118"/>
                  </a:moveTo>
                  <a:cubicBezTo>
                    <a:pt x="362" y="111"/>
                    <a:pt x="362" y="111"/>
                    <a:pt x="362" y="111"/>
                  </a:cubicBezTo>
                  <a:cubicBezTo>
                    <a:pt x="369" y="111"/>
                    <a:pt x="369" y="111"/>
                    <a:pt x="369" y="111"/>
                  </a:cubicBezTo>
                  <a:cubicBezTo>
                    <a:pt x="369" y="118"/>
                    <a:pt x="369" y="118"/>
                    <a:pt x="369" y="118"/>
                  </a:cubicBezTo>
                  <a:cubicBezTo>
                    <a:pt x="362" y="118"/>
                    <a:pt x="362" y="118"/>
                    <a:pt x="362" y="118"/>
                  </a:cubicBezTo>
                  <a:moveTo>
                    <a:pt x="37" y="104"/>
                  </a:moveTo>
                  <a:cubicBezTo>
                    <a:pt x="37" y="97"/>
                    <a:pt x="37" y="97"/>
                    <a:pt x="37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37" y="104"/>
                    <a:pt x="37" y="104"/>
                    <a:pt x="37" y="104"/>
                  </a:cubicBezTo>
                  <a:moveTo>
                    <a:pt x="52" y="104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104"/>
                    <a:pt x="59" y="104"/>
                    <a:pt x="59" y="104"/>
                  </a:cubicBezTo>
                  <a:cubicBezTo>
                    <a:pt x="52" y="104"/>
                    <a:pt x="52" y="104"/>
                    <a:pt x="52" y="104"/>
                  </a:cubicBezTo>
                  <a:moveTo>
                    <a:pt x="67" y="104"/>
                  </a:moveTo>
                  <a:cubicBezTo>
                    <a:pt x="67" y="97"/>
                    <a:pt x="67" y="97"/>
                    <a:pt x="67" y="97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74" y="104"/>
                    <a:pt x="74" y="104"/>
                    <a:pt x="74" y="104"/>
                  </a:cubicBezTo>
                  <a:cubicBezTo>
                    <a:pt x="67" y="104"/>
                    <a:pt x="67" y="104"/>
                    <a:pt x="67" y="104"/>
                  </a:cubicBezTo>
                  <a:moveTo>
                    <a:pt x="81" y="104"/>
                  </a:moveTo>
                  <a:cubicBezTo>
                    <a:pt x="81" y="97"/>
                    <a:pt x="81" y="97"/>
                    <a:pt x="81" y="97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1" y="104"/>
                    <a:pt x="81" y="104"/>
                    <a:pt x="81" y="104"/>
                  </a:cubicBezTo>
                  <a:moveTo>
                    <a:pt x="96" y="104"/>
                  </a:moveTo>
                  <a:cubicBezTo>
                    <a:pt x="96" y="97"/>
                    <a:pt x="96" y="97"/>
                    <a:pt x="96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96" y="104"/>
                    <a:pt x="96" y="104"/>
                    <a:pt x="96" y="104"/>
                  </a:cubicBezTo>
                  <a:moveTo>
                    <a:pt x="111" y="104"/>
                  </a:moveTo>
                  <a:cubicBezTo>
                    <a:pt x="111" y="97"/>
                    <a:pt x="111" y="97"/>
                    <a:pt x="111" y="97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1" y="104"/>
                    <a:pt x="111" y="104"/>
                    <a:pt x="111" y="104"/>
                  </a:cubicBezTo>
                  <a:moveTo>
                    <a:pt x="126" y="104"/>
                  </a:moveTo>
                  <a:cubicBezTo>
                    <a:pt x="126" y="97"/>
                    <a:pt x="126" y="97"/>
                    <a:pt x="126" y="97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3" y="104"/>
                    <a:pt x="133" y="104"/>
                    <a:pt x="133" y="104"/>
                  </a:cubicBezTo>
                  <a:cubicBezTo>
                    <a:pt x="126" y="104"/>
                    <a:pt x="126" y="104"/>
                    <a:pt x="126" y="104"/>
                  </a:cubicBezTo>
                  <a:moveTo>
                    <a:pt x="140" y="104"/>
                  </a:moveTo>
                  <a:cubicBezTo>
                    <a:pt x="140" y="97"/>
                    <a:pt x="140" y="97"/>
                    <a:pt x="140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0" y="104"/>
                    <a:pt x="140" y="104"/>
                    <a:pt x="140" y="104"/>
                  </a:cubicBezTo>
                  <a:moveTo>
                    <a:pt x="155" y="104"/>
                  </a:moveTo>
                  <a:cubicBezTo>
                    <a:pt x="155" y="97"/>
                    <a:pt x="155" y="97"/>
                    <a:pt x="155" y="97"/>
                  </a:cubicBezTo>
                  <a:cubicBezTo>
                    <a:pt x="162" y="97"/>
                    <a:pt x="162" y="97"/>
                    <a:pt x="162" y="97"/>
                  </a:cubicBezTo>
                  <a:cubicBezTo>
                    <a:pt x="162" y="104"/>
                    <a:pt x="162" y="104"/>
                    <a:pt x="162" y="104"/>
                  </a:cubicBezTo>
                  <a:cubicBezTo>
                    <a:pt x="155" y="104"/>
                    <a:pt x="155" y="104"/>
                    <a:pt x="155" y="104"/>
                  </a:cubicBezTo>
                  <a:moveTo>
                    <a:pt x="170" y="104"/>
                  </a:moveTo>
                  <a:cubicBezTo>
                    <a:pt x="170" y="97"/>
                    <a:pt x="170" y="97"/>
                    <a:pt x="170" y="97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7" y="104"/>
                    <a:pt x="177" y="104"/>
                    <a:pt x="177" y="104"/>
                  </a:cubicBezTo>
                  <a:cubicBezTo>
                    <a:pt x="170" y="104"/>
                    <a:pt x="170" y="104"/>
                    <a:pt x="170" y="104"/>
                  </a:cubicBezTo>
                  <a:moveTo>
                    <a:pt x="185" y="104"/>
                  </a:moveTo>
                  <a:cubicBezTo>
                    <a:pt x="185" y="97"/>
                    <a:pt x="185" y="97"/>
                    <a:pt x="185" y="97"/>
                  </a:cubicBezTo>
                  <a:cubicBezTo>
                    <a:pt x="192" y="97"/>
                    <a:pt x="192" y="97"/>
                    <a:pt x="192" y="97"/>
                  </a:cubicBezTo>
                  <a:cubicBezTo>
                    <a:pt x="192" y="104"/>
                    <a:pt x="192" y="104"/>
                    <a:pt x="192" y="104"/>
                  </a:cubicBezTo>
                  <a:cubicBezTo>
                    <a:pt x="185" y="104"/>
                    <a:pt x="185" y="104"/>
                    <a:pt x="185" y="104"/>
                  </a:cubicBezTo>
                  <a:moveTo>
                    <a:pt x="199" y="104"/>
                  </a:moveTo>
                  <a:cubicBezTo>
                    <a:pt x="199" y="97"/>
                    <a:pt x="199" y="97"/>
                    <a:pt x="199" y="97"/>
                  </a:cubicBezTo>
                  <a:cubicBezTo>
                    <a:pt x="206" y="97"/>
                    <a:pt x="206" y="97"/>
                    <a:pt x="206" y="97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199" y="104"/>
                    <a:pt x="199" y="104"/>
                    <a:pt x="199" y="104"/>
                  </a:cubicBezTo>
                  <a:moveTo>
                    <a:pt x="214" y="104"/>
                  </a:moveTo>
                  <a:cubicBezTo>
                    <a:pt x="214" y="97"/>
                    <a:pt x="214" y="97"/>
                    <a:pt x="214" y="97"/>
                  </a:cubicBezTo>
                  <a:cubicBezTo>
                    <a:pt x="221" y="97"/>
                    <a:pt x="221" y="97"/>
                    <a:pt x="221" y="97"/>
                  </a:cubicBezTo>
                  <a:cubicBezTo>
                    <a:pt x="221" y="104"/>
                    <a:pt x="221" y="104"/>
                    <a:pt x="221" y="104"/>
                  </a:cubicBezTo>
                  <a:cubicBezTo>
                    <a:pt x="214" y="104"/>
                    <a:pt x="214" y="104"/>
                    <a:pt x="214" y="104"/>
                  </a:cubicBezTo>
                  <a:moveTo>
                    <a:pt x="229" y="104"/>
                  </a:moveTo>
                  <a:cubicBezTo>
                    <a:pt x="229" y="97"/>
                    <a:pt x="229" y="97"/>
                    <a:pt x="229" y="97"/>
                  </a:cubicBezTo>
                  <a:cubicBezTo>
                    <a:pt x="236" y="97"/>
                    <a:pt x="236" y="97"/>
                    <a:pt x="236" y="97"/>
                  </a:cubicBezTo>
                  <a:cubicBezTo>
                    <a:pt x="236" y="104"/>
                    <a:pt x="236" y="104"/>
                    <a:pt x="236" y="104"/>
                  </a:cubicBezTo>
                  <a:cubicBezTo>
                    <a:pt x="229" y="104"/>
                    <a:pt x="229" y="104"/>
                    <a:pt x="229" y="104"/>
                  </a:cubicBezTo>
                  <a:moveTo>
                    <a:pt x="244" y="104"/>
                  </a:moveTo>
                  <a:cubicBezTo>
                    <a:pt x="244" y="97"/>
                    <a:pt x="244" y="97"/>
                    <a:pt x="244" y="97"/>
                  </a:cubicBezTo>
                  <a:cubicBezTo>
                    <a:pt x="251" y="97"/>
                    <a:pt x="251" y="97"/>
                    <a:pt x="251" y="97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44" y="104"/>
                    <a:pt x="244" y="104"/>
                    <a:pt x="244" y="104"/>
                  </a:cubicBezTo>
                  <a:moveTo>
                    <a:pt x="258" y="104"/>
                  </a:moveTo>
                  <a:cubicBezTo>
                    <a:pt x="258" y="97"/>
                    <a:pt x="258" y="97"/>
                    <a:pt x="258" y="97"/>
                  </a:cubicBezTo>
                  <a:cubicBezTo>
                    <a:pt x="265" y="97"/>
                    <a:pt x="265" y="97"/>
                    <a:pt x="265" y="97"/>
                  </a:cubicBezTo>
                  <a:cubicBezTo>
                    <a:pt x="265" y="104"/>
                    <a:pt x="265" y="104"/>
                    <a:pt x="265" y="104"/>
                  </a:cubicBezTo>
                  <a:cubicBezTo>
                    <a:pt x="258" y="104"/>
                    <a:pt x="258" y="104"/>
                    <a:pt x="258" y="104"/>
                  </a:cubicBezTo>
                  <a:moveTo>
                    <a:pt x="273" y="104"/>
                  </a:moveTo>
                  <a:cubicBezTo>
                    <a:pt x="273" y="97"/>
                    <a:pt x="273" y="97"/>
                    <a:pt x="273" y="97"/>
                  </a:cubicBezTo>
                  <a:cubicBezTo>
                    <a:pt x="280" y="97"/>
                    <a:pt x="280" y="97"/>
                    <a:pt x="280" y="97"/>
                  </a:cubicBezTo>
                  <a:cubicBezTo>
                    <a:pt x="280" y="104"/>
                    <a:pt x="280" y="104"/>
                    <a:pt x="280" y="104"/>
                  </a:cubicBezTo>
                  <a:cubicBezTo>
                    <a:pt x="273" y="104"/>
                    <a:pt x="273" y="104"/>
                    <a:pt x="273" y="104"/>
                  </a:cubicBezTo>
                  <a:moveTo>
                    <a:pt x="288" y="104"/>
                  </a:moveTo>
                  <a:cubicBezTo>
                    <a:pt x="288" y="97"/>
                    <a:pt x="288" y="97"/>
                    <a:pt x="288" y="97"/>
                  </a:cubicBezTo>
                  <a:cubicBezTo>
                    <a:pt x="295" y="97"/>
                    <a:pt x="295" y="97"/>
                    <a:pt x="295" y="97"/>
                  </a:cubicBezTo>
                  <a:cubicBezTo>
                    <a:pt x="295" y="104"/>
                    <a:pt x="295" y="104"/>
                    <a:pt x="295" y="104"/>
                  </a:cubicBezTo>
                  <a:cubicBezTo>
                    <a:pt x="288" y="104"/>
                    <a:pt x="288" y="104"/>
                    <a:pt x="288" y="104"/>
                  </a:cubicBezTo>
                  <a:moveTo>
                    <a:pt x="303" y="104"/>
                  </a:moveTo>
                  <a:cubicBezTo>
                    <a:pt x="303" y="97"/>
                    <a:pt x="303" y="97"/>
                    <a:pt x="303" y="97"/>
                  </a:cubicBezTo>
                  <a:cubicBezTo>
                    <a:pt x="310" y="97"/>
                    <a:pt x="310" y="97"/>
                    <a:pt x="310" y="97"/>
                  </a:cubicBezTo>
                  <a:cubicBezTo>
                    <a:pt x="310" y="104"/>
                    <a:pt x="310" y="104"/>
                    <a:pt x="310" y="104"/>
                  </a:cubicBezTo>
                  <a:cubicBezTo>
                    <a:pt x="303" y="104"/>
                    <a:pt x="303" y="104"/>
                    <a:pt x="303" y="104"/>
                  </a:cubicBezTo>
                  <a:moveTo>
                    <a:pt x="317" y="104"/>
                  </a:moveTo>
                  <a:cubicBezTo>
                    <a:pt x="317" y="97"/>
                    <a:pt x="317" y="97"/>
                    <a:pt x="317" y="97"/>
                  </a:cubicBezTo>
                  <a:cubicBezTo>
                    <a:pt x="324" y="97"/>
                    <a:pt x="324" y="97"/>
                    <a:pt x="324" y="97"/>
                  </a:cubicBezTo>
                  <a:cubicBezTo>
                    <a:pt x="324" y="104"/>
                    <a:pt x="324" y="104"/>
                    <a:pt x="324" y="104"/>
                  </a:cubicBezTo>
                  <a:cubicBezTo>
                    <a:pt x="317" y="104"/>
                    <a:pt x="317" y="104"/>
                    <a:pt x="317" y="104"/>
                  </a:cubicBezTo>
                  <a:moveTo>
                    <a:pt x="332" y="104"/>
                  </a:moveTo>
                  <a:cubicBezTo>
                    <a:pt x="332" y="97"/>
                    <a:pt x="332" y="97"/>
                    <a:pt x="332" y="97"/>
                  </a:cubicBezTo>
                  <a:cubicBezTo>
                    <a:pt x="339" y="97"/>
                    <a:pt x="339" y="97"/>
                    <a:pt x="339" y="97"/>
                  </a:cubicBezTo>
                  <a:cubicBezTo>
                    <a:pt x="339" y="104"/>
                    <a:pt x="339" y="104"/>
                    <a:pt x="339" y="104"/>
                  </a:cubicBezTo>
                  <a:cubicBezTo>
                    <a:pt x="332" y="104"/>
                    <a:pt x="332" y="104"/>
                    <a:pt x="332" y="104"/>
                  </a:cubicBezTo>
                  <a:moveTo>
                    <a:pt x="347" y="104"/>
                  </a:moveTo>
                  <a:cubicBezTo>
                    <a:pt x="347" y="97"/>
                    <a:pt x="347" y="97"/>
                    <a:pt x="347" y="97"/>
                  </a:cubicBezTo>
                  <a:cubicBezTo>
                    <a:pt x="354" y="97"/>
                    <a:pt x="354" y="97"/>
                    <a:pt x="354" y="97"/>
                  </a:cubicBezTo>
                  <a:cubicBezTo>
                    <a:pt x="354" y="104"/>
                    <a:pt x="354" y="104"/>
                    <a:pt x="354" y="104"/>
                  </a:cubicBezTo>
                  <a:cubicBezTo>
                    <a:pt x="347" y="104"/>
                    <a:pt x="347" y="104"/>
                    <a:pt x="347" y="104"/>
                  </a:cubicBezTo>
                  <a:moveTo>
                    <a:pt x="37" y="89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37" y="89"/>
                    <a:pt x="37" y="89"/>
                    <a:pt x="37" y="89"/>
                  </a:cubicBezTo>
                  <a:moveTo>
                    <a:pt x="52" y="89"/>
                  </a:moveTo>
                  <a:cubicBezTo>
                    <a:pt x="52" y="82"/>
                    <a:pt x="52" y="82"/>
                    <a:pt x="52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2" y="89"/>
                    <a:pt x="52" y="89"/>
                    <a:pt x="52" y="89"/>
                  </a:cubicBezTo>
                  <a:moveTo>
                    <a:pt x="67" y="89"/>
                  </a:moveTo>
                  <a:cubicBezTo>
                    <a:pt x="67" y="82"/>
                    <a:pt x="67" y="82"/>
                    <a:pt x="67" y="82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67" y="89"/>
                    <a:pt x="67" y="89"/>
                    <a:pt x="67" y="89"/>
                  </a:cubicBezTo>
                  <a:moveTo>
                    <a:pt x="81" y="89"/>
                  </a:moveTo>
                  <a:cubicBezTo>
                    <a:pt x="81" y="82"/>
                    <a:pt x="81" y="82"/>
                    <a:pt x="81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1" y="89"/>
                    <a:pt x="81" y="89"/>
                    <a:pt x="81" y="89"/>
                  </a:cubicBezTo>
                  <a:moveTo>
                    <a:pt x="96" y="89"/>
                  </a:moveTo>
                  <a:cubicBezTo>
                    <a:pt x="96" y="82"/>
                    <a:pt x="96" y="82"/>
                    <a:pt x="96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9"/>
                    <a:pt x="103" y="89"/>
                    <a:pt x="103" y="89"/>
                  </a:cubicBezTo>
                  <a:cubicBezTo>
                    <a:pt x="96" y="89"/>
                    <a:pt x="96" y="89"/>
                    <a:pt x="96" y="89"/>
                  </a:cubicBezTo>
                  <a:moveTo>
                    <a:pt x="111" y="89"/>
                  </a:moveTo>
                  <a:cubicBezTo>
                    <a:pt x="111" y="82"/>
                    <a:pt x="111" y="82"/>
                    <a:pt x="111" y="82"/>
                  </a:cubicBezTo>
                  <a:cubicBezTo>
                    <a:pt x="118" y="82"/>
                    <a:pt x="118" y="82"/>
                    <a:pt x="118" y="82"/>
                  </a:cubicBezTo>
                  <a:cubicBezTo>
                    <a:pt x="118" y="89"/>
                    <a:pt x="118" y="89"/>
                    <a:pt x="118" y="89"/>
                  </a:cubicBezTo>
                  <a:cubicBezTo>
                    <a:pt x="111" y="89"/>
                    <a:pt x="111" y="89"/>
                    <a:pt x="111" y="89"/>
                  </a:cubicBezTo>
                  <a:moveTo>
                    <a:pt x="126" y="89"/>
                  </a:moveTo>
                  <a:cubicBezTo>
                    <a:pt x="126" y="82"/>
                    <a:pt x="126" y="82"/>
                    <a:pt x="126" y="82"/>
                  </a:cubicBezTo>
                  <a:cubicBezTo>
                    <a:pt x="133" y="82"/>
                    <a:pt x="133" y="82"/>
                    <a:pt x="133" y="82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26" y="89"/>
                    <a:pt x="126" y="89"/>
                    <a:pt x="126" y="89"/>
                  </a:cubicBezTo>
                  <a:moveTo>
                    <a:pt x="140" y="89"/>
                  </a:moveTo>
                  <a:cubicBezTo>
                    <a:pt x="140" y="82"/>
                    <a:pt x="140" y="82"/>
                    <a:pt x="140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7" y="89"/>
                    <a:pt x="147" y="89"/>
                    <a:pt x="147" y="89"/>
                  </a:cubicBezTo>
                  <a:cubicBezTo>
                    <a:pt x="140" y="89"/>
                    <a:pt x="140" y="89"/>
                    <a:pt x="140" y="89"/>
                  </a:cubicBezTo>
                  <a:moveTo>
                    <a:pt x="155" y="89"/>
                  </a:moveTo>
                  <a:cubicBezTo>
                    <a:pt x="155" y="82"/>
                    <a:pt x="155" y="82"/>
                    <a:pt x="155" y="82"/>
                  </a:cubicBezTo>
                  <a:cubicBezTo>
                    <a:pt x="162" y="82"/>
                    <a:pt x="162" y="82"/>
                    <a:pt x="162" y="82"/>
                  </a:cubicBezTo>
                  <a:cubicBezTo>
                    <a:pt x="162" y="89"/>
                    <a:pt x="162" y="89"/>
                    <a:pt x="162" y="89"/>
                  </a:cubicBezTo>
                  <a:cubicBezTo>
                    <a:pt x="155" y="89"/>
                    <a:pt x="155" y="89"/>
                    <a:pt x="155" y="89"/>
                  </a:cubicBezTo>
                  <a:moveTo>
                    <a:pt x="170" y="89"/>
                  </a:moveTo>
                  <a:cubicBezTo>
                    <a:pt x="170" y="82"/>
                    <a:pt x="170" y="82"/>
                    <a:pt x="170" y="82"/>
                  </a:cubicBezTo>
                  <a:cubicBezTo>
                    <a:pt x="177" y="82"/>
                    <a:pt x="177" y="82"/>
                    <a:pt x="177" y="82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0" y="89"/>
                    <a:pt x="170" y="89"/>
                    <a:pt x="170" y="89"/>
                  </a:cubicBezTo>
                  <a:moveTo>
                    <a:pt x="185" y="89"/>
                  </a:moveTo>
                  <a:cubicBezTo>
                    <a:pt x="185" y="82"/>
                    <a:pt x="185" y="82"/>
                    <a:pt x="185" y="82"/>
                  </a:cubicBezTo>
                  <a:cubicBezTo>
                    <a:pt x="192" y="82"/>
                    <a:pt x="192" y="82"/>
                    <a:pt x="192" y="82"/>
                  </a:cubicBezTo>
                  <a:cubicBezTo>
                    <a:pt x="192" y="89"/>
                    <a:pt x="192" y="89"/>
                    <a:pt x="192" y="89"/>
                  </a:cubicBezTo>
                  <a:cubicBezTo>
                    <a:pt x="185" y="89"/>
                    <a:pt x="185" y="89"/>
                    <a:pt x="185" y="89"/>
                  </a:cubicBezTo>
                  <a:moveTo>
                    <a:pt x="199" y="89"/>
                  </a:moveTo>
                  <a:cubicBezTo>
                    <a:pt x="199" y="82"/>
                    <a:pt x="199" y="82"/>
                    <a:pt x="199" y="82"/>
                  </a:cubicBezTo>
                  <a:cubicBezTo>
                    <a:pt x="206" y="82"/>
                    <a:pt x="206" y="82"/>
                    <a:pt x="206" y="82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199" y="89"/>
                    <a:pt x="199" y="89"/>
                    <a:pt x="199" y="89"/>
                  </a:cubicBezTo>
                  <a:moveTo>
                    <a:pt x="214" y="89"/>
                  </a:moveTo>
                  <a:cubicBezTo>
                    <a:pt x="214" y="82"/>
                    <a:pt x="214" y="82"/>
                    <a:pt x="214" y="82"/>
                  </a:cubicBezTo>
                  <a:cubicBezTo>
                    <a:pt x="221" y="82"/>
                    <a:pt x="221" y="82"/>
                    <a:pt x="221" y="82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14" y="89"/>
                    <a:pt x="214" y="89"/>
                    <a:pt x="214" y="89"/>
                  </a:cubicBezTo>
                  <a:moveTo>
                    <a:pt x="229" y="89"/>
                  </a:moveTo>
                  <a:cubicBezTo>
                    <a:pt x="229" y="82"/>
                    <a:pt x="229" y="82"/>
                    <a:pt x="229" y="82"/>
                  </a:cubicBezTo>
                  <a:cubicBezTo>
                    <a:pt x="236" y="82"/>
                    <a:pt x="236" y="82"/>
                    <a:pt x="236" y="82"/>
                  </a:cubicBezTo>
                  <a:cubicBezTo>
                    <a:pt x="236" y="89"/>
                    <a:pt x="236" y="89"/>
                    <a:pt x="236" y="89"/>
                  </a:cubicBezTo>
                  <a:cubicBezTo>
                    <a:pt x="229" y="89"/>
                    <a:pt x="229" y="89"/>
                    <a:pt x="229" y="89"/>
                  </a:cubicBezTo>
                  <a:moveTo>
                    <a:pt x="244" y="89"/>
                  </a:moveTo>
                  <a:cubicBezTo>
                    <a:pt x="244" y="82"/>
                    <a:pt x="244" y="82"/>
                    <a:pt x="244" y="82"/>
                  </a:cubicBezTo>
                  <a:cubicBezTo>
                    <a:pt x="251" y="82"/>
                    <a:pt x="251" y="82"/>
                    <a:pt x="251" y="82"/>
                  </a:cubicBezTo>
                  <a:cubicBezTo>
                    <a:pt x="251" y="89"/>
                    <a:pt x="251" y="89"/>
                    <a:pt x="251" y="89"/>
                  </a:cubicBezTo>
                  <a:cubicBezTo>
                    <a:pt x="244" y="89"/>
                    <a:pt x="244" y="89"/>
                    <a:pt x="244" y="89"/>
                  </a:cubicBezTo>
                  <a:moveTo>
                    <a:pt x="258" y="89"/>
                  </a:moveTo>
                  <a:cubicBezTo>
                    <a:pt x="258" y="82"/>
                    <a:pt x="258" y="82"/>
                    <a:pt x="258" y="82"/>
                  </a:cubicBezTo>
                  <a:cubicBezTo>
                    <a:pt x="265" y="82"/>
                    <a:pt x="265" y="82"/>
                    <a:pt x="265" y="82"/>
                  </a:cubicBezTo>
                  <a:cubicBezTo>
                    <a:pt x="265" y="89"/>
                    <a:pt x="265" y="89"/>
                    <a:pt x="265" y="89"/>
                  </a:cubicBezTo>
                  <a:cubicBezTo>
                    <a:pt x="258" y="89"/>
                    <a:pt x="258" y="89"/>
                    <a:pt x="258" y="89"/>
                  </a:cubicBezTo>
                  <a:moveTo>
                    <a:pt x="273" y="89"/>
                  </a:moveTo>
                  <a:cubicBezTo>
                    <a:pt x="273" y="82"/>
                    <a:pt x="273" y="82"/>
                    <a:pt x="273" y="82"/>
                  </a:cubicBezTo>
                  <a:cubicBezTo>
                    <a:pt x="280" y="82"/>
                    <a:pt x="280" y="82"/>
                    <a:pt x="280" y="82"/>
                  </a:cubicBezTo>
                  <a:cubicBezTo>
                    <a:pt x="280" y="89"/>
                    <a:pt x="280" y="89"/>
                    <a:pt x="280" y="89"/>
                  </a:cubicBezTo>
                  <a:cubicBezTo>
                    <a:pt x="273" y="89"/>
                    <a:pt x="273" y="89"/>
                    <a:pt x="273" y="89"/>
                  </a:cubicBezTo>
                  <a:moveTo>
                    <a:pt x="288" y="89"/>
                  </a:moveTo>
                  <a:cubicBezTo>
                    <a:pt x="288" y="82"/>
                    <a:pt x="288" y="82"/>
                    <a:pt x="288" y="82"/>
                  </a:cubicBezTo>
                  <a:cubicBezTo>
                    <a:pt x="295" y="82"/>
                    <a:pt x="295" y="82"/>
                    <a:pt x="295" y="82"/>
                  </a:cubicBezTo>
                  <a:cubicBezTo>
                    <a:pt x="295" y="89"/>
                    <a:pt x="295" y="89"/>
                    <a:pt x="295" y="89"/>
                  </a:cubicBezTo>
                  <a:cubicBezTo>
                    <a:pt x="288" y="89"/>
                    <a:pt x="288" y="89"/>
                    <a:pt x="288" y="89"/>
                  </a:cubicBezTo>
                  <a:moveTo>
                    <a:pt x="303" y="89"/>
                  </a:moveTo>
                  <a:cubicBezTo>
                    <a:pt x="303" y="82"/>
                    <a:pt x="303" y="82"/>
                    <a:pt x="303" y="82"/>
                  </a:cubicBezTo>
                  <a:cubicBezTo>
                    <a:pt x="310" y="82"/>
                    <a:pt x="310" y="82"/>
                    <a:pt x="310" y="82"/>
                  </a:cubicBezTo>
                  <a:cubicBezTo>
                    <a:pt x="310" y="89"/>
                    <a:pt x="310" y="89"/>
                    <a:pt x="310" y="89"/>
                  </a:cubicBezTo>
                  <a:cubicBezTo>
                    <a:pt x="303" y="89"/>
                    <a:pt x="303" y="89"/>
                    <a:pt x="303" y="89"/>
                  </a:cubicBezTo>
                  <a:moveTo>
                    <a:pt x="317" y="89"/>
                  </a:moveTo>
                  <a:cubicBezTo>
                    <a:pt x="317" y="82"/>
                    <a:pt x="317" y="82"/>
                    <a:pt x="317" y="82"/>
                  </a:cubicBezTo>
                  <a:cubicBezTo>
                    <a:pt x="324" y="82"/>
                    <a:pt x="324" y="82"/>
                    <a:pt x="324" y="82"/>
                  </a:cubicBezTo>
                  <a:cubicBezTo>
                    <a:pt x="324" y="89"/>
                    <a:pt x="324" y="89"/>
                    <a:pt x="324" y="89"/>
                  </a:cubicBezTo>
                  <a:cubicBezTo>
                    <a:pt x="317" y="89"/>
                    <a:pt x="317" y="89"/>
                    <a:pt x="317" y="89"/>
                  </a:cubicBezTo>
                  <a:moveTo>
                    <a:pt x="332" y="89"/>
                  </a:moveTo>
                  <a:cubicBezTo>
                    <a:pt x="332" y="82"/>
                    <a:pt x="332" y="82"/>
                    <a:pt x="332" y="82"/>
                  </a:cubicBezTo>
                  <a:cubicBezTo>
                    <a:pt x="339" y="82"/>
                    <a:pt x="339" y="82"/>
                    <a:pt x="339" y="82"/>
                  </a:cubicBezTo>
                  <a:cubicBezTo>
                    <a:pt x="339" y="89"/>
                    <a:pt x="339" y="89"/>
                    <a:pt x="339" y="89"/>
                  </a:cubicBezTo>
                  <a:cubicBezTo>
                    <a:pt x="332" y="89"/>
                    <a:pt x="332" y="89"/>
                    <a:pt x="332" y="89"/>
                  </a:cubicBezTo>
                  <a:moveTo>
                    <a:pt x="347" y="89"/>
                  </a:moveTo>
                  <a:cubicBezTo>
                    <a:pt x="347" y="82"/>
                    <a:pt x="347" y="82"/>
                    <a:pt x="347" y="82"/>
                  </a:cubicBezTo>
                  <a:cubicBezTo>
                    <a:pt x="354" y="82"/>
                    <a:pt x="354" y="82"/>
                    <a:pt x="354" y="82"/>
                  </a:cubicBezTo>
                  <a:cubicBezTo>
                    <a:pt x="354" y="89"/>
                    <a:pt x="354" y="89"/>
                    <a:pt x="354" y="89"/>
                  </a:cubicBezTo>
                  <a:cubicBezTo>
                    <a:pt x="347" y="89"/>
                    <a:pt x="347" y="89"/>
                    <a:pt x="347" y="89"/>
                  </a:cubicBezTo>
                  <a:moveTo>
                    <a:pt x="52" y="74"/>
                  </a:moveTo>
                  <a:cubicBezTo>
                    <a:pt x="52" y="67"/>
                    <a:pt x="52" y="67"/>
                    <a:pt x="52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2" y="74"/>
                    <a:pt x="52" y="74"/>
                    <a:pt x="52" y="74"/>
                  </a:cubicBezTo>
                  <a:moveTo>
                    <a:pt x="67" y="74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67" y="74"/>
                    <a:pt x="67" y="74"/>
                    <a:pt x="67" y="74"/>
                  </a:cubicBezTo>
                  <a:moveTo>
                    <a:pt x="81" y="74"/>
                  </a:moveTo>
                  <a:cubicBezTo>
                    <a:pt x="81" y="67"/>
                    <a:pt x="81" y="67"/>
                    <a:pt x="81" y="67"/>
                  </a:cubicBezTo>
                  <a:cubicBezTo>
                    <a:pt x="88" y="67"/>
                    <a:pt x="88" y="67"/>
                    <a:pt x="88" y="67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1" y="74"/>
                    <a:pt x="81" y="74"/>
                    <a:pt x="81" y="74"/>
                  </a:cubicBezTo>
                  <a:moveTo>
                    <a:pt x="96" y="74"/>
                  </a:moveTo>
                  <a:cubicBezTo>
                    <a:pt x="96" y="67"/>
                    <a:pt x="96" y="67"/>
                    <a:pt x="96" y="67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74"/>
                    <a:pt x="103" y="74"/>
                    <a:pt x="103" y="74"/>
                  </a:cubicBezTo>
                  <a:cubicBezTo>
                    <a:pt x="96" y="74"/>
                    <a:pt x="96" y="74"/>
                    <a:pt x="96" y="74"/>
                  </a:cubicBezTo>
                  <a:moveTo>
                    <a:pt x="111" y="74"/>
                  </a:moveTo>
                  <a:cubicBezTo>
                    <a:pt x="111" y="67"/>
                    <a:pt x="111" y="67"/>
                    <a:pt x="111" y="67"/>
                  </a:cubicBezTo>
                  <a:cubicBezTo>
                    <a:pt x="118" y="67"/>
                    <a:pt x="118" y="67"/>
                    <a:pt x="118" y="67"/>
                  </a:cubicBezTo>
                  <a:cubicBezTo>
                    <a:pt x="118" y="74"/>
                    <a:pt x="118" y="74"/>
                    <a:pt x="118" y="74"/>
                  </a:cubicBezTo>
                  <a:cubicBezTo>
                    <a:pt x="111" y="74"/>
                    <a:pt x="111" y="74"/>
                    <a:pt x="111" y="74"/>
                  </a:cubicBezTo>
                  <a:moveTo>
                    <a:pt x="126" y="74"/>
                  </a:moveTo>
                  <a:cubicBezTo>
                    <a:pt x="126" y="67"/>
                    <a:pt x="126" y="67"/>
                    <a:pt x="126" y="67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33" y="74"/>
                    <a:pt x="133" y="74"/>
                    <a:pt x="133" y="74"/>
                  </a:cubicBezTo>
                  <a:cubicBezTo>
                    <a:pt x="126" y="74"/>
                    <a:pt x="126" y="74"/>
                    <a:pt x="126" y="74"/>
                  </a:cubicBezTo>
                  <a:moveTo>
                    <a:pt x="140" y="74"/>
                  </a:moveTo>
                  <a:cubicBezTo>
                    <a:pt x="140" y="67"/>
                    <a:pt x="140" y="67"/>
                    <a:pt x="140" y="67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74"/>
                    <a:pt x="147" y="74"/>
                    <a:pt x="147" y="74"/>
                  </a:cubicBezTo>
                  <a:cubicBezTo>
                    <a:pt x="140" y="74"/>
                    <a:pt x="140" y="74"/>
                    <a:pt x="140" y="74"/>
                  </a:cubicBezTo>
                  <a:moveTo>
                    <a:pt x="155" y="74"/>
                  </a:moveTo>
                  <a:cubicBezTo>
                    <a:pt x="155" y="67"/>
                    <a:pt x="155" y="67"/>
                    <a:pt x="155" y="6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55" y="74"/>
                    <a:pt x="155" y="74"/>
                    <a:pt x="155" y="74"/>
                  </a:cubicBezTo>
                  <a:moveTo>
                    <a:pt x="170" y="74"/>
                  </a:moveTo>
                  <a:cubicBezTo>
                    <a:pt x="170" y="67"/>
                    <a:pt x="170" y="67"/>
                    <a:pt x="170" y="67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7" y="74"/>
                    <a:pt x="177" y="74"/>
                    <a:pt x="177" y="74"/>
                  </a:cubicBezTo>
                  <a:cubicBezTo>
                    <a:pt x="170" y="74"/>
                    <a:pt x="170" y="74"/>
                    <a:pt x="170" y="74"/>
                  </a:cubicBezTo>
                  <a:moveTo>
                    <a:pt x="185" y="74"/>
                  </a:moveTo>
                  <a:cubicBezTo>
                    <a:pt x="185" y="67"/>
                    <a:pt x="185" y="67"/>
                    <a:pt x="185" y="67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185" y="74"/>
                    <a:pt x="185" y="74"/>
                    <a:pt x="185" y="74"/>
                  </a:cubicBezTo>
                  <a:moveTo>
                    <a:pt x="199" y="74"/>
                  </a:moveTo>
                  <a:cubicBezTo>
                    <a:pt x="199" y="67"/>
                    <a:pt x="199" y="67"/>
                    <a:pt x="199" y="67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199" y="74"/>
                    <a:pt x="199" y="74"/>
                    <a:pt x="199" y="74"/>
                  </a:cubicBezTo>
                  <a:moveTo>
                    <a:pt x="214" y="74"/>
                  </a:moveTo>
                  <a:cubicBezTo>
                    <a:pt x="214" y="67"/>
                    <a:pt x="214" y="67"/>
                    <a:pt x="214" y="67"/>
                  </a:cubicBezTo>
                  <a:cubicBezTo>
                    <a:pt x="221" y="67"/>
                    <a:pt x="221" y="67"/>
                    <a:pt x="221" y="67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14" y="74"/>
                    <a:pt x="214" y="74"/>
                    <a:pt x="214" y="74"/>
                  </a:cubicBezTo>
                  <a:moveTo>
                    <a:pt x="229" y="74"/>
                  </a:moveTo>
                  <a:cubicBezTo>
                    <a:pt x="229" y="67"/>
                    <a:pt x="229" y="67"/>
                    <a:pt x="229" y="67"/>
                  </a:cubicBezTo>
                  <a:cubicBezTo>
                    <a:pt x="236" y="67"/>
                    <a:pt x="236" y="67"/>
                    <a:pt x="236" y="67"/>
                  </a:cubicBezTo>
                  <a:cubicBezTo>
                    <a:pt x="236" y="74"/>
                    <a:pt x="236" y="74"/>
                    <a:pt x="236" y="74"/>
                  </a:cubicBezTo>
                  <a:cubicBezTo>
                    <a:pt x="229" y="74"/>
                    <a:pt x="229" y="74"/>
                    <a:pt x="229" y="74"/>
                  </a:cubicBezTo>
                  <a:moveTo>
                    <a:pt x="244" y="74"/>
                  </a:moveTo>
                  <a:cubicBezTo>
                    <a:pt x="244" y="67"/>
                    <a:pt x="244" y="67"/>
                    <a:pt x="244" y="67"/>
                  </a:cubicBezTo>
                  <a:cubicBezTo>
                    <a:pt x="251" y="67"/>
                    <a:pt x="251" y="67"/>
                    <a:pt x="251" y="67"/>
                  </a:cubicBezTo>
                  <a:cubicBezTo>
                    <a:pt x="251" y="74"/>
                    <a:pt x="251" y="74"/>
                    <a:pt x="251" y="74"/>
                  </a:cubicBezTo>
                  <a:cubicBezTo>
                    <a:pt x="244" y="74"/>
                    <a:pt x="244" y="74"/>
                    <a:pt x="244" y="74"/>
                  </a:cubicBezTo>
                  <a:moveTo>
                    <a:pt x="258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65" y="67"/>
                    <a:pt x="265" y="67"/>
                    <a:pt x="265" y="67"/>
                  </a:cubicBezTo>
                  <a:cubicBezTo>
                    <a:pt x="265" y="74"/>
                    <a:pt x="265" y="74"/>
                    <a:pt x="265" y="74"/>
                  </a:cubicBezTo>
                  <a:cubicBezTo>
                    <a:pt x="258" y="74"/>
                    <a:pt x="258" y="74"/>
                    <a:pt x="258" y="74"/>
                  </a:cubicBezTo>
                  <a:moveTo>
                    <a:pt x="273" y="74"/>
                  </a:moveTo>
                  <a:cubicBezTo>
                    <a:pt x="273" y="67"/>
                    <a:pt x="273" y="67"/>
                    <a:pt x="273" y="67"/>
                  </a:cubicBezTo>
                  <a:cubicBezTo>
                    <a:pt x="280" y="67"/>
                    <a:pt x="280" y="67"/>
                    <a:pt x="280" y="67"/>
                  </a:cubicBezTo>
                  <a:cubicBezTo>
                    <a:pt x="280" y="74"/>
                    <a:pt x="280" y="74"/>
                    <a:pt x="280" y="74"/>
                  </a:cubicBezTo>
                  <a:cubicBezTo>
                    <a:pt x="273" y="74"/>
                    <a:pt x="273" y="74"/>
                    <a:pt x="273" y="74"/>
                  </a:cubicBezTo>
                  <a:moveTo>
                    <a:pt x="288" y="74"/>
                  </a:moveTo>
                  <a:cubicBezTo>
                    <a:pt x="288" y="67"/>
                    <a:pt x="288" y="67"/>
                    <a:pt x="288" y="67"/>
                  </a:cubicBezTo>
                  <a:cubicBezTo>
                    <a:pt x="295" y="67"/>
                    <a:pt x="295" y="67"/>
                    <a:pt x="295" y="67"/>
                  </a:cubicBezTo>
                  <a:cubicBezTo>
                    <a:pt x="295" y="74"/>
                    <a:pt x="295" y="74"/>
                    <a:pt x="295" y="74"/>
                  </a:cubicBezTo>
                  <a:cubicBezTo>
                    <a:pt x="288" y="74"/>
                    <a:pt x="288" y="74"/>
                    <a:pt x="288" y="74"/>
                  </a:cubicBezTo>
                  <a:moveTo>
                    <a:pt x="303" y="74"/>
                  </a:moveTo>
                  <a:cubicBezTo>
                    <a:pt x="303" y="67"/>
                    <a:pt x="303" y="67"/>
                    <a:pt x="303" y="67"/>
                  </a:cubicBezTo>
                  <a:cubicBezTo>
                    <a:pt x="310" y="67"/>
                    <a:pt x="310" y="67"/>
                    <a:pt x="310" y="67"/>
                  </a:cubicBezTo>
                  <a:cubicBezTo>
                    <a:pt x="310" y="74"/>
                    <a:pt x="310" y="74"/>
                    <a:pt x="310" y="74"/>
                  </a:cubicBezTo>
                  <a:cubicBezTo>
                    <a:pt x="303" y="74"/>
                    <a:pt x="303" y="74"/>
                    <a:pt x="303" y="74"/>
                  </a:cubicBezTo>
                  <a:moveTo>
                    <a:pt x="317" y="74"/>
                  </a:moveTo>
                  <a:cubicBezTo>
                    <a:pt x="317" y="67"/>
                    <a:pt x="317" y="67"/>
                    <a:pt x="317" y="67"/>
                  </a:cubicBezTo>
                  <a:cubicBezTo>
                    <a:pt x="324" y="67"/>
                    <a:pt x="324" y="67"/>
                    <a:pt x="324" y="67"/>
                  </a:cubicBezTo>
                  <a:cubicBezTo>
                    <a:pt x="324" y="74"/>
                    <a:pt x="324" y="74"/>
                    <a:pt x="324" y="74"/>
                  </a:cubicBezTo>
                  <a:cubicBezTo>
                    <a:pt x="317" y="74"/>
                    <a:pt x="317" y="74"/>
                    <a:pt x="317" y="74"/>
                  </a:cubicBezTo>
                  <a:moveTo>
                    <a:pt x="332" y="74"/>
                  </a:moveTo>
                  <a:cubicBezTo>
                    <a:pt x="332" y="67"/>
                    <a:pt x="332" y="67"/>
                    <a:pt x="332" y="67"/>
                  </a:cubicBezTo>
                  <a:cubicBezTo>
                    <a:pt x="339" y="67"/>
                    <a:pt x="339" y="67"/>
                    <a:pt x="339" y="67"/>
                  </a:cubicBezTo>
                  <a:cubicBezTo>
                    <a:pt x="339" y="74"/>
                    <a:pt x="339" y="74"/>
                    <a:pt x="339" y="74"/>
                  </a:cubicBezTo>
                  <a:cubicBezTo>
                    <a:pt x="332" y="74"/>
                    <a:pt x="332" y="74"/>
                    <a:pt x="332" y="74"/>
                  </a:cubicBezTo>
                  <a:moveTo>
                    <a:pt x="67" y="59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67" y="59"/>
                    <a:pt x="67" y="59"/>
                    <a:pt x="67" y="59"/>
                  </a:cubicBezTo>
                  <a:moveTo>
                    <a:pt x="81" y="59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1" y="59"/>
                    <a:pt x="81" y="59"/>
                    <a:pt x="81" y="59"/>
                  </a:cubicBezTo>
                  <a:moveTo>
                    <a:pt x="96" y="59"/>
                  </a:moveTo>
                  <a:cubicBezTo>
                    <a:pt x="96" y="52"/>
                    <a:pt x="96" y="52"/>
                    <a:pt x="96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96" y="59"/>
                    <a:pt x="96" y="59"/>
                    <a:pt x="96" y="59"/>
                  </a:cubicBezTo>
                  <a:moveTo>
                    <a:pt x="111" y="59"/>
                  </a:moveTo>
                  <a:cubicBezTo>
                    <a:pt x="111" y="52"/>
                    <a:pt x="111" y="52"/>
                    <a:pt x="111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9"/>
                    <a:pt x="118" y="59"/>
                    <a:pt x="118" y="59"/>
                  </a:cubicBezTo>
                  <a:cubicBezTo>
                    <a:pt x="111" y="59"/>
                    <a:pt x="111" y="59"/>
                    <a:pt x="111" y="59"/>
                  </a:cubicBezTo>
                  <a:moveTo>
                    <a:pt x="126" y="59"/>
                  </a:moveTo>
                  <a:cubicBezTo>
                    <a:pt x="126" y="52"/>
                    <a:pt x="126" y="52"/>
                    <a:pt x="126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9"/>
                    <a:pt x="133" y="59"/>
                    <a:pt x="133" y="59"/>
                  </a:cubicBezTo>
                  <a:cubicBezTo>
                    <a:pt x="126" y="59"/>
                    <a:pt x="126" y="59"/>
                    <a:pt x="126" y="59"/>
                  </a:cubicBezTo>
                  <a:moveTo>
                    <a:pt x="140" y="59"/>
                  </a:moveTo>
                  <a:cubicBezTo>
                    <a:pt x="140" y="52"/>
                    <a:pt x="140" y="52"/>
                    <a:pt x="140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0" y="59"/>
                    <a:pt x="140" y="59"/>
                    <a:pt x="140" y="59"/>
                  </a:cubicBezTo>
                  <a:moveTo>
                    <a:pt x="155" y="59"/>
                  </a:moveTo>
                  <a:cubicBezTo>
                    <a:pt x="155" y="52"/>
                    <a:pt x="155" y="52"/>
                    <a:pt x="155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9"/>
                    <a:pt x="162" y="59"/>
                    <a:pt x="162" y="59"/>
                  </a:cubicBezTo>
                  <a:cubicBezTo>
                    <a:pt x="155" y="59"/>
                    <a:pt x="155" y="59"/>
                    <a:pt x="155" y="59"/>
                  </a:cubicBezTo>
                  <a:moveTo>
                    <a:pt x="170" y="59"/>
                  </a:moveTo>
                  <a:cubicBezTo>
                    <a:pt x="170" y="52"/>
                    <a:pt x="170" y="52"/>
                    <a:pt x="170" y="52"/>
                  </a:cubicBezTo>
                  <a:cubicBezTo>
                    <a:pt x="177" y="52"/>
                    <a:pt x="177" y="52"/>
                    <a:pt x="177" y="5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70" y="59"/>
                    <a:pt x="170" y="59"/>
                    <a:pt x="170" y="59"/>
                  </a:cubicBezTo>
                  <a:moveTo>
                    <a:pt x="185" y="59"/>
                  </a:moveTo>
                  <a:cubicBezTo>
                    <a:pt x="185" y="52"/>
                    <a:pt x="185" y="52"/>
                    <a:pt x="185" y="52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2" y="59"/>
                    <a:pt x="192" y="59"/>
                    <a:pt x="192" y="59"/>
                  </a:cubicBezTo>
                  <a:cubicBezTo>
                    <a:pt x="185" y="59"/>
                    <a:pt x="185" y="59"/>
                    <a:pt x="185" y="59"/>
                  </a:cubicBezTo>
                  <a:moveTo>
                    <a:pt x="199" y="59"/>
                  </a:moveTo>
                  <a:cubicBezTo>
                    <a:pt x="199" y="52"/>
                    <a:pt x="199" y="52"/>
                    <a:pt x="199" y="52"/>
                  </a:cubicBezTo>
                  <a:cubicBezTo>
                    <a:pt x="206" y="52"/>
                    <a:pt x="206" y="52"/>
                    <a:pt x="206" y="52"/>
                  </a:cubicBezTo>
                  <a:cubicBezTo>
                    <a:pt x="206" y="59"/>
                    <a:pt x="206" y="59"/>
                    <a:pt x="206" y="59"/>
                  </a:cubicBezTo>
                  <a:cubicBezTo>
                    <a:pt x="199" y="59"/>
                    <a:pt x="199" y="59"/>
                    <a:pt x="199" y="59"/>
                  </a:cubicBezTo>
                  <a:moveTo>
                    <a:pt x="214" y="59"/>
                  </a:moveTo>
                  <a:cubicBezTo>
                    <a:pt x="214" y="52"/>
                    <a:pt x="214" y="52"/>
                    <a:pt x="214" y="52"/>
                  </a:cubicBezTo>
                  <a:cubicBezTo>
                    <a:pt x="221" y="52"/>
                    <a:pt x="221" y="52"/>
                    <a:pt x="221" y="52"/>
                  </a:cubicBezTo>
                  <a:cubicBezTo>
                    <a:pt x="221" y="59"/>
                    <a:pt x="221" y="59"/>
                    <a:pt x="221" y="59"/>
                  </a:cubicBezTo>
                  <a:cubicBezTo>
                    <a:pt x="214" y="59"/>
                    <a:pt x="214" y="59"/>
                    <a:pt x="214" y="59"/>
                  </a:cubicBezTo>
                  <a:moveTo>
                    <a:pt x="229" y="59"/>
                  </a:moveTo>
                  <a:cubicBezTo>
                    <a:pt x="229" y="52"/>
                    <a:pt x="229" y="52"/>
                    <a:pt x="229" y="52"/>
                  </a:cubicBezTo>
                  <a:cubicBezTo>
                    <a:pt x="236" y="52"/>
                    <a:pt x="236" y="52"/>
                    <a:pt x="236" y="52"/>
                  </a:cubicBezTo>
                  <a:cubicBezTo>
                    <a:pt x="236" y="59"/>
                    <a:pt x="236" y="59"/>
                    <a:pt x="236" y="59"/>
                  </a:cubicBezTo>
                  <a:cubicBezTo>
                    <a:pt x="229" y="59"/>
                    <a:pt x="229" y="59"/>
                    <a:pt x="229" y="59"/>
                  </a:cubicBezTo>
                  <a:moveTo>
                    <a:pt x="244" y="59"/>
                  </a:moveTo>
                  <a:cubicBezTo>
                    <a:pt x="244" y="52"/>
                    <a:pt x="244" y="52"/>
                    <a:pt x="244" y="52"/>
                  </a:cubicBezTo>
                  <a:cubicBezTo>
                    <a:pt x="251" y="52"/>
                    <a:pt x="251" y="52"/>
                    <a:pt x="251" y="52"/>
                  </a:cubicBezTo>
                  <a:cubicBezTo>
                    <a:pt x="251" y="59"/>
                    <a:pt x="251" y="59"/>
                    <a:pt x="251" y="59"/>
                  </a:cubicBezTo>
                  <a:cubicBezTo>
                    <a:pt x="244" y="59"/>
                    <a:pt x="244" y="59"/>
                    <a:pt x="244" y="59"/>
                  </a:cubicBezTo>
                  <a:moveTo>
                    <a:pt x="258" y="59"/>
                  </a:moveTo>
                  <a:cubicBezTo>
                    <a:pt x="258" y="52"/>
                    <a:pt x="258" y="52"/>
                    <a:pt x="258" y="52"/>
                  </a:cubicBezTo>
                  <a:cubicBezTo>
                    <a:pt x="265" y="52"/>
                    <a:pt x="265" y="52"/>
                    <a:pt x="265" y="5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58" y="59"/>
                    <a:pt x="258" y="59"/>
                    <a:pt x="258" y="59"/>
                  </a:cubicBezTo>
                  <a:moveTo>
                    <a:pt x="273" y="59"/>
                  </a:moveTo>
                  <a:cubicBezTo>
                    <a:pt x="273" y="52"/>
                    <a:pt x="273" y="52"/>
                    <a:pt x="273" y="52"/>
                  </a:cubicBezTo>
                  <a:cubicBezTo>
                    <a:pt x="280" y="52"/>
                    <a:pt x="280" y="52"/>
                    <a:pt x="280" y="52"/>
                  </a:cubicBezTo>
                  <a:cubicBezTo>
                    <a:pt x="280" y="59"/>
                    <a:pt x="280" y="59"/>
                    <a:pt x="280" y="59"/>
                  </a:cubicBezTo>
                  <a:cubicBezTo>
                    <a:pt x="273" y="59"/>
                    <a:pt x="273" y="59"/>
                    <a:pt x="273" y="59"/>
                  </a:cubicBezTo>
                  <a:moveTo>
                    <a:pt x="288" y="59"/>
                  </a:moveTo>
                  <a:cubicBezTo>
                    <a:pt x="288" y="52"/>
                    <a:pt x="288" y="52"/>
                    <a:pt x="288" y="52"/>
                  </a:cubicBezTo>
                  <a:cubicBezTo>
                    <a:pt x="295" y="52"/>
                    <a:pt x="295" y="52"/>
                    <a:pt x="295" y="52"/>
                  </a:cubicBezTo>
                  <a:cubicBezTo>
                    <a:pt x="295" y="59"/>
                    <a:pt x="295" y="59"/>
                    <a:pt x="295" y="59"/>
                  </a:cubicBezTo>
                  <a:cubicBezTo>
                    <a:pt x="288" y="59"/>
                    <a:pt x="288" y="59"/>
                    <a:pt x="288" y="59"/>
                  </a:cubicBezTo>
                  <a:moveTo>
                    <a:pt x="303" y="59"/>
                  </a:moveTo>
                  <a:cubicBezTo>
                    <a:pt x="303" y="52"/>
                    <a:pt x="303" y="52"/>
                    <a:pt x="303" y="52"/>
                  </a:cubicBezTo>
                  <a:cubicBezTo>
                    <a:pt x="310" y="52"/>
                    <a:pt x="310" y="52"/>
                    <a:pt x="310" y="52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03" y="59"/>
                    <a:pt x="303" y="59"/>
                    <a:pt x="303" y="59"/>
                  </a:cubicBezTo>
                  <a:moveTo>
                    <a:pt x="317" y="59"/>
                  </a:moveTo>
                  <a:cubicBezTo>
                    <a:pt x="317" y="52"/>
                    <a:pt x="317" y="52"/>
                    <a:pt x="317" y="52"/>
                  </a:cubicBezTo>
                  <a:cubicBezTo>
                    <a:pt x="324" y="52"/>
                    <a:pt x="324" y="52"/>
                    <a:pt x="324" y="52"/>
                  </a:cubicBezTo>
                  <a:cubicBezTo>
                    <a:pt x="324" y="59"/>
                    <a:pt x="324" y="59"/>
                    <a:pt x="324" y="59"/>
                  </a:cubicBezTo>
                  <a:cubicBezTo>
                    <a:pt x="317" y="59"/>
                    <a:pt x="317" y="59"/>
                    <a:pt x="317" y="59"/>
                  </a:cubicBezTo>
                  <a:moveTo>
                    <a:pt x="81" y="45"/>
                  </a:moveTo>
                  <a:cubicBezTo>
                    <a:pt x="81" y="38"/>
                    <a:pt x="81" y="38"/>
                    <a:pt x="81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1" y="45"/>
                    <a:pt x="81" y="45"/>
                    <a:pt x="81" y="45"/>
                  </a:cubicBezTo>
                  <a:moveTo>
                    <a:pt x="96" y="45"/>
                  </a:moveTo>
                  <a:cubicBezTo>
                    <a:pt x="96" y="38"/>
                    <a:pt x="96" y="38"/>
                    <a:pt x="96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96" y="45"/>
                    <a:pt x="96" y="45"/>
                    <a:pt x="96" y="45"/>
                  </a:cubicBezTo>
                  <a:moveTo>
                    <a:pt x="111" y="45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1" y="45"/>
                    <a:pt x="111" y="45"/>
                    <a:pt x="111" y="45"/>
                  </a:cubicBezTo>
                  <a:moveTo>
                    <a:pt x="126" y="45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45"/>
                    <a:pt x="133" y="45"/>
                    <a:pt x="133" y="45"/>
                  </a:cubicBezTo>
                  <a:cubicBezTo>
                    <a:pt x="126" y="45"/>
                    <a:pt x="126" y="45"/>
                    <a:pt x="126" y="45"/>
                  </a:cubicBezTo>
                  <a:moveTo>
                    <a:pt x="140" y="45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0" y="45"/>
                    <a:pt x="140" y="45"/>
                    <a:pt x="140" y="45"/>
                  </a:cubicBezTo>
                  <a:moveTo>
                    <a:pt x="155" y="45"/>
                  </a:moveTo>
                  <a:cubicBezTo>
                    <a:pt x="155" y="38"/>
                    <a:pt x="155" y="38"/>
                    <a:pt x="155" y="38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55" y="45"/>
                    <a:pt x="155" y="45"/>
                    <a:pt x="155" y="45"/>
                  </a:cubicBezTo>
                  <a:moveTo>
                    <a:pt x="170" y="45"/>
                  </a:moveTo>
                  <a:cubicBezTo>
                    <a:pt x="170" y="38"/>
                    <a:pt x="170" y="38"/>
                    <a:pt x="170" y="38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45"/>
                    <a:pt x="177" y="45"/>
                    <a:pt x="177" y="45"/>
                  </a:cubicBezTo>
                  <a:cubicBezTo>
                    <a:pt x="170" y="45"/>
                    <a:pt x="170" y="45"/>
                    <a:pt x="170" y="45"/>
                  </a:cubicBezTo>
                  <a:moveTo>
                    <a:pt x="185" y="45"/>
                  </a:moveTo>
                  <a:cubicBezTo>
                    <a:pt x="185" y="38"/>
                    <a:pt x="185" y="38"/>
                    <a:pt x="185" y="38"/>
                  </a:cubicBezTo>
                  <a:cubicBezTo>
                    <a:pt x="192" y="38"/>
                    <a:pt x="192" y="38"/>
                    <a:pt x="192" y="38"/>
                  </a:cubicBezTo>
                  <a:cubicBezTo>
                    <a:pt x="192" y="45"/>
                    <a:pt x="192" y="45"/>
                    <a:pt x="192" y="45"/>
                  </a:cubicBezTo>
                  <a:cubicBezTo>
                    <a:pt x="185" y="45"/>
                    <a:pt x="185" y="45"/>
                    <a:pt x="185" y="45"/>
                  </a:cubicBezTo>
                  <a:moveTo>
                    <a:pt x="199" y="45"/>
                  </a:moveTo>
                  <a:cubicBezTo>
                    <a:pt x="199" y="38"/>
                    <a:pt x="199" y="38"/>
                    <a:pt x="199" y="38"/>
                  </a:cubicBezTo>
                  <a:cubicBezTo>
                    <a:pt x="206" y="38"/>
                    <a:pt x="206" y="38"/>
                    <a:pt x="206" y="38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199" y="45"/>
                    <a:pt x="199" y="45"/>
                    <a:pt x="199" y="45"/>
                  </a:cubicBezTo>
                  <a:moveTo>
                    <a:pt x="214" y="45"/>
                  </a:moveTo>
                  <a:cubicBezTo>
                    <a:pt x="214" y="38"/>
                    <a:pt x="214" y="38"/>
                    <a:pt x="214" y="38"/>
                  </a:cubicBezTo>
                  <a:cubicBezTo>
                    <a:pt x="221" y="38"/>
                    <a:pt x="221" y="38"/>
                    <a:pt x="221" y="38"/>
                  </a:cubicBezTo>
                  <a:cubicBezTo>
                    <a:pt x="221" y="45"/>
                    <a:pt x="221" y="45"/>
                    <a:pt x="221" y="45"/>
                  </a:cubicBezTo>
                  <a:cubicBezTo>
                    <a:pt x="214" y="45"/>
                    <a:pt x="214" y="45"/>
                    <a:pt x="214" y="45"/>
                  </a:cubicBezTo>
                  <a:moveTo>
                    <a:pt x="229" y="45"/>
                  </a:moveTo>
                  <a:cubicBezTo>
                    <a:pt x="229" y="38"/>
                    <a:pt x="229" y="38"/>
                    <a:pt x="229" y="38"/>
                  </a:cubicBezTo>
                  <a:cubicBezTo>
                    <a:pt x="236" y="38"/>
                    <a:pt x="236" y="38"/>
                    <a:pt x="236" y="38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29" y="45"/>
                    <a:pt x="229" y="45"/>
                    <a:pt x="229" y="45"/>
                  </a:cubicBezTo>
                  <a:moveTo>
                    <a:pt x="244" y="45"/>
                  </a:moveTo>
                  <a:cubicBezTo>
                    <a:pt x="244" y="38"/>
                    <a:pt x="244" y="38"/>
                    <a:pt x="244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45"/>
                    <a:pt x="251" y="45"/>
                    <a:pt x="251" y="45"/>
                  </a:cubicBezTo>
                  <a:cubicBezTo>
                    <a:pt x="244" y="45"/>
                    <a:pt x="244" y="45"/>
                    <a:pt x="244" y="45"/>
                  </a:cubicBezTo>
                  <a:moveTo>
                    <a:pt x="258" y="45"/>
                  </a:moveTo>
                  <a:cubicBezTo>
                    <a:pt x="258" y="38"/>
                    <a:pt x="258" y="38"/>
                    <a:pt x="258" y="38"/>
                  </a:cubicBezTo>
                  <a:cubicBezTo>
                    <a:pt x="265" y="38"/>
                    <a:pt x="265" y="38"/>
                    <a:pt x="265" y="38"/>
                  </a:cubicBezTo>
                  <a:cubicBezTo>
                    <a:pt x="265" y="45"/>
                    <a:pt x="265" y="45"/>
                    <a:pt x="265" y="45"/>
                  </a:cubicBezTo>
                  <a:cubicBezTo>
                    <a:pt x="258" y="45"/>
                    <a:pt x="258" y="45"/>
                    <a:pt x="258" y="45"/>
                  </a:cubicBezTo>
                  <a:moveTo>
                    <a:pt x="273" y="45"/>
                  </a:moveTo>
                  <a:cubicBezTo>
                    <a:pt x="273" y="38"/>
                    <a:pt x="273" y="38"/>
                    <a:pt x="273" y="38"/>
                  </a:cubicBezTo>
                  <a:cubicBezTo>
                    <a:pt x="280" y="38"/>
                    <a:pt x="280" y="38"/>
                    <a:pt x="280" y="38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73" y="45"/>
                    <a:pt x="273" y="45"/>
                    <a:pt x="273" y="45"/>
                  </a:cubicBezTo>
                  <a:moveTo>
                    <a:pt x="288" y="45"/>
                  </a:moveTo>
                  <a:cubicBezTo>
                    <a:pt x="288" y="38"/>
                    <a:pt x="288" y="38"/>
                    <a:pt x="288" y="38"/>
                  </a:cubicBezTo>
                  <a:cubicBezTo>
                    <a:pt x="295" y="38"/>
                    <a:pt x="295" y="38"/>
                    <a:pt x="295" y="38"/>
                  </a:cubicBezTo>
                  <a:cubicBezTo>
                    <a:pt x="295" y="45"/>
                    <a:pt x="295" y="45"/>
                    <a:pt x="295" y="45"/>
                  </a:cubicBezTo>
                  <a:cubicBezTo>
                    <a:pt x="288" y="45"/>
                    <a:pt x="288" y="45"/>
                    <a:pt x="288" y="45"/>
                  </a:cubicBezTo>
                  <a:moveTo>
                    <a:pt x="303" y="45"/>
                  </a:moveTo>
                  <a:cubicBezTo>
                    <a:pt x="303" y="38"/>
                    <a:pt x="303" y="38"/>
                    <a:pt x="303" y="38"/>
                  </a:cubicBezTo>
                  <a:cubicBezTo>
                    <a:pt x="310" y="38"/>
                    <a:pt x="310" y="38"/>
                    <a:pt x="310" y="38"/>
                  </a:cubicBezTo>
                  <a:cubicBezTo>
                    <a:pt x="310" y="45"/>
                    <a:pt x="310" y="45"/>
                    <a:pt x="310" y="45"/>
                  </a:cubicBezTo>
                  <a:cubicBezTo>
                    <a:pt x="303" y="45"/>
                    <a:pt x="303" y="45"/>
                    <a:pt x="303" y="45"/>
                  </a:cubicBezTo>
                  <a:moveTo>
                    <a:pt x="111" y="30"/>
                  </a:moveTo>
                  <a:cubicBezTo>
                    <a:pt x="111" y="23"/>
                    <a:pt x="111" y="23"/>
                    <a:pt x="111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11" y="30"/>
                    <a:pt x="111" y="30"/>
                    <a:pt x="111" y="30"/>
                  </a:cubicBezTo>
                  <a:moveTo>
                    <a:pt x="126" y="30"/>
                  </a:moveTo>
                  <a:cubicBezTo>
                    <a:pt x="126" y="23"/>
                    <a:pt x="126" y="23"/>
                    <a:pt x="126" y="23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26" y="30"/>
                    <a:pt x="126" y="30"/>
                    <a:pt x="126" y="30"/>
                  </a:cubicBezTo>
                  <a:moveTo>
                    <a:pt x="140" y="30"/>
                  </a:moveTo>
                  <a:cubicBezTo>
                    <a:pt x="140" y="23"/>
                    <a:pt x="140" y="23"/>
                    <a:pt x="140" y="23"/>
                  </a:cubicBezTo>
                  <a:cubicBezTo>
                    <a:pt x="147" y="23"/>
                    <a:pt x="147" y="23"/>
                    <a:pt x="147" y="23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0" y="30"/>
                    <a:pt x="140" y="30"/>
                    <a:pt x="140" y="30"/>
                  </a:cubicBezTo>
                  <a:moveTo>
                    <a:pt x="155" y="30"/>
                  </a:moveTo>
                  <a:cubicBezTo>
                    <a:pt x="155" y="23"/>
                    <a:pt x="155" y="23"/>
                    <a:pt x="155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162" y="30"/>
                    <a:pt x="162" y="30"/>
                    <a:pt x="162" y="30"/>
                  </a:cubicBezTo>
                  <a:cubicBezTo>
                    <a:pt x="155" y="30"/>
                    <a:pt x="155" y="30"/>
                    <a:pt x="155" y="30"/>
                  </a:cubicBezTo>
                  <a:moveTo>
                    <a:pt x="170" y="30"/>
                  </a:moveTo>
                  <a:cubicBezTo>
                    <a:pt x="170" y="23"/>
                    <a:pt x="170" y="23"/>
                    <a:pt x="170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7" y="30"/>
                    <a:pt x="177" y="30"/>
                    <a:pt x="177" y="30"/>
                  </a:cubicBezTo>
                  <a:cubicBezTo>
                    <a:pt x="170" y="30"/>
                    <a:pt x="170" y="30"/>
                    <a:pt x="170" y="30"/>
                  </a:cubicBezTo>
                  <a:moveTo>
                    <a:pt x="185" y="30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85" y="30"/>
                    <a:pt x="185" y="30"/>
                    <a:pt x="185" y="30"/>
                  </a:cubicBezTo>
                  <a:moveTo>
                    <a:pt x="199" y="30"/>
                  </a:moveTo>
                  <a:cubicBezTo>
                    <a:pt x="199" y="23"/>
                    <a:pt x="199" y="23"/>
                    <a:pt x="199" y="23"/>
                  </a:cubicBezTo>
                  <a:cubicBezTo>
                    <a:pt x="206" y="23"/>
                    <a:pt x="206" y="23"/>
                    <a:pt x="206" y="23"/>
                  </a:cubicBezTo>
                  <a:cubicBezTo>
                    <a:pt x="206" y="30"/>
                    <a:pt x="206" y="30"/>
                    <a:pt x="206" y="30"/>
                  </a:cubicBezTo>
                  <a:cubicBezTo>
                    <a:pt x="199" y="30"/>
                    <a:pt x="199" y="30"/>
                    <a:pt x="199" y="30"/>
                  </a:cubicBezTo>
                  <a:moveTo>
                    <a:pt x="214" y="30"/>
                  </a:moveTo>
                  <a:cubicBezTo>
                    <a:pt x="214" y="23"/>
                    <a:pt x="214" y="23"/>
                    <a:pt x="214" y="23"/>
                  </a:cubicBezTo>
                  <a:cubicBezTo>
                    <a:pt x="221" y="23"/>
                    <a:pt x="221" y="23"/>
                    <a:pt x="221" y="23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14" y="30"/>
                    <a:pt x="214" y="30"/>
                    <a:pt x="214" y="30"/>
                  </a:cubicBezTo>
                  <a:moveTo>
                    <a:pt x="229" y="30"/>
                  </a:moveTo>
                  <a:cubicBezTo>
                    <a:pt x="229" y="23"/>
                    <a:pt x="229" y="23"/>
                    <a:pt x="229" y="23"/>
                  </a:cubicBezTo>
                  <a:cubicBezTo>
                    <a:pt x="236" y="23"/>
                    <a:pt x="236" y="23"/>
                    <a:pt x="236" y="23"/>
                  </a:cubicBezTo>
                  <a:cubicBezTo>
                    <a:pt x="236" y="30"/>
                    <a:pt x="236" y="30"/>
                    <a:pt x="236" y="30"/>
                  </a:cubicBezTo>
                  <a:cubicBezTo>
                    <a:pt x="229" y="30"/>
                    <a:pt x="229" y="30"/>
                    <a:pt x="229" y="30"/>
                  </a:cubicBezTo>
                  <a:moveTo>
                    <a:pt x="244" y="30"/>
                  </a:moveTo>
                  <a:cubicBezTo>
                    <a:pt x="244" y="23"/>
                    <a:pt x="244" y="23"/>
                    <a:pt x="244" y="23"/>
                  </a:cubicBezTo>
                  <a:cubicBezTo>
                    <a:pt x="251" y="23"/>
                    <a:pt x="251" y="23"/>
                    <a:pt x="251" y="23"/>
                  </a:cubicBezTo>
                  <a:cubicBezTo>
                    <a:pt x="251" y="30"/>
                    <a:pt x="251" y="30"/>
                    <a:pt x="251" y="30"/>
                  </a:cubicBezTo>
                  <a:cubicBezTo>
                    <a:pt x="244" y="30"/>
                    <a:pt x="244" y="30"/>
                    <a:pt x="244" y="30"/>
                  </a:cubicBezTo>
                  <a:moveTo>
                    <a:pt x="258" y="30"/>
                  </a:moveTo>
                  <a:cubicBezTo>
                    <a:pt x="258" y="23"/>
                    <a:pt x="258" y="23"/>
                    <a:pt x="258" y="23"/>
                  </a:cubicBezTo>
                  <a:cubicBezTo>
                    <a:pt x="265" y="23"/>
                    <a:pt x="265" y="23"/>
                    <a:pt x="265" y="23"/>
                  </a:cubicBezTo>
                  <a:cubicBezTo>
                    <a:pt x="265" y="30"/>
                    <a:pt x="265" y="30"/>
                    <a:pt x="265" y="30"/>
                  </a:cubicBezTo>
                  <a:cubicBezTo>
                    <a:pt x="258" y="30"/>
                    <a:pt x="258" y="30"/>
                    <a:pt x="258" y="30"/>
                  </a:cubicBezTo>
                  <a:moveTo>
                    <a:pt x="273" y="30"/>
                  </a:moveTo>
                  <a:cubicBezTo>
                    <a:pt x="273" y="23"/>
                    <a:pt x="273" y="23"/>
                    <a:pt x="273" y="23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280" y="30"/>
                    <a:pt x="280" y="30"/>
                    <a:pt x="280" y="30"/>
                  </a:cubicBezTo>
                  <a:cubicBezTo>
                    <a:pt x="273" y="30"/>
                    <a:pt x="273" y="30"/>
                    <a:pt x="273" y="30"/>
                  </a:cubicBezTo>
                  <a:moveTo>
                    <a:pt x="155" y="15"/>
                  </a:moveTo>
                  <a:cubicBezTo>
                    <a:pt x="155" y="8"/>
                    <a:pt x="155" y="8"/>
                    <a:pt x="155" y="8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55" y="15"/>
                    <a:pt x="155" y="15"/>
                    <a:pt x="155" y="15"/>
                  </a:cubicBezTo>
                  <a:moveTo>
                    <a:pt x="170" y="15"/>
                  </a:moveTo>
                  <a:cubicBezTo>
                    <a:pt x="170" y="8"/>
                    <a:pt x="170" y="8"/>
                    <a:pt x="170" y="8"/>
                  </a:cubicBezTo>
                  <a:cubicBezTo>
                    <a:pt x="177" y="8"/>
                    <a:pt x="177" y="8"/>
                    <a:pt x="177" y="8"/>
                  </a:cubicBezTo>
                  <a:cubicBezTo>
                    <a:pt x="177" y="15"/>
                    <a:pt x="177" y="15"/>
                    <a:pt x="177" y="15"/>
                  </a:cubicBezTo>
                  <a:cubicBezTo>
                    <a:pt x="170" y="15"/>
                    <a:pt x="170" y="15"/>
                    <a:pt x="170" y="15"/>
                  </a:cubicBezTo>
                  <a:moveTo>
                    <a:pt x="185" y="15"/>
                  </a:moveTo>
                  <a:cubicBezTo>
                    <a:pt x="185" y="8"/>
                    <a:pt x="185" y="8"/>
                    <a:pt x="185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85" y="15"/>
                    <a:pt x="185" y="15"/>
                    <a:pt x="185" y="15"/>
                  </a:cubicBezTo>
                  <a:moveTo>
                    <a:pt x="199" y="15"/>
                  </a:moveTo>
                  <a:cubicBezTo>
                    <a:pt x="199" y="8"/>
                    <a:pt x="199" y="8"/>
                    <a:pt x="199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15"/>
                    <a:pt x="206" y="15"/>
                    <a:pt x="206" y="15"/>
                  </a:cubicBezTo>
                  <a:cubicBezTo>
                    <a:pt x="199" y="15"/>
                    <a:pt x="199" y="15"/>
                    <a:pt x="199" y="15"/>
                  </a:cubicBezTo>
                  <a:moveTo>
                    <a:pt x="214" y="15"/>
                  </a:moveTo>
                  <a:cubicBezTo>
                    <a:pt x="214" y="8"/>
                    <a:pt x="214" y="8"/>
                    <a:pt x="214" y="8"/>
                  </a:cubicBezTo>
                  <a:cubicBezTo>
                    <a:pt x="221" y="8"/>
                    <a:pt x="221" y="8"/>
                    <a:pt x="221" y="8"/>
                  </a:cubicBezTo>
                  <a:cubicBezTo>
                    <a:pt x="221" y="15"/>
                    <a:pt x="221" y="15"/>
                    <a:pt x="221" y="15"/>
                  </a:cubicBezTo>
                  <a:cubicBezTo>
                    <a:pt x="214" y="15"/>
                    <a:pt x="214" y="15"/>
                    <a:pt x="214" y="15"/>
                  </a:cubicBezTo>
                  <a:moveTo>
                    <a:pt x="229" y="15"/>
                  </a:moveTo>
                  <a:cubicBezTo>
                    <a:pt x="229" y="8"/>
                    <a:pt x="229" y="8"/>
                    <a:pt x="229" y="8"/>
                  </a:cubicBezTo>
                  <a:cubicBezTo>
                    <a:pt x="236" y="8"/>
                    <a:pt x="236" y="8"/>
                    <a:pt x="236" y="8"/>
                  </a:cubicBezTo>
                  <a:cubicBezTo>
                    <a:pt x="236" y="15"/>
                    <a:pt x="236" y="15"/>
                    <a:pt x="236" y="15"/>
                  </a:cubicBezTo>
                  <a:cubicBezTo>
                    <a:pt x="229" y="15"/>
                    <a:pt x="229" y="15"/>
                    <a:pt x="229" y="15"/>
                  </a:cubicBezTo>
                  <a:moveTo>
                    <a:pt x="196" y="0"/>
                  </a:moveTo>
                  <a:cubicBezTo>
                    <a:pt x="177" y="0"/>
                    <a:pt x="158" y="3"/>
                    <a:pt x="141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38" y="9"/>
                    <a:pt x="135" y="10"/>
                    <a:pt x="133" y="11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6" y="13"/>
                    <a:pt x="126" y="13"/>
                    <a:pt x="126" y="13"/>
                  </a:cubicBezTo>
                  <a:cubicBezTo>
                    <a:pt x="118" y="16"/>
                    <a:pt x="110" y="20"/>
                    <a:pt x="103" y="24"/>
                  </a:cubicBezTo>
                  <a:cubicBezTo>
                    <a:pt x="103" y="30"/>
                    <a:pt x="103" y="30"/>
                    <a:pt x="103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88" y="32"/>
                    <a:pt x="81" y="37"/>
                    <a:pt x="74" y="43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7" y="48"/>
                    <a:pt x="63" y="52"/>
                    <a:pt x="59" y="56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2" y="63"/>
                    <a:pt x="48" y="68"/>
                    <a:pt x="44" y="72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37" y="81"/>
                    <a:pt x="32" y="89"/>
                    <a:pt x="27" y="97"/>
                  </a:cubicBezTo>
                  <a:cubicBezTo>
                    <a:pt x="29" y="97"/>
                    <a:pt x="29" y="97"/>
                    <a:pt x="29" y="97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19" y="111"/>
                    <a:pt x="16" y="118"/>
                    <a:pt x="13" y="126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0" y="133"/>
                    <a:pt x="10" y="133"/>
                    <a:pt x="10" y="133"/>
                  </a:cubicBezTo>
                  <a:cubicBezTo>
                    <a:pt x="9" y="136"/>
                    <a:pt x="9" y="138"/>
                    <a:pt x="8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8"/>
                    <a:pt x="15" y="148"/>
                    <a:pt x="15" y="148"/>
                  </a:cubicBezTo>
                  <a:cubicBezTo>
                    <a:pt x="8" y="148"/>
                    <a:pt x="8" y="148"/>
                    <a:pt x="8" y="148"/>
                  </a:cubicBezTo>
                  <a:cubicBezTo>
                    <a:pt x="8" y="141"/>
                    <a:pt x="8" y="141"/>
                    <a:pt x="8" y="141"/>
                  </a:cubicBezTo>
                  <a:cubicBezTo>
                    <a:pt x="3" y="159"/>
                    <a:pt x="0" y="177"/>
                    <a:pt x="0" y="196"/>
                  </a:cubicBezTo>
                  <a:cubicBezTo>
                    <a:pt x="0" y="215"/>
                    <a:pt x="3" y="233"/>
                    <a:pt x="8" y="251"/>
                  </a:cubicBezTo>
                  <a:cubicBezTo>
                    <a:pt x="8" y="244"/>
                    <a:pt x="8" y="244"/>
                    <a:pt x="8" y="244"/>
                  </a:cubicBezTo>
                  <a:cubicBezTo>
                    <a:pt x="15" y="244"/>
                    <a:pt x="15" y="244"/>
                    <a:pt x="15" y="244"/>
                  </a:cubicBezTo>
                  <a:cubicBezTo>
                    <a:pt x="15" y="251"/>
                    <a:pt x="15" y="251"/>
                    <a:pt x="15" y="251"/>
                  </a:cubicBezTo>
                  <a:cubicBezTo>
                    <a:pt x="8" y="251"/>
                    <a:pt x="8" y="251"/>
                    <a:pt x="8" y="251"/>
                  </a:cubicBezTo>
                  <a:cubicBezTo>
                    <a:pt x="9" y="254"/>
                    <a:pt x="9" y="256"/>
                    <a:pt x="10" y="259"/>
                  </a:cubicBezTo>
                  <a:cubicBezTo>
                    <a:pt x="15" y="259"/>
                    <a:pt x="15" y="259"/>
                    <a:pt x="15" y="259"/>
                  </a:cubicBezTo>
                  <a:cubicBezTo>
                    <a:pt x="15" y="266"/>
                    <a:pt x="15" y="266"/>
                    <a:pt x="15" y="266"/>
                  </a:cubicBezTo>
                  <a:cubicBezTo>
                    <a:pt x="13" y="266"/>
                    <a:pt x="13" y="266"/>
                    <a:pt x="13" y="266"/>
                  </a:cubicBezTo>
                  <a:cubicBezTo>
                    <a:pt x="16" y="274"/>
                    <a:pt x="19" y="281"/>
                    <a:pt x="23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9" y="295"/>
                    <a:pt x="29" y="295"/>
                    <a:pt x="29" y="295"/>
                  </a:cubicBezTo>
                  <a:cubicBezTo>
                    <a:pt x="27" y="295"/>
                    <a:pt x="27" y="295"/>
                    <a:pt x="27" y="295"/>
                  </a:cubicBezTo>
                  <a:cubicBezTo>
                    <a:pt x="32" y="303"/>
                    <a:pt x="37" y="311"/>
                    <a:pt x="43" y="318"/>
                  </a:cubicBezTo>
                  <a:cubicBezTo>
                    <a:pt x="44" y="318"/>
                    <a:pt x="44" y="318"/>
                    <a:pt x="44" y="318"/>
                  </a:cubicBezTo>
                  <a:cubicBezTo>
                    <a:pt x="44" y="320"/>
                    <a:pt x="44" y="320"/>
                    <a:pt x="44" y="320"/>
                  </a:cubicBezTo>
                  <a:cubicBezTo>
                    <a:pt x="48" y="324"/>
                    <a:pt x="52" y="329"/>
                    <a:pt x="56" y="333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36"/>
                    <a:pt x="59" y="336"/>
                    <a:pt x="59" y="336"/>
                  </a:cubicBezTo>
                  <a:cubicBezTo>
                    <a:pt x="63" y="340"/>
                    <a:pt x="67" y="344"/>
                    <a:pt x="72" y="347"/>
                  </a:cubicBezTo>
                  <a:cubicBezTo>
                    <a:pt x="74" y="347"/>
                    <a:pt x="74" y="347"/>
                    <a:pt x="74" y="347"/>
                  </a:cubicBezTo>
                  <a:cubicBezTo>
                    <a:pt x="74" y="349"/>
                    <a:pt x="74" y="349"/>
                    <a:pt x="74" y="349"/>
                  </a:cubicBezTo>
                  <a:cubicBezTo>
                    <a:pt x="81" y="355"/>
                    <a:pt x="88" y="360"/>
                    <a:pt x="96" y="365"/>
                  </a:cubicBezTo>
                  <a:cubicBezTo>
                    <a:pt x="96" y="362"/>
                    <a:pt x="96" y="362"/>
                    <a:pt x="96" y="362"/>
                  </a:cubicBezTo>
                  <a:cubicBezTo>
                    <a:pt x="103" y="362"/>
                    <a:pt x="103" y="362"/>
                    <a:pt x="103" y="362"/>
                  </a:cubicBezTo>
                  <a:cubicBezTo>
                    <a:pt x="103" y="368"/>
                    <a:pt x="103" y="368"/>
                    <a:pt x="103" y="368"/>
                  </a:cubicBezTo>
                  <a:cubicBezTo>
                    <a:pt x="110" y="372"/>
                    <a:pt x="118" y="376"/>
                    <a:pt x="126" y="379"/>
                  </a:cubicBezTo>
                  <a:cubicBezTo>
                    <a:pt x="126" y="377"/>
                    <a:pt x="126" y="377"/>
                    <a:pt x="126" y="377"/>
                  </a:cubicBezTo>
                  <a:cubicBezTo>
                    <a:pt x="133" y="377"/>
                    <a:pt x="133" y="377"/>
                    <a:pt x="133" y="377"/>
                  </a:cubicBezTo>
                  <a:cubicBezTo>
                    <a:pt x="133" y="381"/>
                    <a:pt x="133" y="381"/>
                    <a:pt x="133" y="381"/>
                  </a:cubicBezTo>
                  <a:cubicBezTo>
                    <a:pt x="135" y="382"/>
                    <a:pt x="138" y="383"/>
                    <a:pt x="140" y="384"/>
                  </a:cubicBezTo>
                  <a:cubicBezTo>
                    <a:pt x="140" y="377"/>
                    <a:pt x="140" y="377"/>
                    <a:pt x="140" y="377"/>
                  </a:cubicBezTo>
                  <a:cubicBezTo>
                    <a:pt x="147" y="377"/>
                    <a:pt x="147" y="377"/>
                    <a:pt x="147" y="377"/>
                  </a:cubicBezTo>
                  <a:cubicBezTo>
                    <a:pt x="147" y="384"/>
                    <a:pt x="147" y="384"/>
                    <a:pt x="147" y="384"/>
                  </a:cubicBezTo>
                  <a:cubicBezTo>
                    <a:pt x="141" y="384"/>
                    <a:pt x="141" y="384"/>
                    <a:pt x="141" y="384"/>
                  </a:cubicBezTo>
                  <a:cubicBezTo>
                    <a:pt x="158" y="389"/>
                    <a:pt x="177" y="392"/>
                    <a:pt x="196" y="392"/>
                  </a:cubicBezTo>
                  <a:cubicBezTo>
                    <a:pt x="215" y="392"/>
                    <a:pt x="233" y="389"/>
                    <a:pt x="250" y="384"/>
                  </a:cubicBezTo>
                  <a:cubicBezTo>
                    <a:pt x="244" y="384"/>
                    <a:pt x="244" y="384"/>
                    <a:pt x="244" y="384"/>
                  </a:cubicBezTo>
                  <a:cubicBezTo>
                    <a:pt x="244" y="377"/>
                    <a:pt x="244" y="377"/>
                    <a:pt x="244" y="377"/>
                  </a:cubicBezTo>
                  <a:cubicBezTo>
                    <a:pt x="251" y="377"/>
                    <a:pt x="251" y="377"/>
                    <a:pt x="251" y="377"/>
                  </a:cubicBezTo>
                  <a:cubicBezTo>
                    <a:pt x="251" y="384"/>
                    <a:pt x="251" y="384"/>
                    <a:pt x="251" y="384"/>
                  </a:cubicBezTo>
                  <a:cubicBezTo>
                    <a:pt x="253" y="383"/>
                    <a:pt x="256" y="382"/>
                    <a:pt x="258" y="381"/>
                  </a:cubicBezTo>
                  <a:cubicBezTo>
                    <a:pt x="258" y="377"/>
                    <a:pt x="258" y="377"/>
                    <a:pt x="258" y="377"/>
                  </a:cubicBezTo>
                  <a:cubicBezTo>
                    <a:pt x="265" y="377"/>
                    <a:pt x="265" y="377"/>
                    <a:pt x="265" y="377"/>
                  </a:cubicBezTo>
                  <a:cubicBezTo>
                    <a:pt x="265" y="379"/>
                    <a:pt x="265" y="379"/>
                    <a:pt x="265" y="379"/>
                  </a:cubicBezTo>
                  <a:cubicBezTo>
                    <a:pt x="273" y="376"/>
                    <a:pt x="281" y="372"/>
                    <a:pt x="288" y="368"/>
                  </a:cubicBezTo>
                  <a:cubicBezTo>
                    <a:pt x="288" y="362"/>
                    <a:pt x="288" y="362"/>
                    <a:pt x="288" y="362"/>
                  </a:cubicBezTo>
                  <a:cubicBezTo>
                    <a:pt x="295" y="362"/>
                    <a:pt x="295" y="362"/>
                    <a:pt x="295" y="362"/>
                  </a:cubicBezTo>
                  <a:cubicBezTo>
                    <a:pt x="295" y="365"/>
                    <a:pt x="295" y="365"/>
                    <a:pt x="295" y="365"/>
                  </a:cubicBezTo>
                  <a:cubicBezTo>
                    <a:pt x="303" y="360"/>
                    <a:pt x="310" y="355"/>
                    <a:pt x="317" y="349"/>
                  </a:cubicBezTo>
                  <a:cubicBezTo>
                    <a:pt x="317" y="347"/>
                    <a:pt x="317" y="347"/>
                    <a:pt x="317" y="347"/>
                  </a:cubicBezTo>
                  <a:cubicBezTo>
                    <a:pt x="319" y="347"/>
                    <a:pt x="319" y="347"/>
                    <a:pt x="319" y="347"/>
                  </a:cubicBezTo>
                  <a:cubicBezTo>
                    <a:pt x="324" y="344"/>
                    <a:pt x="328" y="340"/>
                    <a:pt x="332" y="336"/>
                  </a:cubicBezTo>
                  <a:cubicBezTo>
                    <a:pt x="332" y="333"/>
                    <a:pt x="332" y="333"/>
                    <a:pt x="332" y="333"/>
                  </a:cubicBezTo>
                  <a:cubicBezTo>
                    <a:pt x="336" y="333"/>
                    <a:pt x="336" y="333"/>
                    <a:pt x="336" y="333"/>
                  </a:cubicBezTo>
                  <a:cubicBezTo>
                    <a:pt x="339" y="329"/>
                    <a:pt x="343" y="324"/>
                    <a:pt x="347" y="320"/>
                  </a:cubicBezTo>
                  <a:cubicBezTo>
                    <a:pt x="347" y="318"/>
                    <a:pt x="347" y="318"/>
                    <a:pt x="347" y="318"/>
                  </a:cubicBezTo>
                  <a:cubicBezTo>
                    <a:pt x="349" y="318"/>
                    <a:pt x="349" y="318"/>
                    <a:pt x="349" y="318"/>
                  </a:cubicBezTo>
                  <a:cubicBezTo>
                    <a:pt x="354" y="311"/>
                    <a:pt x="359" y="303"/>
                    <a:pt x="364" y="295"/>
                  </a:cubicBezTo>
                  <a:cubicBezTo>
                    <a:pt x="362" y="295"/>
                    <a:pt x="362" y="295"/>
                    <a:pt x="362" y="295"/>
                  </a:cubicBezTo>
                  <a:cubicBezTo>
                    <a:pt x="362" y="288"/>
                    <a:pt x="362" y="288"/>
                    <a:pt x="362" y="288"/>
                  </a:cubicBezTo>
                  <a:cubicBezTo>
                    <a:pt x="368" y="288"/>
                    <a:pt x="368" y="288"/>
                    <a:pt x="368" y="288"/>
                  </a:cubicBezTo>
                  <a:cubicBezTo>
                    <a:pt x="372" y="281"/>
                    <a:pt x="375" y="274"/>
                    <a:pt x="378" y="266"/>
                  </a:cubicBezTo>
                  <a:cubicBezTo>
                    <a:pt x="376" y="266"/>
                    <a:pt x="376" y="266"/>
                    <a:pt x="376" y="266"/>
                  </a:cubicBezTo>
                  <a:cubicBezTo>
                    <a:pt x="376" y="259"/>
                    <a:pt x="376" y="259"/>
                    <a:pt x="376" y="259"/>
                  </a:cubicBezTo>
                  <a:cubicBezTo>
                    <a:pt x="381" y="259"/>
                    <a:pt x="381" y="259"/>
                    <a:pt x="381" y="259"/>
                  </a:cubicBezTo>
                  <a:cubicBezTo>
                    <a:pt x="382" y="256"/>
                    <a:pt x="382" y="254"/>
                    <a:pt x="383" y="251"/>
                  </a:cubicBezTo>
                  <a:cubicBezTo>
                    <a:pt x="376" y="251"/>
                    <a:pt x="376" y="251"/>
                    <a:pt x="376" y="251"/>
                  </a:cubicBezTo>
                  <a:cubicBezTo>
                    <a:pt x="376" y="244"/>
                    <a:pt x="376" y="244"/>
                    <a:pt x="376" y="244"/>
                  </a:cubicBezTo>
                  <a:cubicBezTo>
                    <a:pt x="383" y="244"/>
                    <a:pt x="383" y="244"/>
                    <a:pt x="383" y="244"/>
                  </a:cubicBezTo>
                  <a:cubicBezTo>
                    <a:pt x="383" y="251"/>
                    <a:pt x="383" y="251"/>
                    <a:pt x="383" y="251"/>
                  </a:cubicBezTo>
                  <a:cubicBezTo>
                    <a:pt x="388" y="233"/>
                    <a:pt x="391" y="215"/>
                    <a:pt x="391" y="196"/>
                  </a:cubicBezTo>
                  <a:cubicBezTo>
                    <a:pt x="391" y="177"/>
                    <a:pt x="388" y="159"/>
                    <a:pt x="383" y="141"/>
                  </a:cubicBezTo>
                  <a:cubicBezTo>
                    <a:pt x="383" y="148"/>
                    <a:pt x="383" y="148"/>
                    <a:pt x="383" y="148"/>
                  </a:cubicBezTo>
                  <a:cubicBezTo>
                    <a:pt x="376" y="148"/>
                    <a:pt x="376" y="148"/>
                    <a:pt x="376" y="148"/>
                  </a:cubicBezTo>
                  <a:cubicBezTo>
                    <a:pt x="376" y="141"/>
                    <a:pt x="376" y="141"/>
                    <a:pt x="376" y="141"/>
                  </a:cubicBezTo>
                  <a:cubicBezTo>
                    <a:pt x="383" y="141"/>
                    <a:pt x="383" y="141"/>
                    <a:pt x="383" y="141"/>
                  </a:cubicBezTo>
                  <a:cubicBezTo>
                    <a:pt x="382" y="138"/>
                    <a:pt x="382" y="136"/>
                    <a:pt x="381" y="133"/>
                  </a:cubicBezTo>
                  <a:cubicBezTo>
                    <a:pt x="376" y="133"/>
                    <a:pt x="376" y="133"/>
                    <a:pt x="376" y="133"/>
                  </a:cubicBezTo>
                  <a:cubicBezTo>
                    <a:pt x="376" y="126"/>
                    <a:pt x="376" y="126"/>
                    <a:pt x="376" y="126"/>
                  </a:cubicBezTo>
                  <a:cubicBezTo>
                    <a:pt x="378" y="126"/>
                    <a:pt x="378" y="126"/>
                    <a:pt x="378" y="126"/>
                  </a:cubicBezTo>
                  <a:cubicBezTo>
                    <a:pt x="375" y="118"/>
                    <a:pt x="372" y="111"/>
                    <a:pt x="368" y="104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2" y="97"/>
                    <a:pt x="362" y="97"/>
                    <a:pt x="362" y="97"/>
                  </a:cubicBezTo>
                  <a:cubicBezTo>
                    <a:pt x="364" y="97"/>
                    <a:pt x="364" y="97"/>
                    <a:pt x="364" y="97"/>
                  </a:cubicBezTo>
                  <a:cubicBezTo>
                    <a:pt x="359" y="89"/>
                    <a:pt x="354" y="81"/>
                    <a:pt x="349" y="74"/>
                  </a:cubicBezTo>
                  <a:cubicBezTo>
                    <a:pt x="347" y="74"/>
                    <a:pt x="347" y="74"/>
                    <a:pt x="347" y="74"/>
                  </a:cubicBezTo>
                  <a:cubicBezTo>
                    <a:pt x="347" y="72"/>
                    <a:pt x="347" y="72"/>
                    <a:pt x="347" y="72"/>
                  </a:cubicBezTo>
                  <a:cubicBezTo>
                    <a:pt x="343" y="68"/>
                    <a:pt x="339" y="63"/>
                    <a:pt x="336" y="59"/>
                  </a:cubicBezTo>
                  <a:cubicBezTo>
                    <a:pt x="332" y="59"/>
                    <a:pt x="332" y="59"/>
                    <a:pt x="332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28" y="52"/>
                    <a:pt x="324" y="48"/>
                    <a:pt x="319" y="45"/>
                  </a:cubicBezTo>
                  <a:cubicBezTo>
                    <a:pt x="317" y="45"/>
                    <a:pt x="317" y="45"/>
                    <a:pt x="317" y="45"/>
                  </a:cubicBezTo>
                  <a:cubicBezTo>
                    <a:pt x="317" y="43"/>
                    <a:pt x="317" y="43"/>
                    <a:pt x="317" y="43"/>
                  </a:cubicBezTo>
                  <a:cubicBezTo>
                    <a:pt x="310" y="37"/>
                    <a:pt x="303" y="32"/>
                    <a:pt x="295" y="28"/>
                  </a:cubicBezTo>
                  <a:cubicBezTo>
                    <a:pt x="295" y="30"/>
                    <a:pt x="295" y="30"/>
                    <a:pt x="295" y="30"/>
                  </a:cubicBezTo>
                  <a:cubicBezTo>
                    <a:pt x="288" y="30"/>
                    <a:pt x="288" y="30"/>
                    <a:pt x="288" y="30"/>
                  </a:cubicBezTo>
                  <a:cubicBezTo>
                    <a:pt x="288" y="24"/>
                    <a:pt x="288" y="24"/>
                    <a:pt x="288" y="24"/>
                  </a:cubicBezTo>
                  <a:cubicBezTo>
                    <a:pt x="281" y="20"/>
                    <a:pt x="273" y="16"/>
                    <a:pt x="265" y="13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58" y="15"/>
                    <a:pt x="258" y="15"/>
                    <a:pt x="258" y="15"/>
                  </a:cubicBezTo>
                  <a:cubicBezTo>
                    <a:pt x="258" y="11"/>
                    <a:pt x="258" y="11"/>
                    <a:pt x="258" y="11"/>
                  </a:cubicBezTo>
                  <a:cubicBezTo>
                    <a:pt x="256" y="10"/>
                    <a:pt x="253" y="9"/>
                    <a:pt x="251" y="8"/>
                  </a:cubicBezTo>
                  <a:cubicBezTo>
                    <a:pt x="251" y="15"/>
                    <a:pt x="251" y="15"/>
                    <a:pt x="251" y="15"/>
                  </a:cubicBezTo>
                  <a:cubicBezTo>
                    <a:pt x="244" y="15"/>
                    <a:pt x="244" y="15"/>
                    <a:pt x="244" y="15"/>
                  </a:cubicBezTo>
                  <a:cubicBezTo>
                    <a:pt x="244" y="8"/>
                    <a:pt x="244" y="8"/>
                    <a:pt x="244" y="8"/>
                  </a:cubicBezTo>
                  <a:cubicBezTo>
                    <a:pt x="250" y="8"/>
                    <a:pt x="250" y="8"/>
                    <a:pt x="250" y="8"/>
                  </a:cubicBezTo>
                  <a:cubicBezTo>
                    <a:pt x="233" y="3"/>
                    <a:pt x="214" y="0"/>
                    <a:pt x="196" y="0"/>
                  </a:cubicBezTo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6" name="îṡliďé">
              <a:extLst>
                <a:ext uri="{FF2B5EF4-FFF2-40B4-BE49-F238E27FC236}">
                  <a16:creationId xmlns:a16="http://schemas.microsoft.com/office/drawing/2014/main" xmlns="" id="{B47C3321-6301-484F-B530-FEC539BB18B1}"/>
                </a:ext>
              </a:extLst>
            </p:cNvPr>
            <p:cNvSpPr/>
            <p:nvPr/>
          </p:nvSpPr>
          <p:spPr bwMode="auto">
            <a:xfrm>
              <a:off x="2655339" y="2859178"/>
              <a:ext cx="1614486" cy="3382959"/>
            </a:xfrm>
            <a:custGeom>
              <a:avLst/>
              <a:gdLst>
                <a:gd name="T0" fmla="*/ 741 w 741"/>
                <a:gd name="T1" fmla="*/ 1492 h 1555"/>
                <a:gd name="T2" fmla="*/ 678 w 741"/>
                <a:gd name="T3" fmla="*/ 1555 h 1555"/>
                <a:gd name="T4" fmla="*/ 63 w 741"/>
                <a:gd name="T5" fmla="*/ 1555 h 1555"/>
                <a:gd name="T6" fmla="*/ 0 w 741"/>
                <a:gd name="T7" fmla="*/ 1492 h 1555"/>
                <a:gd name="T8" fmla="*/ 0 w 741"/>
                <a:gd name="T9" fmla="*/ 62 h 1555"/>
                <a:gd name="T10" fmla="*/ 63 w 741"/>
                <a:gd name="T11" fmla="*/ 0 h 1555"/>
                <a:gd name="T12" fmla="*/ 678 w 741"/>
                <a:gd name="T13" fmla="*/ 0 h 1555"/>
                <a:gd name="T14" fmla="*/ 741 w 741"/>
                <a:gd name="T15" fmla="*/ 62 h 1555"/>
                <a:gd name="T16" fmla="*/ 741 w 741"/>
                <a:gd name="T17" fmla="*/ 1492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1" h="1555">
                  <a:moveTo>
                    <a:pt x="741" y="1492"/>
                  </a:moveTo>
                  <a:cubicBezTo>
                    <a:pt x="741" y="1527"/>
                    <a:pt x="713" y="1555"/>
                    <a:pt x="678" y="1555"/>
                  </a:cubicBezTo>
                  <a:cubicBezTo>
                    <a:pt x="63" y="1555"/>
                    <a:pt x="63" y="1555"/>
                    <a:pt x="63" y="1555"/>
                  </a:cubicBezTo>
                  <a:cubicBezTo>
                    <a:pt x="28" y="1555"/>
                    <a:pt x="0" y="1527"/>
                    <a:pt x="0" y="149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678" y="0"/>
                    <a:pt x="678" y="0"/>
                    <a:pt x="678" y="0"/>
                  </a:cubicBezTo>
                  <a:cubicBezTo>
                    <a:pt x="713" y="0"/>
                    <a:pt x="741" y="28"/>
                    <a:pt x="741" y="62"/>
                  </a:cubicBezTo>
                  <a:lnTo>
                    <a:pt x="741" y="149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7" name="ïṧliďe">
              <a:extLst>
                <a:ext uri="{FF2B5EF4-FFF2-40B4-BE49-F238E27FC236}">
                  <a16:creationId xmlns:a16="http://schemas.microsoft.com/office/drawing/2014/main" xmlns="" id="{4A795552-DC14-4D4A-AC34-43EE32E61C5E}"/>
                </a:ext>
              </a:extLst>
            </p:cNvPr>
            <p:cNvSpPr/>
            <p:nvPr/>
          </p:nvSpPr>
          <p:spPr bwMode="auto">
            <a:xfrm>
              <a:off x="2753764" y="3154453"/>
              <a:ext cx="1417636" cy="400050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8" name="íṧḻidé">
              <a:extLst>
                <a:ext uri="{FF2B5EF4-FFF2-40B4-BE49-F238E27FC236}">
                  <a16:creationId xmlns:a16="http://schemas.microsoft.com/office/drawing/2014/main" xmlns="" id="{0D502321-7BDC-4465-A5DF-C96A13166EC8}"/>
                </a:ext>
              </a:extLst>
            </p:cNvPr>
            <p:cNvSpPr/>
            <p:nvPr/>
          </p:nvSpPr>
          <p:spPr bwMode="auto">
            <a:xfrm>
              <a:off x="2745826" y="4340314"/>
              <a:ext cx="1435099" cy="417512"/>
            </a:xfrm>
            <a:custGeom>
              <a:avLst/>
              <a:gdLst>
                <a:gd name="T0" fmla="*/ 898 w 904"/>
                <a:gd name="T1" fmla="*/ 258 h 263"/>
                <a:gd name="T2" fmla="*/ 898 w 904"/>
                <a:gd name="T3" fmla="*/ 252 h 263"/>
                <a:gd name="T4" fmla="*/ 11 w 904"/>
                <a:gd name="T5" fmla="*/ 252 h 263"/>
                <a:gd name="T6" fmla="*/ 11 w 904"/>
                <a:gd name="T7" fmla="*/ 11 h 263"/>
                <a:gd name="T8" fmla="*/ 893 w 904"/>
                <a:gd name="T9" fmla="*/ 11 h 263"/>
                <a:gd name="T10" fmla="*/ 893 w 904"/>
                <a:gd name="T11" fmla="*/ 258 h 263"/>
                <a:gd name="T12" fmla="*/ 898 w 904"/>
                <a:gd name="T13" fmla="*/ 258 h 263"/>
                <a:gd name="T14" fmla="*/ 898 w 904"/>
                <a:gd name="T15" fmla="*/ 252 h 263"/>
                <a:gd name="T16" fmla="*/ 898 w 904"/>
                <a:gd name="T17" fmla="*/ 258 h 263"/>
                <a:gd name="T18" fmla="*/ 904 w 904"/>
                <a:gd name="T19" fmla="*/ 258 h 263"/>
                <a:gd name="T20" fmla="*/ 904 w 904"/>
                <a:gd name="T21" fmla="*/ 0 h 263"/>
                <a:gd name="T22" fmla="*/ 0 w 904"/>
                <a:gd name="T23" fmla="*/ 0 h 263"/>
                <a:gd name="T24" fmla="*/ 0 w 904"/>
                <a:gd name="T25" fmla="*/ 263 h 263"/>
                <a:gd name="T26" fmla="*/ 904 w 904"/>
                <a:gd name="T27" fmla="*/ 263 h 263"/>
                <a:gd name="T28" fmla="*/ 904 w 904"/>
                <a:gd name="T29" fmla="*/ 258 h 263"/>
                <a:gd name="T30" fmla="*/ 898 w 904"/>
                <a:gd name="T31" fmla="*/ 25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04" h="263">
                  <a:moveTo>
                    <a:pt x="898" y="258"/>
                  </a:moveTo>
                  <a:lnTo>
                    <a:pt x="898" y="252"/>
                  </a:lnTo>
                  <a:lnTo>
                    <a:pt x="11" y="252"/>
                  </a:lnTo>
                  <a:lnTo>
                    <a:pt x="11" y="11"/>
                  </a:lnTo>
                  <a:lnTo>
                    <a:pt x="893" y="11"/>
                  </a:lnTo>
                  <a:lnTo>
                    <a:pt x="893" y="258"/>
                  </a:lnTo>
                  <a:lnTo>
                    <a:pt x="898" y="258"/>
                  </a:lnTo>
                  <a:lnTo>
                    <a:pt x="898" y="252"/>
                  </a:lnTo>
                  <a:lnTo>
                    <a:pt x="898" y="258"/>
                  </a:lnTo>
                  <a:lnTo>
                    <a:pt x="904" y="258"/>
                  </a:lnTo>
                  <a:lnTo>
                    <a:pt x="904" y="0"/>
                  </a:lnTo>
                  <a:lnTo>
                    <a:pt x="0" y="0"/>
                  </a:lnTo>
                  <a:lnTo>
                    <a:pt x="0" y="263"/>
                  </a:lnTo>
                  <a:lnTo>
                    <a:pt x="904" y="263"/>
                  </a:lnTo>
                  <a:lnTo>
                    <a:pt x="904" y="258"/>
                  </a:lnTo>
                  <a:lnTo>
                    <a:pt x="898" y="258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îṥľîḑê">
              <a:extLst>
                <a:ext uri="{FF2B5EF4-FFF2-40B4-BE49-F238E27FC236}">
                  <a16:creationId xmlns:a16="http://schemas.microsoft.com/office/drawing/2014/main" xmlns="" id="{5368859F-BEB4-4625-A0E1-A6DD1CCFC8BA}"/>
                </a:ext>
              </a:extLst>
            </p:cNvPr>
            <p:cNvSpPr/>
            <p:nvPr/>
          </p:nvSpPr>
          <p:spPr bwMode="auto">
            <a:xfrm>
              <a:off x="2753764" y="3600540"/>
              <a:ext cx="1417636" cy="400050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išḷîḋè">
              <a:extLst>
                <a:ext uri="{FF2B5EF4-FFF2-40B4-BE49-F238E27FC236}">
                  <a16:creationId xmlns:a16="http://schemas.microsoft.com/office/drawing/2014/main" xmlns="" id="{5E13DCE0-D1C8-4ECD-9FB8-B69FDFD522DF}"/>
                </a:ext>
              </a:extLst>
            </p:cNvPr>
            <p:cNvSpPr/>
            <p:nvPr/>
          </p:nvSpPr>
          <p:spPr bwMode="auto">
            <a:xfrm>
              <a:off x="2818851" y="3754527"/>
              <a:ext cx="982662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1" name="iṣľíďê">
              <a:extLst>
                <a:ext uri="{FF2B5EF4-FFF2-40B4-BE49-F238E27FC236}">
                  <a16:creationId xmlns:a16="http://schemas.microsoft.com/office/drawing/2014/main" xmlns="" id="{F380FFEA-0A91-4EC0-B107-CCC44F5343A0}"/>
                </a:ext>
              </a:extLst>
            </p:cNvPr>
            <p:cNvSpPr/>
            <p:nvPr/>
          </p:nvSpPr>
          <p:spPr bwMode="auto">
            <a:xfrm>
              <a:off x="3826913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" name="işḻïḑê">
              <a:extLst>
                <a:ext uri="{FF2B5EF4-FFF2-40B4-BE49-F238E27FC236}">
                  <a16:creationId xmlns:a16="http://schemas.microsoft.com/office/drawing/2014/main" xmlns="" id="{C81B81CF-993F-4525-9106-0C9C28386ACB}"/>
                </a:ext>
              </a:extLst>
            </p:cNvPr>
            <p:cNvSpPr/>
            <p:nvPr/>
          </p:nvSpPr>
          <p:spPr bwMode="auto">
            <a:xfrm>
              <a:off x="3930100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iSlïḑe">
              <a:extLst>
                <a:ext uri="{FF2B5EF4-FFF2-40B4-BE49-F238E27FC236}">
                  <a16:creationId xmlns:a16="http://schemas.microsoft.com/office/drawing/2014/main" xmlns="" id="{A3FA91F0-C79C-4CF9-99BD-2A7E858B75DA}"/>
                </a:ext>
              </a:extLst>
            </p:cNvPr>
            <p:cNvSpPr/>
            <p:nvPr/>
          </p:nvSpPr>
          <p:spPr bwMode="auto">
            <a:xfrm>
              <a:off x="4030113" y="3754527"/>
              <a:ext cx="76200" cy="889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4" name="ïŝ1ïḋe">
              <a:extLst>
                <a:ext uri="{FF2B5EF4-FFF2-40B4-BE49-F238E27FC236}">
                  <a16:creationId xmlns:a16="http://schemas.microsoft.com/office/drawing/2014/main" xmlns="" id="{2EE33EDE-FD1B-4C51-8B88-6927E5AD989D}"/>
                </a:ext>
              </a:extLst>
            </p:cNvPr>
            <p:cNvSpPr/>
            <p:nvPr/>
          </p:nvSpPr>
          <p:spPr bwMode="auto">
            <a:xfrm>
              <a:off x="2893464" y="4532401"/>
              <a:ext cx="88900" cy="3651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išḻíďê">
              <a:extLst>
                <a:ext uri="{FF2B5EF4-FFF2-40B4-BE49-F238E27FC236}">
                  <a16:creationId xmlns:a16="http://schemas.microsoft.com/office/drawing/2014/main" xmlns="" id="{DFF0A752-36F2-4C4A-B226-BDE9B9B699F5}"/>
                </a:ext>
              </a:extLst>
            </p:cNvPr>
            <p:cNvSpPr/>
            <p:nvPr/>
          </p:nvSpPr>
          <p:spPr bwMode="auto">
            <a:xfrm>
              <a:off x="3214138" y="4532401"/>
              <a:ext cx="85725" cy="3651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6" name="ï$ļïde">
              <a:extLst>
                <a:ext uri="{FF2B5EF4-FFF2-40B4-BE49-F238E27FC236}">
                  <a16:creationId xmlns:a16="http://schemas.microsoft.com/office/drawing/2014/main" xmlns="" id="{C3B54801-EBF8-485A-90BE-E0F862F2C37B}"/>
                </a:ext>
              </a:extLst>
            </p:cNvPr>
            <p:cNvSpPr/>
            <p:nvPr/>
          </p:nvSpPr>
          <p:spPr bwMode="auto">
            <a:xfrm>
              <a:off x="3026814" y="4532401"/>
              <a:ext cx="36512" cy="36512"/>
            </a:xfrm>
            <a:prstGeom prst="ellipse">
              <a:avLst/>
            </a:prstGeom>
            <a:solidFill>
              <a:srgbClr val="FF7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ïşḷide">
              <a:extLst>
                <a:ext uri="{FF2B5EF4-FFF2-40B4-BE49-F238E27FC236}">
                  <a16:creationId xmlns:a16="http://schemas.microsoft.com/office/drawing/2014/main" xmlns="" id="{F9FA0D07-906F-41E4-804D-D7AB75A8CBCF}"/>
                </a:ext>
              </a:extLst>
            </p:cNvPr>
            <p:cNvSpPr/>
            <p:nvPr/>
          </p:nvSpPr>
          <p:spPr bwMode="auto">
            <a:xfrm>
              <a:off x="3133176" y="4532401"/>
              <a:ext cx="36512" cy="36512"/>
            </a:xfrm>
            <a:prstGeom prst="ellipse">
              <a:avLst/>
            </a:prstGeom>
            <a:solidFill>
              <a:srgbClr val="8BC5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" name="ïṣ1îḑè">
              <a:extLst>
                <a:ext uri="{FF2B5EF4-FFF2-40B4-BE49-F238E27FC236}">
                  <a16:creationId xmlns:a16="http://schemas.microsoft.com/office/drawing/2014/main" xmlns="" id="{EB7A0966-5F73-4975-8FCC-3DB8C7A369E0}"/>
                </a:ext>
              </a:extLst>
            </p:cNvPr>
            <p:cNvSpPr/>
            <p:nvPr/>
          </p:nvSpPr>
          <p:spPr bwMode="auto">
            <a:xfrm>
              <a:off x="3925338" y="4497476"/>
              <a:ext cx="106362" cy="106362"/>
            </a:xfrm>
            <a:custGeom>
              <a:avLst/>
              <a:gdLst>
                <a:gd name="T0" fmla="*/ 49 w 49"/>
                <a:gd name="T1" fmla="*/ 41 h 49"/>
                <a:gd name="T2" fmla="*/ 41 w 49"/>
                <a:gd name="T3" fmla="*/ 49 h 49"/>
                <a:gd name="T4" fmla="*/ 7 w 49"/>
                <a:gd name="T5" fmla="*/ 49 h 49"/>
                <a:gd name="T6" fmla="*/ 0 w 49"/>
                <a:gd name="T7" fmla="*/ 41 h 49"/>
                <a:gd name="T8" fmla="*/ 0 w 49"/>
                <a:gd name="T9" fmla="*/ 7 h 49"/>
                <a:gd name="T10" fmla="*/ 7 w 49"/>
                <a:gd name="T11" fmla="*/ 0 h 49"/>
                <a:gd name="T12" fmla="*/ 41 w 49"/>
                <a:gd name="T13" fmla="*/ 0 h 49"/>
                <a:gd name="T14" fmla="*/ 49 w 49"/>
                <a:gd name="T15" fmla="*/ 7 h 49"/>
                <a:gd name="T16" fmla="*/ 49 w 49"/>
                <a:gd name="T17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49">
                  <a:moveTo>
                    <a:pt x="49" y="41"/>
                  </a:moveTo>
                  <a:cubicBezTo>
                    <a:pt x="49" y="45"/>
                    <a:pt x="45" y="49"/>
                    <a:pt x="41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3" y="49"/>
                    <a:pt x="0" y="45"/>
                    <a:pt x="0" y="4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5" y="0"/>
                    <a:pt x="49" y="3"/>
                    <a:pt x="49" y="7"/>
                  </a:cubicBezTo>
                  <a:lnTo>
                    <a:pt x="49" y="41"/>
                  </a:lnTo>
                  <a:close/>
                </a:path>
              </a:pathLst>
            </a:custGeom>
            <a:solidFill>
              <a:srgbClr val="0071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îślîḓè">
              <a:extLst>
                <a:ext uri="{FF2B5EF4-FFF2-40B4-BE49-F238E27FC236}">
                  <a16:creationId xmlns:a16="http://schemas.microsoft.com/office/drawing/2014/main" xmlns="" id="{EB1B6527-E583-4E99-A409-0451A95F8AA5}"/>
                </a:ext>
              </a:extLst>
            </p:cNvPr>
            <p:cNvSpPr/>
            <p:nvPr/>
          </p:nvSpPr>
          <p:spPr bwMode="auto">
            <a:xfrm>
              <a:off x="3349076" y="4497476"/>
              <a:ext cx="528637" cy="106362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" name="íSľíḋe">
              <a:extLst>
                <a:ext uri="{FF2B5EF4-FFF2-40B4-BE49-F238E27FC236}">
                  <a16:creationId xmlns:a16="http://schemas.microsoft.com/office/drawing/2014/main" xmlns="" id="{8D8F3B85-8A83-4DC1-ADC0-3E171D2E41A9}"/>
                </a:ext>
              </a:extLst>
            </p:cNvPr>
            <p:cNvSpPr/>
            <p:nvPr/>
          </p:nvSpPr>
          <p:spPr bwMode="auto">
            <a:xfrm>
              <a:off x="3004589" y="5046750"/>
              <a:ext cx="915987" cy="914399"/>
            </a:xfrm>
            <a:custGeom>
              <a:avLst/>
              <a:gdLst>
                <a:gd name="T0" fmla="*/ 274 w 577"/>
                <a:gd name="T1" fmla="*/ 0 h 576"/>
                <a:gd name="T2" fmla="*/ 0 w 577"/>
                <a:gd name="T3" fmla="*/ 72 h 576"/>
                <a:gd name="T4" fmla="*/ 0 w 577"/>
                <a:gd name="T5" fmla="*/ 375 h 576"/>
                <a:gd name="T6" fmla="*/ 132 w 577"/>
                <a:gd name="T7" fmla="*/ 557 h 576"/>
                <a:gd name="T8" fmla="*/ 436 w 577"/>
                <a:gd name="T9" fmla="*/ 557 h 576"/>
                <a:gd name="T10" fmla="*/ 557 w 577"/>
                <a:gd name="T11" fmla="*/ 375 h 576"/>
                <a:gd name="T12" fmla="*/ 557 w 577"/>
                <a:gd name="T13" fmla="*/ 72 h 576"/>
                <a:gd name="T14" fmla="*/ 536 w 577"/>
                <a:gd name="T15" fmla="*/ 233 h 576"/>
                <a:gd name="T16" fmla="*/ 517 w 577"/>
                <a:gd name="T17" fmla="*/ 51 h 576"/>
                <a:gd name="T18" fmla="*/ 517 w 577"/>
                <a:gd name="T19" fmla="*/ 294 h 576"/>
                <a:gd name="T20" fmla="*/ 132 w 577"/>
                <a:gd name="T21" fmla="*/ 495 h 576"/>
                <a:gd name="T22" fmla="*/ 374 w 577"/>
                <a:gd name="T23" fmla="*/ 495 h 576"/>
                <a:gd name="T24" fmla="*/ 405 w 577"/>
                <a:gd name="T25" fmla="*/ 486 h 576"/>
                <a:gd name="T26" fmla="*/ 162 w 577"/>
                <a:gd name="T27" fmla="*/ 486 h 576"/>
                <a:gd name="T28" fmla="*/ 152 w 577"/>
                <a:gd name="T29" fmla="*/ 516 h 576"/>
                <a:gd name="T30" fmla="*/ 395 w 577"/>
                <a:gd name="T31" fmla="*/ 516 h 576"/>
                <a:gd name="T32" fmla="*/ 496 w 577"/>
                <a:gd name="T33" fmla="*/ 91 h 576"/>
                <a:gd name="T34" fmla="*/ 496 w 577"/>
                <a:gd name="T35" fmla="*/ 333 h 576"/>
                <a:gd name="T36" fmla="*/ 476 w 577"/>
                <a:gd name="T37" fmla="*/ 132 h 576"/>
                <a:gd name="T38" fmla="*/ 476 w 577"/>
                <a:gd name="T39" fmla="*/ 375 h 576"/>
                <a:gd name="T40" fmla="*/ 455 w 577"/>
                <a:gd name="T41" fmla="*/ 172 h 576"/>
                <a:gd name="T42" fmla="*/ 455 w 577"/>
                <a:gd name="T43" fmla="*/ 414 h 576"/>
                <a:gd name="T44" fmla="*/ 436 w 577"/>
                <a:gd name="T45" fmla="*/ 213 h 576"/>
                <a:gd name="T46" fmla="*/ 446 w 577"/>
                <a:gd name="T47" fmla="*/ 455 h 576"/>
                <a:gd name="T48" fmla="*/ 416 w 577"/>
                <a:gd name="T49" fmla="*/ 253 h 576"/>
                <a:gd name="T50" fmla="*/ 395 w 577"/>
                <a:gd name="T51" fmla="*/ 51 h 576"/>
                <a:gd name="T52" fmla="*/ 395 w 577"/>
                <a:gd name="T53" fmla="*/ 294 h 576"/>
                <a:gd name="T54" fmla="*/ 374 w 577"/>
                <a:gd name="T55" fmla="*/ 91 h 576"/>
                <a:gd name="T56" fmla="*/ 374 w 577"/>
                <a:gd name="T57" fmla="*/ 333 h 576"/>
                <a:gd name="T58" fmla="*/ 355 w 577"/>
                <a:gd name="T59" fmla="*/ 132 h 576"/>
                <a:gd name="T60" fmla="*/ 355 w 577"/>
                <a:gd name="T61" fmla="*/ 375 h 576"/>
                <a:gd name="T62" fmla="*/ 335 w 577"/>
                <a:gd name="T63" fmla="*/ 172 h 576"/>
                <a:gd name="T64" fmla="*/ 335 w 577"/>
                <a:gd name="T65" fmla="*/ 414 h 576"/>
                <a:gd name="T66" fmla="*/ 314 w 577"/>
                <a:gd name="T67" fmla="*/ 213 h 576"/>
                <a:gd name="T68" fmla="*/ 324 w 577"/>
                <a:gd name="T69" fmla="*/ 455 h 576"/>
                <a:gd name="T70" fmla="*/ 293 w 577"/>
                <a:gd name="T71" fmla="*/ 253 h 576"/>
                <a:gd name="T72" fmla="*/ 274 w 577"/>
                <a:gd name="T73" fmla="*/ 51 h 576"/>
                <a:gd name="T74" fmla="*/ 274 w 577"/>
                <a:gd name="T75" fmla="*/ 294 h 576"/>
                <a:gd name="T76" fmla="*/ 254 w 577"/>
                <a:gd name="T77" fmla="*/ 91 h 576"/>
                <a:gd name="T78" fmla="*/ 254 w 577"/>
                <a:gd name="T79" fmla="*/ 333 h 576"/>
                <a:gd name="T80" fmla="*/ 233 w 577"/>
                <a:gd name="T81" fmla="*/ 132 h 576"/>
                <a:gd name="T82" fmla="*/ 233 w 577"/>
                <a:gd name="T83" fmla="*/ 375 h 576"/>
                <a:gd name="T84" fmla="*/ 213 w 577"/>
                <a:gd name="T85" fmla="*/ 172 h 576"/>
                <a:gd name="T86" fmla="*/ 213 w 577"/>
                <a:gd name="T87" fmla="*/ 414 h 576"/>
                <a:gd name="T88" fmla="*/ 193 w 577"/>
                <a:gd name="T89" fmla="*/ 213 h 576"/>
                <a:gd name="T90" fmla="*/ 203 w 577"/>
                <a:gd name="T91" fmla="*/ 455 h 576"/>
                <a:gd name="T92" fmla="*/ 173 w 577"/>
                <a:gd name="T93" fmla="*/ 253 h 576"/>
                <a:gd name="T94" fmla="*/ 152 w 577"/>
                <a:gd name="T95" fmla="*/ 51 h 576"/>
                <a:gd name="T96" fmla="*/ 152 w 577"/>
                <a:gd name="T97" fmla="*/ 294 h 576"/>
                <a:gd name="T98" fmla="*/ 132 w 577"/>
                <a:gd name="T99" fmla="*/ 91 h 576"/>
                <a:gd name="T100" fmla="*/ 132 w 577"/>
                <a:gd name="T101" fmla="*/ 333 h 576"/>
                <a:gd name="T102" fmla="*/ 112 w 577"/>
                <a:gd name="T103" fmla="*/ 132 h 576"/>
                <a:gd name="T104" fmla="*/ 112 w 577"/>
                <a:gd name="T105" fmla="*/ 375 h 576"/>
                <a:gd name="T106" fmla="*/ 92 w 577"/>
                <a:gd name="T107" fmla="*/ 172 h 576"/>
                <a:gd name="T108" fmla="*/ 92 w 577"/>
                <a:gd name="T109" fmla="*/ 414 h 576"/>
                <a:gd name="T110" fmla="*/ 71 w 577"/>
                <a:gd name="T111" fmla="*/ 213 h 576"/>
                <a:gd name="T112" fmla="*/ 81 w 577"/>
                <a:gd name="T113" fmla="*/ 455 h 576"/>
                <a:gd name="T114" fmla="*/ 51 w 577"/>
                <a:gd name="T115" fmla="*/ 253 h 576"/>
                <a:gd name="T116" fmla="*/ 31 w 577"/>
                <a:gd name="T117" fmla="*/ 51 h 576"/>
                <a:gd name="T118" fmla="*/ 31 w 577"/>
                <a:gd name="T119" fmla="*/ 294 h 576"/>
                <a:gd name="T120" fmla="*/ 31 w 577"/>
                <a:gd name="T121" fmla="*/ 546 h 576"/>
                <a:gd name="T122" fmla="*/ 274 w 577"/>
                <a:gd name="T123" fmla="*/ 546 h 576"/>
                <a:gd name="T124" fmla="*/ 517 w 577"/>
                <a:gd name="T125" fmla="*/ 54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7" h="576">
                  <a:moveTo>
                    <a:pt x="577" y="30"/>
                  </a:moveTo>
                  <a:lnTo>
                    <a:pt x="577" y="20"/>
                  </a:lnTo>
                  <a:lnTo>
                    <a:pt x="557" y="20"/>
                  </a:lnTo>
                  <a:lnTo>
                    <a:pt x="557" y="0"/>
                  </a:lnTo>
                  <a:lnTo>
                    <a:pt x="546" y="0"/>
                  </a:lnTo>
                  <a:lnTo>
                    <a:pt x="546" y="20"/>
                  </a:lnTo>
                  <a:lnTo>
                    <a:pt x="536" y="20"/>
                  </a:lnTo>
                  <a:lnTo>
                    <a:pt x="536" y="0"/>
                  </a:lnTo>
                  <a:lnTo>
                    <a:pt x="527" y="0"/>
                  </a:lnTo>
                  <a:lnTo>
                    <a:pt x="527" y="20"/>
                  </a:lnTo>
                  <a:lnTo>
                    <a:pt x="517" y="20"/>
                  </a:lnTo>
                  <a:lnTo>
                    <a:pt x="517" y="0"/>
                  </a:lnTo>
                  <a:lnTo>
                    <a:pt x="506" y="0"/>
                  </a:lnTo>
                  <a:lnTo>
                    <a:pt x="506" y="20"/>
                  </a:lnTo>
                  <a:lnTo>
                    <a:pt x="496" y="20"/>
                  </a:lnTo>
                  <a:lnTo>
                    <a:pt x="496" y="0"/>
                  </a:lnTo>
                  <a:lnTo>
                    <a:pt x="486" y="0"/>
                  </a:lnTo>
                  <a:lnTo>
                    <a:pt x="486" y="20"/>
                  </a:lnTo>
                  <a:lnTo>
                    <a:pt x="476" y="20"/>
                  </a:lnTo>
                  <a:lnTo>
                    <a:pt x="476" y="0"/>
                  </a:lnTo>
                  <a:lnTo>
                    <a:pt x="465" y="0"/>
                  </a:lnTo>
                  <a:lnTo>
                    <a:pt x="465" y="20"/>
                  </a:lnTo>
                  <a:lnTo>
                    <a:pt x="455" y="20"/>
                  </a:lnTo>
                  <a:lnTo>
                    <a:pt x="455" y="0"/>
                  </a:lnTo>
                  <a:lnTo>
                    <a:pt x="446" y="0"/>
                  </a:lnTo>
                  <a:lnTo>
                    <a:pt x="446" y="20"/>
                  </a:lnTo>
                  <a:lnTo>
                    <a:pt x="436" y="20"/>
                  </a:lnTo>
                  <a:lnTo>
                    <a:pt x="436" y="0"/>
                  </a:lnTo>
                  <a:lnTo>
                    <a:pt x="425" y="0"/>
                  </a:lnTo>
                  <a:lnTo>
                    <a:pt x="425" y="20"/>
                  </a:lnTo>
                  <a:lnTo>
                    <a:pt x="416" y="20"/>
                  </a:lnTo>
                  <a:lnTo>
                    <a:pt x="416" y="0"/>
                  </a:lnTo>
                  <a:lnTo>
                    <a:pt x="405" y="0"/>
                  </a:lnTo>
                  <a:lnTo>
                    <a:pt x="405" y="20"/>
                  </a:lnTo>
                  <a:lnTo>
                    <a:pt x="395" y="20"/>
                  </a:lnTo>
                  <a:lnTo>
                    <a:pt x="395" y="0"/>
                  </a:lnTo>
                  <a:lnTo>
                    <a:pt x="384" y="0"/>
                  </a:lnTo>
                  <a:lnTo>
                    <a:pt x="384" y="20"/>
                  </a:lnTo>
                  <a:lnTo>
                    <a:pt x="374" y="20"/>
                  </a:lnTo>
                  <a:lnTo>
                    <a:pt x="374" y="0"/>
                  </a:lnTo>
                  <a:lnTo>
                    <a:pt x="365" y="0"/>
                  </a:lnTo>
                  <a:lnTo>
                    <a:pt x="365" y="20"/>
                  </a:lnTo>
                  <a:lnTo>
                    <a:pt x="355" y="20"/>
                  </a:lnTo>
                  <a:lnTo>
                    <a:pt x="355" y="0"/>
                  </a:lnTo>
                  <a:lnTo>
                    <a:pt x="344" y="0"/>
                  </a:lnTo>
                  <a:lnTo>
                    <a:pt x="344" y="20"/>
                  </a:lnTo>
                  <a:lnTo>
                    <a:pt x="335" y="20"/>
                  </a:lnTo>
                  <a:lnTo>
                    <a:pt x="335" y="0"/>
                  </a:lnTo>
                  <a:lnTo>
                    <a:pt x="324" y="0"/>
                  </a:lnTo>
                  <a:lnTo>
                    <a:pt x="324" y="20"/>
                  </a:lnTo>
                  <a:lnTo>
                    <a:pt x="314" y="20"/>
                  </a:lnTo>
                  <a:lnTo>
                    <a:pt x="314" y="0"/>
                  </a:lnTo>
                  <a:lnTo>
                    <a:pt x="303" y="0"/>
                  </a:lnTo>
                  <a:lnTo>
                    <a:pt x="303" y="20"/>
                  </a:lnTo>
                  <a:lnTo>
                    <a:pt x="293" y="20"/>
                  </a:lnTo>
                  <a:lnTo>
                    <a:pt x="293" y="0"/>
                  </a:lnTo>
                  <a:lnTo>
                    <a:pt x="284" y="0"/>
                  </a:lnTo>
                  <a:lnTo>
                    <a:pt x="284" y="20"/>
                  </a:lnTo>
                  <a:lnTo>
                    <a:pt x="274" y="20"/>
                  </a:lnTo>
                  <a:lnTo>
                    <a:pt x="274" y="0"/>
                  </a:lnTo>
                  <a:lnTo>
                    <a:pt x="263" y="0"/>
                  </a:lnTo>
                  <a:lnTo>
                    <a:pt x="263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43" y="0"/>
                  </a:lnTo>
                  <a:lnTo>
                    <a:pt x="243" y="20"/>
                  </a:lnTo>
                  <a:lnTo>
                    <a:pt x="233" y="20"/>
                  </a:lnTo>
                  <a:lnTo>
                    <a:pt x="233" y="0"/>
                  </a:lnTo>
                  <a:lnTo>
                    <a:pt x="222" y="0"/>
                  </a:lnTo>
                  <a:lnTo>
                    <a:pt x="222" y="20"/>
                  </a:lnTo>
                  <a:lnTo>
                    <a:pt x="213" y="20"/>
                  </a:lnTo>
                  <a:lnTo>
                    <a:pt x="213" y="0"/>
                  </a:lnTo>
                  <a:lnTo>
                    <a:pt x="203" y="0"/>
                  </a:lnTo>
                  <a:lnTo>
                    <a:pt x="203" y="20"/>
                  </a:lnTo>
                  <a:lnTo>
                    <a:pt x="193" y="20"/>
                  </a:lnTo>
                  <a:lnTo>
                    <a:pt x="193" y="0"/>
                  </a:lnTo>
                  <a:lnTo>
                    <a:pt x="182" y="0"/>
                  </a:lnTo>
                  <a:lnTo>
                    <a:pt x="182" y="20"/>
                  </a:lnTo>
                  <a:lnTo>
                    <a:pt x="173" y="20"/>
                  </a:lnTo>
                  <a:lnTo>
                    <a:pt x="173" y="0"/>
                  </a:lnTo>
                  <a:lnTo>
                    <a:pt x="162" y="0"/>
                  </a:lnTo>
                  <a:lnTo>
                    <a:pt x="162" y="20"/>
                  </a:lnTo>
                  <a:lnTo>
                    <a:pt x="152" y="20"/>
                  </a:lnTo>
                  <a:lnTo>
                    <a:pt x="152" y="0"/>
                  </a:lnTo>
                  <a:lnTo>
                    <a:pt x="141" y="0"/>
                  </a:lnTo>
                  <a:lnTo>
                    <a:pt x="141" y="20"/>
                  </a:lnTo>
                  <a:lnTo>
                    <a:pt x="132" y="20"/>
                  </a:lnTo>
                  <a:lnTo>
                    <a:pt x="132" y="0"/>
                  </a:lnTo>
                  <a:lnTo>
                    <a:pt x="122" y="0"/>
                  </a:lnTo>
                  <a:lnTo>
                    <a:pt x="122" y="20"/>
                  </a:lnTo>
                  <a:lnTo>
                    <a:pt x="112" y="20"/>
                  </a:lnTo>
                  <a:lnTo>
                    <a:pt x="112" y="0"/>
                  </a:lnTo>
                  <a:lnTo>
                    <a:pt x="101" y="0"/>
                  </a:lnTo>
                  <a:lnTo>
                    <a:pt x="101" y="20"/>
                  </a:lnTo>
                  <a:lnTo>
                    <a:pt x="92" y="20"/>
                  </a:lnTo>
                  <a:lnTo>
                    <a:pt x="92" y="0"/>
                  </a:lnTo>
                  <a:lnTo>
                    <a:pt x="81" y="0"/>
                  </a:lnTo>
                  <a:lnTo>
                    <a:pt x="81" y="20"/>
                  </a:lnTo>
                  <a:lnTo>
                    <a:pt x="71" y="20"/>
                  </a:lnTo>
                  <a:lnTo>
                    <a:pt x="71" y="0"/>
                  </a:lnTo>
                  <a:lnTo>
                    <a:pt x="60" y="0"/>
                  </a:lnTo>
                  <a:lnTo>
                    <a:pt x="60" y="20"/>
                  </a:lnTo>
                  <a:lnTo>
                    <a:pt x="51" y="20"/>
                  </a:lnTo>
                  <a:lnTo>
                    <a:pt x="51" y="0"/>
                  </a:lnTo>
                  <a:lnTo>
                    <a:pt x="41" y="0"/>
                  </a:lnTo>
                  <a:lnTo>
                    <a:pt x="41" y="20"/>
                  </a:lnTo>
                  <a:lnTo>
                    <a:pt x="31" y="20"/>
                  </a:lnTo>
                  <a:lnTo>
                    <a:pt x="31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0" y="30"/>
                  </a:lnTo>
                  <a:lnTo>
                    <a:pt x="20" y="40"/>
                  </a:lnTo>
                  <a:lnTo>
                    <a:pt x="0" y="40"/>
                  </a:lnTo>
                  <a:lnTo>
                    <a:pt x="0" y="51"/>
                  </a:lnTo>
                  <a:lnTo>
                    <a:pt x="20" y="51"/>
                  </a:lnTo>
                  <a:lnTo>
                    <a:pt x="20" y="61"/>
                  </a:lnTo>
                  <a:lnTo>
                    <a:pt x="0" y="61"/>
                  </a:lnTo>
                  <a:lnTo>
                    <a:pt x="0" y="72"/>
                  </a:lnTo>
                  <a:lnTo>
                    <a:pt x="20" y="72"/>
                  </a:lnTo>
                  <a:lnTo>
                    <a:pt x="20" y="81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20" y="91"/>
                  </a:lnTo>
                  <a:lnTo>
                    <a:pt x="20" y="100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20" y="111"/>
                  </a:lnTo>
                  <a:lnTo>
                    <a:pt x="20" y="121"/>
                  </a:lnTo>
                  <a:lnTo>
                    <a:pt x="0" y="121"/>
                  </a:lnTo>
                  <a:lnTo>
                    <a:pt x="0" y="132"/>
                  </a:lnTo>
                  <a:lnTo>
                    <a:pt x="20" y="132"/>
                  </a:lnTo>
                  <a:lnTo>
                    <a:pt x="20" y="142"/>
                  </a:lnTo>
                  <a:lnTo>
                    <a:pt x="0" y="142"/>
                  </a:lnTo>
                  <a:lnTo>
                    <a:pt x="0" y="152"/>
                  </a:lnTo>
                  <a:lnTo>
                    <a:pt x="20" y="152"/>
                  </a:lnTo>
                  <a:lnTo>
                    <a:pt x="20" y="162"/>
                  </a:lnTo>
                  <a:lnTo>
                    <a:pt x="0" y="162"/>
                  </a:lnTo>
                  <a:lnTo>
                    <a:pt x="0" y="172"/>
                  </a:lnTo>
                  <a:lnTo>
                    <a:pt x="20" y="172"/>
                  </a:lnTo>
                  <a:lnTo>
                    <a:pt x="20" y="181"/>
                  </a:lnTo>
                  <a:lnTo>
                    <a:pt x="0" y="181"/>
                  </a:lnTo>
                  <a:lnTo>
                    <a:pt x="0" y="192"/>
                  </a:lnTo>
                  <a:lnTo>
                    <a:pt x="20" y="192"/>
                  </a:lnTo>
                  <a:lnTo>
                    <a:pt x="20" y="202"/>
                  </a:lnTo>
                  <a:lnTo>
                    <a:pt x="0" y="202"/>
                  </a:lnTo>
                  <a:lnTo>
                    <a:pt x="0" y="213"/>
                  </a:lnTo>
                  <a:lnTo>
                    <a:pt x="20" y="213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0" y="233"/>
                  </a:lnTo>
                  <a:lnTo>
                    <a:pt x="20" y="233"/>
                  </a:lnTo>
                  <a:lnTo>
                    <a:pt x="20" y="243"/>
                  </a:lnTo>
                  <a:lnTo>
                    <a:pt x="0" y="243"/>
                  </a:lnTo>
                  <a:lnTo>
                    <a:pt x="0" y="253"/>
                  </a:lnTo>
                  <a:lnTo>
                    <a:pt x="20" y="253"/>
                  </a:lnTo>
                  <a:lnTo>
                    <a:pt x="20" y="262"/>
                  </a:lnTo>
                  <a:lnTo>
                    <a:pt x="0" y="262"/>
                  </a:lnTo>
                  <a:lnTo>
                    <a:pt x="0" y="273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0" y="283"/>
                  </a:lnTo>
                  <a:lnTo>
                    <a:pt x="0" y="294"/>
                  </a:lnTo>
                  <a:lnTo>
                    <a:pt x="20" y="294"/>
                  </a:lnTo>
                  <a:lnTo>
                    <a:pt x="20" y="303"/>
                  </a:lnTo>
                  <a:lnTo>
                    <a:pt x="0" y="303"/>
                  </a:lnTo>
                  <a:lnTo>
                    <a:pt x="0" y="314"/>
                  </a:lnTo>
                  <a:lnTo>
                    <a:pt x="20" y="314"/>
                  </a:lnTo>
                  <a:lnTo>
                    <a:pt x="20" y="324"/>
                  </a:lnTo>
                  <a:lnTo>
                    <a:pt x="0" y="324"/>
                  </a:lnTo>
                  <a:lnTo>
                    <a:pt x="0" y="333"/>
                  </a:lnTo>
                  <a:lnTo>
                    <a:pt x="20" y="333"/>
                  </a:lnTo>
                  <a:lnTo>
                    <a:pt x="20" y="343"/>
                  </a:lnTo>
                  <a:lnTo>
                    <a:pt x="0" y="343"/>
                  </a:lnTo>
                  <a:lnTo>
                    <a:pt x="0" y="354"/>
                  </a:lnTo>
                  <a:lnTo>
                    <a:pt x="20" y="354"/>
                  </a:lnTo>
                  <a:lnTo>
                    <a:pt x="20" y="364"/>
                  </a:lnTo>
                  <a:lnTo>
                    <a:pt x="0" y="364"/>
                  </a:lnTo>
                  <a:lnTo>
                    <a:pt x="0" y="375"/>
                  </a:lnTo>
                  <a:lnTo>
                    <a:pt x="20" y="375"/>
                  </a:lnTo>
                  <a:lnTo>
                    <a:pt x="20" y="384"/>
                  </a:lnTo>
                  <a:lnTo>
                    <a:pt x="0" y="384"/>
                  </a:lnTo>
                  <a:lnTo>
                    <a:pt x="0" y="395"/>
                  </a:lnTo>
                  <a:lnTo>
                    <a:pt x="20" y="395"/>
                  </a:lnTo>
                  <a:lnTo>
                    <a:pt x="20" y="40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20" y="414"/>
                  </a:lnTo>
                  <a:lnTo>
                    <a:pt x="20" y="424"/>
                  </a:lnTo>
                  <a:lnTo>
                    <a:pt x="0" y="424"/>
                  </a:lnTo>
                  <a:lnTo>
                    <a:pt x="0" y="435"/>
                  </a:lnTo>
                  <a:lnTo>
                    <a:pt x="20" y="435"/>
                  </a:lnTo>
                  <a:lnTo>
                    <a:pt x="20" y="444"/>
                  </a:lnTo>
                  <a:lnTo>
                    <a:pt x="0" y="444"/>
                  </a:lnTo>
                  <a:lnTo>
                    <a:pt x="0" y="455"/>
                  </a:lnTo>
                  <a:lnTo>
                    <a:pt x="20" y="455"/>
                  </a:lnTo>
                  <a:lnTo>
                    <a:pt x="20" y="465"/>
                  </a:lnTo>
                  <a:lnTo>
                    <a:pt x="0" y="465"/>
                  </a:lnTo>
                  <a:lnTo>
                    <a:pt x="0" y="476"/>
                  </a:lnTo>
                  <a:lnTo>
                    <a:pt x="20" y="476"/>
                  </a:lnTo>
                  <a:lnTo>
                    <a:pt x="20" y="486"/>
                  </a:lnTo>
                  <a:lnTo>
                    <a:pt x="0" y="486"/>
                  </a:lnTo>
                  <a:lnTo>
                    <a:pt x="0" y="495"/>
                  </a:lnTo>
                  <a:lnTo>
                    <a:pt x="20" y="495"/>
                  </a:lnTo>
                  <a:lnTo>
                    <a:pt x="20" y="505"/>
                  </a:lnTo>
                  <a:lnTo>
                    <a:pt x="0" y="505"/>
                  </a:lnTo>
                  <a:lnTo>
                    <a:pt x="0" y="516"/>
                  </a:lnTo>
                  <a:lnTo>
                    <a:pt x="20" y="516"/>
                  </a:lnTo>
                  <a:lnTo>
                    <a:pt x="20" y="525"/>
                  </a:lnTo>
                  <a:lnTo>
                    <a:pt x="0" y="525"/>
                  </a:lnTo>
                  <a:lnTo>
                    <a:pt x="0" y="536"/>
                  </a:lnTo>
                  <a:lnTo>
                    <a:pt x="20" y="536"/>
                  </a:lnTo>
                  <a:lnTo>
                    <a:pt x="20" y="546"/>
                  </a:lnTo>
                  <a:lnTo>
                    <a:pt x="0" y="546"/>
                  </a:lnTo>
                  <a:lnTo>
                    <a:pt x="0" y="557"/>
                  </a:lnTo>
                  <a:lnTo>
                    <a:pt x="20" y="557"/>
                  </a:lnTo>
                  <a:lnTo>
                    <a:pt x="20" y="576"/>
                  </a:lnTo>
                  <a:lnTo>
                    <a:pt x="31" y="576"/>
                  </a:lnTo>
                  <a:lnTo>
                    <a:pt x="31" y="557"/>
                  </a:lnTo>
                  <a:lnTo>
                    <a:pt x="41" y="557"/>
                  </a:lnTo>
                  <a:lnTo>
                    <a:pt x="41" y="576"/>
                  </a:lnTo>
                  <a:lnTo>
                    <a:pt x="51" y="576"/>
                  </a:lnTo>
                  <a:lnTo>
                    <a:pt x="51" y="557"/>
                  </a:lnTo>
                  <a:lnTo>
                    <a:pt x="60" y="557"/>
                  </a:lnTo>
                  <a:lnTo>
                    <a:pt x="60" y="576"/>
                  </a:lnTo>
                  <a:lnTo>
                    <a:pt x="71" y="576"/>
                  </a:lnTo>
                  <a:lnTo>
                    <a:pt x="71" y="557"/>
                  </a:lnTo>
                  <a:lnTo>
                    <a:pt x="81" y="557"/>
                  </a:lnTo>
                  <a:lnTo>
                    <a:pt x="81" y="576"/>
                  </a:lnTo>
                  <a:lnTo>
                    <a:pt x="92" y="576"/>
                  </a:lnTo>
                  <a:lnTo>
                    <a:pt x="92" y="557"/>
                  </a:lnTo>
                  <a:lnTo>
                    <a:pt x="101" y="557"/>
                  </a:lnTo>
                  <a:lnTo>
                    <a:pt x="101" y="576"/>
                  </a:lnTo>
                  <a:lnTo>
                    <a:pt x="112" y="576"/>
                  </a:lnTo>
                  <a:lnTo>
                    <a:pt x="112" y="557"/>
                  </a:lnTo>
                  <a:lnTo>
                    <a:pt x="122" y="557"/>
                  </a:lnTo>
                  <a:lnTo>
                    <a:pt x="122" y="576"/>
                  </a:lnTo>
                  <a:lnTo>
                    <a:pt x="132" y="576"/>
                  </a:lnTo>
                  <a:lnTo>
                    <a:pt x="132" y="557"/>
                  </a:lnTo>
                  <a:lnTo>
                    <a:pt x="141" y="557"/>
                  </a:lnTo>
                  <a:lnTo>
                    <a:pt x="141" y="576"/>
                  </a:lnTo>
                  <a:lnTo>
                    <a:pt x="152" y="576"/>
                  </a:lnTo>
                  <a:lnTo>
                    <a:pt x="152" y="557"/>
                  </a:lnTo>
                  <a:lnTo>
                    <a:pt x="162" y="557"/>
                  </a:lnTo>
                  <a:lnTo>
                    <a:pt x="162" y="576"/>
                  </a:lnTo>
                  <a:lnTo>
                    <a:pt x="173" y="576"/>
                  </a:lnTo>
                  <a:lnTo>
                    <a:pt x="173" y="557"/>
                  </a:lnTo>
                  <a:lnTo>
                    <a:pt x="182" y="557"/>
                  </a:lnTo>
                  <a:lnTo>
                    <a:pt x="182" y="576"/>
                  </a:lnTo>
                  <a:lnTo>
                    <a:pt x="193" y="576"/>
                  </a:lnTo>
                  <a:lnTo>
                    <a:pt x="193" y="557"/>
                  </a:lnTo>
                  <a:lnTo>
                    <a:pt x="203" y="557"/>
                  </a:lnTo>
                  <a:lnTo>
                    <a:pt x="203" y="576"/>
                  </a:lnTo>
                  <a:lnTo>
                    <a:pt x="213" y="576"/>
                  </a:lnTo>
                  <a:lnTo>
                    <a:pt x="213" y="557"/>
                  </a:lnTo>
                  <a:lnTo>
                    <a:pt x="222" y="557"/>
                  </a:lnTo>
                  <a:lnTo>
                    <a:pt x="222" y="576"/>
                  </a:lnTo>
                  <a:lnTo>
                    <a:pt x="233" y="576"/>
                  </a:lnTo>
                  <a:lnTo>
                    <a:pt x="233" y="557"/>
                  </a:lnTo>
                  <a:lnTo>
                    <a:pt x="243" y="557"/>
                  </a:lnTo>
                  <a:lnTo>
                    <a:pt x="243" y="576"/>
                  </a:lnTo>
                  <a:lnTo>
                    <a:pt x="254" y="576"/>
                  </a:lnTo>
                  <a:lnTo>
                    <a:pt x="254" y="557"/>
                  </a:lnTo>
                  <a:lnTo>
                    <a:pt x="263" y="557"/>
                  </a:lnTo>
                  <a:lnTo>
                    <a:pt x="263" y="576"/>
                  </a:lnTo>
                  <a:lnTo>
                    <a:pt x="274" y="576"/>
                  </a:lnTo>
                  <a:lnTo>
                    <a:pt x="274" y="557"/>
                  </a:lnTo>
                  <a:lnTo>
                    <a:pt x="284" y="557"/>
                  </a:lnTo>
                  <a:lnTo>
                    <a:pt x="284" y="576"/>
                  </a:lnTo>
                  <a:lnTo>
                    <a:pt x="293" y="576"/>
                  </a:lnTo>
                  <a:lnTo>
                    <a:pt x="293" y="557"/>
                  </a:lnTo>
                  <a:lnTo>
                    <a:pt x="303" y="557"/>
                  </a:lnTo>
                  <a:lnTo>
                    <a:pt x="303" y="576"/>
                  </a:lnTo>
                  <a:lnTo>
                    <a:pt x="314" y="576"/>
                  </a:lnTo>
                  <a:lnTo>
                    <a:pt x="314" y="557"/>
                  </a:lnTo>
                  <a:lnTo>
                    <a:pt x="324" y="557"/>
                  </a:lnTo>
                  <a:lnTo>
                    <a:pt x="324" y="576"/>
                  </a:lnTo>
                  <a:lnTo>
                    <a:pt x="335" y="576"/>
                  </a:lnTo>
                  <a:lnTo>
                    <a:pt x="335" y="557"/>
                  </a:lnTo>
                  <a:lnTo>
                    <a:pt x="344" y="557"/>
                  </a:lnTo>
                  <a:lnTo>
                    <a:pt x="344" y="576"/>
                  </a:lnTo>
                  <a:lnTo>
                    <a:pt x="355" y="576"/>
                  </a:lnTo>
                  <a:lnTo>
                    <a:pt x="355" y="557"/>
                  </a:lnTo>
                  <a:lnTo>
                    <a:pt x="365" y="557"/>
                  </a:lnTo>
                  <a:lnTo>
                    <a:pt x="365" y="576"/>
                  </a:lnTo>
                  <a:lnTo>
                    <a:pt x="374" y="576"/>
                  </a:lnTo>
                  <a:lnTo>
                    <a:pt x="374" y="557"/>
                  </a:lnTo>
                  <a:lnTo>
                    <a:pt x="384" y="557"/>
                  </a:lnTo>
                  <a:lnTo>
                    <a:pt x="384" y="576"/>
                  </a:lnTo>
                  <a:lnTo>
                    <a:pt x="395" y="576"/>
                  </a:lnTo>
                  <a:lnTo>
                    <a:pt x="395" y="557"/>
                  </a:lnTo>
                  <a:lnTo>
                    <a:pt x="405" y="557"/>
                  </a:lnTo>
                  <a:lnTo>
                    <a:pt x="405" y="576"/>
                  </a:lnTo>
                  <a:lnTo>
                    <a:pt x="416" y="576"/>
                  </a:lnTo>
                  <a:lnTo>
                    <a:pt x="416" y="557"/>
                  </a:lnTo>
                  <a:lnTo>
                    <a:pt x="425" y="557"/>
                  </a:lnTo>
                  <a:lnTo>
                    <a:pt x="425" y="576"/>
                  </a:lnTo>
                  <a:lnTo>
                    <a:pt x="436" y="576"/>
                  </a:lnTo>
                  <a:lnTo>
                    <a:pt x="436" y="557"/>
                  </a:lnTo>
                  <a:lnTo>
                    <a:pt x="446" y="557"/>
                  </a:lnTo>
                  <a:lnTo>
                    <a:pt x="446" y="576"/>
                  </a:lnTo>
                  <a:lnTo>
                    <a:pt x="455" y="576"/>
                  </a:lnTo>
                  <a:lnTo>
                    <a:pt x="455" y="557"/>
                  </a:lnTo>
                  <a:lnTo>
                    <a:pt x="465" y="557"/>
                  </a:lnTo>
                  <a:lnTo>
                    <a:pt x="465" y="576"/>
                  </a:lnTo>
                  <a:lnTo>
                    <a:pt x="476" y="576"/>
                  </a:lnTo>
                  <a:lnTo>
                    <a:pt x="476" y="557"/>
                  </a:lnTo>
                  <a:lnTo>
                    <a:pt x="486" y="557"/>
                  </a:lnTo>
                  <a:lnTo>
                    <a:pt x="486" y="576"/>
                  </a:lnTo>
                  <a:lnTo>
                    <a:pt x="496" y="576"/>
                  </a:lnTo>
                  <a:lnTo>
                    <a:pt x="496" y="557"/>
                  </a:lnTo>
                  <a:lnTo>
                    <a:pt x="506" y="557"/>
                  </a:lnTo>
                  <a:lnTo>
                    <a:pt x="506" y="576"/>
                  </a:lnTo>
                  <a:lnTo>
                    <a:pt x="517" y="576"/>
                  </a:lnTo>
                  <a:lnTo>
                    <a:pt x="517" y="557"/>
                  </a:lnTo>
                  <a:lnTo>
                    <a:pt x="527" y="557"/>
                  </a:lnTo>
                  <a:lnTo>
                    <a:pt x="527" y="576"/>
                  </a:lnTo>
                  <a:lnTo>
                    <a:pt x="536" y="576"/>
                  </a:lnTo>
                  <a:lnTo>
                    <a:pt x="536" y="557"/>
                  </a:lnTo>
                  <a:lnTo>
                    <a:pt x="546" y="557"/>
                  </a:lnTo>
                  <a:lnTo>
                    <a:pt x="546" y="576"/>
                  </a:lnTo>
                  <a:lnTo>
                    <a:pt x="557" y="576"/>
                  </a:lnTo>
                  <a:lnTo>
                    <a:pt x="557" y="557"/>
                  </a:lnTo>
                  <a:lnTo>
                    <a:pt x="577" y="557"/>
                  </a:lnTo>
                  <a:lnTo>
                    <a:pt x="577" y="546"/>
                  </a:lnTo>
                  <a:lnTo>
                    <a:pt x="557" y="546"/>
                  </a:lnTo>
                  <a:lnTo>
                    <a:pt x="557" y="536"/>
                  </a:lnTo>
                  <a:lnTo>
                    <a:pt x="577" y="536"/>
                  </a:lnTo>
                  <a:lnTo>
                    <a:pt x="577" y="525"/>
                  </a:lnTo>
                  <a:lnTo>
                    <a:pt x="557" y="525"/>
                  </a:lnTo>
                  <a:lnTo>
                    <a:pt x="557" y="516"/>
                  </a:lnTo>
                  <a:lnTo>
                    <a:pt x="577" y="516"/>
                  </a:lnTo>
                  <a:lnTo>
                    <a:pt x="577" y="505"/>
                  </a:lnTo>
                  <a:lnTo>
                    <a:pt x="557" y="505"/>
                  </a:lnTo>
                  <a:lnTo>
                    <a:pt x="557" y="495"/>
                  </a:lnTo>
                  <a:lnTo>
                    <a:pt x="577" y="495"/>
                  </a:lnTo>
                  <a:lnTo>
                    <a:pt x="577" y="486"/>
                  </a:lnTo>
                  <a:lnTo>
                    <a:pt x="557" y="486"/>
                  </a:lnTo>
                  <a:lnTo>
                    <a:pt x="557" y="476"/>
                  </a:lnTo>
                  <a:lnTo>
                    <a:pt x="577" y="476"/>
                  </a:lnTo>
                  <a:lnTo>
                    <a:pt x="577" y="465"/>
                  </a:lnTo>
                  <a:lnTo>
                    <a:pt x="557" y="465"/>
                  </a:lnTo>
                  <a:lnTo>
                    <a:pt x="557" y="455"/>
                  </a:lnTo>
                  <a:lnTo>
                    <a:pt x="577" y="455"/>
                  </a:lnTo>
                  <a:lnTo>
                    <a:pt x="577" y="444"/>
                  </a:lnTo>
                  <a:lnTo>
                    <a:pt x="557" y="444"/>
                  </a:lnTo>
                  <a:lnTo>
                    <a:pt x="557" y="435"/>
                  </a:lnTo>
                  <a:lnTo>
                    <a:pt x="577" y="435"/>
                  </a:lnTo>
                  <a:lnTo>
                    <a:pt x="577" y="424"/>
                  </a:lnTo>
                  <a:lnTo>
                    <a:pt x="557" y="424"/>
                  </a:lnTo>
                  <a:lnTo>
                    <a:pt x="557" y="414"/>
                  </a:lnTo>
                  <a:lnTo>
                    <a:pt x="577" y="414"/>
                  </a:lnTo>
                  <a:lnTo>
                    <a:pt x="577" y="405"/>
                  </a:lnTo>
                  <a:lnTo>
                    <a:pt x="557" y="405"/>
                  </a:lnTo>
                  <a:lnTo>
                    <a:pt x="557" y="395"/>
                  </a:lnTo>
                  <a:lnTo>
                    <a:pt x="577" y="395"/>
                  </a:lnTo>
                  <a:lnTo>
                    <a:pt x="577" y="384"/>
                  </a:lnTo>
                  <a:lnTo>
                    <a:pt x="557" y="384"/>
                  </a:lnTo>
                  <a:lnTo>
                    <a:pt x="557" y="375"/>
                  </a:lnTo>
                  <a:lnTo>
                    <a:pt x="577" y="375"/>
                  </a:lnTo>
                  <a:lnTo>
                    <a:pt x="577" y="364"/>
                  </a:lnTo>
                  <a:lnTo>
                    <a:pt x="557" y="364"/>
                  </a:lnTo>
                  <a:lnTo>
                    <a:pt x="557" y="354"/>
                  </a:lnTo>
                  <a:lnTo>
                    <a:pt x="577" y="354"/>
                  </a:lnTo>
                  <a:lnTo>
                    <a:pt x="577" y="343"/>
                  </a:lnTo>
                  <a:lnTo>
                    <a:pt x="557" y="343"/>
                  </a:lnTo>
                  <a:lnTo>
                    <a:pt x="557" y="333"/>
                  </a:lnTo>
                  <a:lnTo>
                    <a:pt x="577" y="333"/>
                  </a:lnTo>
                  <a:lnTo>
                    <a:pt x="577" y="324"/>
                  </a:lnTo>
                  <a:lnTo>
                    <a:pt x="557" y="324"/>
                  </a:lnTo>
                  <a:lnTo>
                    <a:pt x="557" y="314"/>
                  </a:lnTo>
                  <a:lnTo>
                    <a:pt x="577" y="314"/>
                  </a:lnTo>
                  <a:lnTo>
                    <a:pt x="577" y="303"/>
                  </a:lnTo>
                  <a:lnTo>
                    <a:pt x="557" y="303"/>
                  </a:lnTo>
                  <a:lnTo>
                    <a:pt x="557" y="294"/>
                  </a:lnTo>
                  <a:lnTo>
                    <a:pt x="577" y="294"/>
                  </a:lnTo>
                  <a:lnTo>
                    <a:pt x="577" y="283"/>
                  </a:lnTo>
                  <a:lnTo>
                    <a:pt x="557" y="283"/>
                  </a:lnTo>
                  <a:lnTo>
                    <a:pt x="557" y="273"/>
                  </a:lnTo>
                  <a:lnTo>
                    <a:pt x="577" y="273"/>
                  </a:lnTo>
                  <a:lnTo>
                    <a:pt x="577" y="262"/>
                  </a:lnTo>
                  <a:lnTo>
                    <a:pt x="557" y="262"/>
                  </a:lnTo>
                  <a:lnTo>
                    <a:pt x="557" y="253"/>
                  </a:lnTo>
                  <a:lnTo>
                    <a:pt x="577" y="253"/>
                  </a:lnTo>
                  <a:lnTo>
                    <a:pt x="577" y="243"/>
                  </a:lnTo>
                  <a:lnTo>
                    <a:pt x="557" y="243"/>
                  </a:lnTo>
                  <a:lnTo>
                    <a:pt x="557" y="233"/>
                  </a:lnTo>
                  <a:lnTo>
                    <a:pt x="577" y="233"/>
                  </a:lnTo>
                  <a:lnTo>
                    <a:pt x="577" y="222"/>
                  </a:lnTo>
                  <a:lnTo>
                    <a:pt x="557" y="222"/>
                  </a:lnTo>
                  <a:lnTo>
                    <a:pt x="557" y="213"/>
                  </a:lnTo>
                  <a:lnTo>
                    <a:pt x="577" y="213"/>
                  </a:lnTo>
                  <a:lnTo>
                    <a:pt x="577" y="202"/>
                  </a:lnTo>
                  <a:lnTo>
                    <a:pt x="557" y="202"/>
                  </a:lnTo>
                  <a:lnTo>
                    <a:pt x="557" y="192"/>
                  </a:lnTo>
                  <a:lnTo>
                    <a:pt x="577" y="192"/>
                  </a:lnTo>
                  <a:lnTo>
                    <a:pt x="577" y="181"/>
                  </a:lnTo>
                  <a:lnTo>
                    <a:pt x="557" y="181"/>
                  </a:lnTo>
                  <a:lnTo>
                    <a:pt x="557" y="172"/>
                  </a:lnTo>
                  <a:lnTo>
                    <a:pt x="577" y="172"/>
                  </a:lnTo>
                  <a:lnTo>
                    <a:pt x="577" y="162"/>
                  </a:lnTo>
                  <a:lnTo>
                    <a:pt x="557" y="162"/>
                  </a:lnTo>
                  <a:lnTo>
                    <a:pt x="557" y="152"/>
                  </a:lnTo>
                  <a:lnTo>
                    <a:pt x="577" y="152"/>
                  </a:lnTo>
                  <a:lnTo>
                    <a:pt x="577" y="142"/>
                  </a:lnTo>
                  <a:lnTo>
                    <a:pt x="557" y="142"/>
                  </a:lnTo>
                  <a:lnTo>
                    <a:pt x="557" y="132"/>
                  </a:lnTo>
                  <a:lnTo>
                    <a:pt x="577" y="132"/>
                  </a:lnTo>
                  <a:lnTo>
                    <a:pt x="577" y="121"/>
                  </a:lnTo>
                  <a:lnTo>
                    <a:pt x="557" y="121"/>
                  </a:lnTo>
                  <a:lnTo>
                    <a:pt x="557" y="111"/>
                  </a:lnTo>
                  <a:lnTo>
                    <a:pt x="577" y="111"/>
                  </a:lnTo>
                  <a:lnTo>
                    <a:pt x="577" y="100"/>
                  </a:lnTo>
                  <a:lnTo>
                    <a:pt x="557" y="100"/>
                  </a:lnTo>
                  <a:lnTo>
                    <a:pt x="557" y="91"/>
                  </a:lnTo>
                  <a:lnTo>
                    <a:pt x="577" y="91"/>
                  </a:lnTo>
                  <a:lnTo>
                    <a:pt x="577" y="81"/>
                  </a:lnTo>
                  <a:lnTo>
                    <a:pt x="557" y="81"/>
                  </a:lnTo>
                  <a:lnTo>
                    <a:pt x="557" y="72"/>
                  </a:lnTo>
                  <a:lnTo>
                    <a:pt x="577" y="72"/>
                  </a:lnTo>
                  <a:lnTo>
                    <a:pt x="577" y="61"/>
                  </a:lnTo>
                  <a:lnTo>
                    <a:pt x="557" y="61"/>
                  </a:lnTo>
                  <a:lnTo>
                    <a:pt x="557" y="51"/>
                  </a:lnTo>
                  <a:lnTo>
                    <a:pt x="577" y="51"/>
                  </a:lnTo>
                  <a:lnTo>
                    <a:pt x="577" y="40"/>
                  </a:lnTo>
                  <a:lnTo>
                    <a:pt x="557" y="40"/>
                  </a:lnTo>
                  <a:lnTo>
                    <a:pt x="557" y="30"/>
                  </a:lnTo>
                  <a:lnTo>
                    <a:pt x="577" y="30"/>
                  </a:lnTo>
                  <a:close/>
                  <a:moveTo>
                    <a:pt x="536" y="30"/>
                  </a:moveTo>
                  <a:lnTo>
                    <a:pt x="546" y="30"/>
                  </a:lnTo>
                  <a:lnTo>
                    <a:pt x="546" y="40"/>
                  </a:lnTo>
                  <a:lnTo>
                    <a:pt x="536" y="40"/>
                  </a:lnTo>
                  <a:lnTo>
                    <a:pt x="536" y="30"/>
                  </a:lnTo>
                  <a:close/>
                  <a:moveTo>
                    <a:pt x="536" y="51"/>
                  </a:moveTo>
                  <a:lnTo>
                    <a:pt x="546" y="51"/>
                  </a:lnTo>
                  <a:lnTo>
                    <a:pt x="546" y="61"/>
                  </a:lnTo>
                  <a:lnTo>
                    <a:pt x="536" y="61"/>
                  </a:lnTo>
                  <a:lnTo>
                    <a:pt x="536" y="51"/>
                  </a:lnTo>
                  <a:close/>
                  <a:moveTo>
                    <a:pt x="536" y="72"/>
                  </a:moveTo>
                  <a:lnTo>
                    <a:pt x="546" y="72"/>
                  </a:lnTo>
                  <a:lnTo>
                    <a:pt x="546" y="81"/>
                  </a:lnTo>
                  <a:lnTo>
                    <a:pt x="536" y="81"/>
                  </a:lnTo>
                  <a:lnTo>
                    <a:pt x="536" y="72"/>
                  </a:lnTo>
                  <a:close/>
                  <a:moveTo>
                    <a:pt x="536" y="91"/>
                  </a:moveTo>
                  <a:lnTo>
                    <a:pt x="546" y="91"/>
                  </a:lnTo>
                  <a:lnTo>
                    <a:pt x="546" y="100"/>
                  </a:lnTo>
                  <a:lnTo>
                    <a:pt x="536" y="100"/>
                  </a:lnTo>
                  <a:lnTo>
                    <a:pt x="536" y="91"/>
                  </a:lnTo>
                  <a:close/>
                  <a:moveTo>
                    <a:pt x="536" y="111"/>
                  </a:moveTo>
                  <a:lnTo>
                    <a:pt x="546" y="111"/>
                  </a:lnTo>
                  <a:lnTo>
                    <a:pt x="546" y="121"/>
                  </a:lnTo>
                  <a:lnTo>
                    <a:pt x="536" y="121"/>
                  </a:lnTo>
                  <a:lnTo>
                    <a:pt x="536" y="111"/>
                  </a:lnTo>
                  <a:close/>
                  <a:moveTo>
                    <a:pt x="536" y="132"/>
                  </a:moveTo>
                  <a:lnTo>
                    <a:pt x="546" y="132"/>
                  </a:lnTo>
                  <a:lnTo>
                    <a:pt x="546" y="142"/>
                  </a:lnTo>
                  <a:lnTo>
                    <a:pt x="536" y="142"/>
                  </a:lnTo>
                  <a:lnTo>
                    <a:pt x="536" y="132"/>
                  </a:lnTo>
                  <a:close/>
                  <a:moveTo>
                    <a:pt x="536" y="152"/>
                  </a:moveTo>
                  <a:lnTo>
                    <a:pt x="546" y="152"/>
                  </a:lnTo>
                  <a:lnTo>
                    <a:pt x="546" y="162"/>
                  </a:lnTo>
                  <a:lnTo>
                    <a:pt x="536" y="162"/>
                  </a:lnTo>
                  <a:lnTo>
                    <a:pt x="536" y="152"/>
                  </a:lnTo>
                  <a:close/>
                  <a:moveTo>
                    <a:pt x="536" y="172"/>
                  </a:moveTo>
                  <a:lnTo>
                    <a:pt x="546" y="172"/>
                  </a:lnTo>
                  <a:lnTo>
                    <a:pt x="546" y="181"/>
                  </a:lnTo>
                  <a:lnTo>
                    <a:pt x="536" y="181"/>
                  </a:lnTo>
                  <a:lnTo>
                    <a:pt x="536" y="172"/>
                  </a:lnTo>
                  <a:close/>
                  <a:moveTo>
                    <a:pt x="536" y="192"/>
                  </a:moveTo>
                  <a:lnTo>
                    <a:pt x="546" y="192"/>
                  </a:lnTo>
                  <a:lnTo>
                    <a:pt x="546" y="202"/>
                  </a:lnTo>
                  <a:lnTo>
                    <a:pt x="536" y="202"/>
                  </a:lnTo>
                  <a:lnTo>
                    <a:pt x="536" y="192"/>
                  </a:lnTo>
                  <a:close/>
                  <a:moveTo>
                    <a:pt x="536" y="213"/>
                  </a:moveTo>
                  <a:lnTo>
                    <a:pt x="546" y="213"/>
                  </a:lnTo>
                  <a:lnTo>
                    <a:pt x="546" y="222"/>
                  </a:lnTo>
                  <a:lnTo>
                    <a:pt x="536" y="222"/>
                  </a:lnTo>
                  <a:lnTo>
                    <a:pt x="536" y="213"/>
                  </a:lnTo>
                  <a:close/>
                  <a:moveTo>
                    <a:pt x="536" y="233"/>
                  </a:moveTo>
                  <a:lnTo>
                    <a:pt x="546" y="233"/>
                  </a:lnTo>
                  <a:lnTo>
                    <a:pt x="546" y="243"/>
                  </a:lnTo>
                  <a:lnTo>
                    <a:pt x="536" y="243"/>
                  </a:lnTo>
                  <a:lnTo>
                    <a:pt x="536" y="233"/>
                  </a:lnTo>
                  <a:close/>
                  <a:moveTo>
                    <a:pt x="536" y="253"/>
                  </a:moveTo>
                  <a:lnTo>
                    <a:pt x="546" y="253"/>
                  </a:lnTo>
                  <a:lnTo>
                    <a:pt x="546" y="262"/>
                  </a:lnTo>
                  <a:lnTo>
                    <a:pt x="536" y="262"/>
                  </a:lnTo>
                  <a:lnTo>
                    <a:pt x="536" y="253"/>
                  </a:lnTo>
                  <a:close/>
                  <a:moveTo>
                    <a:pt x="536" y="273"/>
                  </a:moveTo>
                  <a:lnTo>
                    <a:pt x="546" y="273"/>
                  </a:lnTo>
                  <a:lnTo>
                    <a:pt x="546" y="283"/>
                  </a:lnTo>
                  <a:lnTo>
                    <a:pt x="536" y="283"/>
                  </a:lnTo>
                  <a:lnTo>
                    <a:pt x="536" y="273"/>
                  </a:lnTo>
                  <a:close/>
                  <a:moveTo>
                    <a:pt x="536" y="294"/>
                  </a:moveTo>
                  <a:lnTo>
                    <a:pt x="546" y="294"/>
                  </a:lnTo>
                  <a:lnTo>
                    <a:pt x="546" y="303"/>
                  </a:lnTo>
                  <a:lnTo>
                    <a:pt x="536" y="303"/>
                  </a:lnTo>
                  <a:lnTo>
                    <a:pt x="536" y="294"/>
                  </a:lnTo>
                  <a:close/>
                  <a:moveTo>
                    <a:pt x="536" y="314"/>
                  </a:moveTo>
                  <a:lnTo>
                    <a:pt x="546" y="314"/>
                  </a:lnTo>
                  <a:lnTo>
                    <a:pt x="546" y="324"/>
                  </a:lnTo>
                  <a:lnTo>
                    <a:pt x="536" y="324"/>
                  </a:lnTo>
                  <a:lnTo>
                    <a:pt x="536" y="314"/>
                  </a:lnTo>
                  <a:close/>
                  <a:moveTo>
                    <a:pt x="536" y="333"/>
                  </a:moveTo>
                  <a:lnTo>
                    <a:pt x="546" y="333"/>
                  </a:lnTo>
                  <a:lnTo>
                    <a:pt x="546" y="343"/>
                  </a:lnTo>
                  <a:lnTo>
                    <a:pt x="536" y="343"/>
                  </a:lnTo>
                  <a:lnTo>
                    <a:pt x="536" y="333"/>
                  </a:lnTo>
                  <a:close/>
                  <a:moveTo>
                    <a:pt x="536" y="354"/>
                  </a:moveTo>
                  <a:lnTo>
                    <a:pt x="546" y="354"/>
                  </a:lnTo>
                  <a:lnTo>
                    <a:pt x="546" y="364"/>
                  </a:lnTo>
                  <a:lnTo>
                    <a:pt x="536" y="364"/>
                  </a:lnTo>
                  <a:lnTo>
                    <a:pt x="536" y="354"/>
                  </a:lnTo>
                  <a:close/>
                  <a:moveTo>
                    <a:pt x="536" y="375"/>
                  </a:moveTo>
                  <a:lnTo>
                    <a:pt x="546" y="375"/>
                  </a:lnTo>
                  <a:lnTo>
                    <a:pt x="546" y="384"/>
                  </a:lnTo>
                  <a:lnTo>
                    <a:pt x="536" y="384"/>
                  </a:lnTo>
                  <a:lnTo>
                    <a:pt x="536" y="375"/>
                  </a:lnTo>
                  <a:close/>
                  <a:moveTo>
                    <a:pt x="536" y="395"/>
                  </a:moveTo>
                  <a:lnTo>
                    <a:pt x="546" y="395"/>
                  </a:lnTo>
                  <a:lnTo>
                    <a:pt x="546" y="405"/>
                  </a:lnTo>
                  <a:lnTo>
                    <a:pt x="536" y="405"/>
                  </a:lnTo>
                  <a:lnTo>
                    <a:pt x="536" y="395"/>
                  </a:lnTo>
                  <a:close/>
                  <a:moveTo>
                    <a:pt x="536" y="414"/>
                  </a:moveTo>
                  <a:lnTo>
                    <a:pt x="546" y="414"/>
                  </a:lnTo>
                  <a:lnTo>
                    <a:pt x="546" y="424"/>
                  </a:lnTo>
                  <a:lnTo>
                    <a:pt x="536" y="424"/>
                  </a:lnTo>
                  <a:lnTo>
                    <a:pt x="536" y="414"/>
                  </a:lnTo>
                  <a:close/>
                  <a:moveTo>
                    <a:pt x="536" y="435"/>
                  </a:moveTo>
                  <a:lnTo>
                    <a:pt x="546" y="435"/>
                  </a:lnTo>
                  <a:lnTo>
                    <a:pt x="546" y="444"/>
                  </a:lnTo>
                  <a:lnTo>
                    <a:pt x="536" y="444"/>
                  </a:lnTo>
                  <a:lnTo>
                    <a:pt x="536" y="435"/>
                  </a:lnTo>
                  <a:close/>
                  <a:moveTo>
                    <a:pt x="517" y="30"/>
                  </a:moveTo>
                  <a:lnTo>
                    <a:pt x="527" y="30"/>
                  </a:lnTo>
                  <a:lnTo>
                    <a:pt x="527" y="40"/>
                  </a:lnTo>
                  <a:lnTo>
                    <a:pt x="517" y="40"/>
                  </a:lnTo>
                  <a:lnTo>
                    <a:pt x="517" y="30"/>
                  </a:lnTo>
                  <a:close/>
                  <a:moveTo>
                    <a:pt x="517" y="51"/>
                  </a:moveTo>
                  <a:lnTo>
                    <a:pt x="527" y="51"/>
                  </a:lnTo>
                  <a:lnTo>
                    <a:pt x="527" y="61"/>
                  </a:lnTo>
                  <a:lnTo>
                    <a:pt x="517" y="61"/>
                  </a:lnTo>
                  <a:lnTo>
                    <a:pt x="517" y="51"/>
                  </a:lnTo>
                  <a:close/>
                  <a:moveTo>
                    <a:pt x="517" y="72"/>
                  </a:moveTo>
                  <a:lnTo>
                    <a:pt x="527" y="72"/>
                  </a:lnTo>
                  <a:lnTo>
                    <a:pt x="527" y="81"/>
                  </a:lnTo>
                  <a:lnTo>
                    <a:pt x="517" y="81"/>
                  </a:lnTo>
                  <a:lnTo>
                    <a:pt x="517" y="72"/>
                  </a:lnTo>
                  <a:close/>
                  <a:moveTo>
                    <a:pt x="517" y="91"/>
                  </a:moveTo>
                  <a:lnTo>
                    <a:pt x="527" y="91"/>
                  </a:lnTo>
                  <a:lnTo>
                    <a:pt x="527" y="100"/>
                  </a:lnTo>
                  <a:lnTo>
                    <a:pt x="517" y="100"/>
                  </a:lnTo>
                  <a:lnTo>
                    <a:pt x="517" y="91"/>
                  </a:lnTo>
                  <a:close/>
                  <a:moveTo>
                    <a:pt x="517" y="111"/>
                  </a:moveTo>
                  <a:lnTo>
                    <a:pt x="527" y="111"/>
                  </a:lnTo>
                  <a:lnTo>
                    <a:pt x="527" y="121"/>
                  </a:lnTo>
                  <a:lnTo>
                    <a:pt x="517" y="121"/>
                  </a:lnTo>
                  <a:lnTo>
                    <a:pt x="517" y="111"/>
                  </a:lnTo>
                  <a:close/>
                  <a:moveTo>
                    <a:pt x="517" y="132"/>
                  </a:moveTo>
                  <a:lnTo>
                    <a:pt x="527" y="132"/>
                  </a:lnTo>
                  <a:lnTo>
                    <a:pt x="527" y="142"/>
                  </a:lnTo>
                  <a:lnTo>
                    <a:pt x="517" y="142"/>
                  </a:lnTo>
                  <a:lnTo>
                    <a:pt x="517" y="132"/>
                  </a:lnTo>
                  <a:close/>
                  <a:moveTo>
                    <a:pt x="517" y="152"/>
                  </a:moveTo>
                  <a:lnTo>
                    <a:pt x="527" y="152"/>
                  </a:lnTo>
                  <a:lnTo>
                    <a:pt x="527" y="162"/>
                  </a:lnTo>
                  <a:lnTo>
                    <a:pt x="517" y="162"/>
                  </a:lnTo>
                  <a:lnTo>
                    <a:pt x="517" y="152"/>
                  </a:lnTo>
                  <a:close/>
                  <a:moveTo>
                    <a:pt x="517" y="172"/>
                  </a:moveTo>
                  <a:lnTo>
                    <a:pt x="527" y="172"/>
                  </a:lnTo>
                  <a:lnTo>
                    <a:pt x="527" y="181"/>
                  </a:lnTo>
                  <a:lnTo>
                    <a:pt x="517" y="181"/>
                  </a:lnTo>
                  <a:lnTo>
                    <a:pt x="517" y="172"/>
                  </a:lnTo>
                  <a:close/>
                  <a:moveTo>
                    <a:pt x="517" y="192"/>
                  </a:moveTo>
                  <a:lnTo>
                    <a:pt x="527" y="192"/>
                  </a:lnTo>
                  <a:lnTo>
                    <a:pt x="527" y="202"/>
                  </a:lnTo>
                  <a:lnTo>
                    <a:pt x="517" y="202"/>
                  </a:lnTo>
                  <a:lnTo>
                    <a:pt x="517" y="192"/>
                  </a:lnTo>
                  <a:close/>
                  <a:moveTo>
                    <a:pt x="517" y="213"/>
                  </a:moveTo>
                  <a:lnTo>
                    <a:pt x="527" y="213"/>
                  </a:lnTo>
                  <a:lnTo>
                    <a:pt x="527" y="222"/>
                  </a:lnTo>
                  <a:lnTo>
                    <a:pt x="517" y="222"/>
                  </a:lnTo>
                  <a:lnTo>
                    <a:pt x="517" y="213"/>
                  </a:lnTo>
                  <a:close/>
                  <a:moveTo>
                    <a:pt x="517" y="233"/>
                  </a:moveTo>
                  <a:lnTo>
                    <a:pt x="527" y="233"/>
                  </a:lnTo>
                  <a:lnTo>
                    <a:pt x="527" y="243"/>
                  </a:lnTo>
                  <a:lnTo>
                    <a:pt x="517" y="243"/>
                  </a:lnTo>
                  <a:lnTo>
                    <a:pt x="517" y="233"/>
                  </a:lnTo>
                  <a:close/>
                  <a:moveTo>
                    <a:pt x="517" y="253"/>
                  </a:moveTo>
                  <a:lnTo>
                    <a:pt x="527" y="253"/>
                  </a:lnTo>
                  <a:lnTo>
                    <a:pt x="527" y="262"/>
                  </a:lnTo>
                  <a:lnTo>
                    <a:pt x="517" y="262"/>
                  </a:lnTo>
                  <a:lnTo>
                    <a:pt x="517" y="253"/>
                  </a:lnTo>
                  <a:close/>
                  <a:moveTo>
                    <a:pt x="517" y="273"/>
                  </a:moveTo>
                  <a:lnTo>
                    <a:pt x="527" y="273"/>
                  </a:lnTo>
                  <a:lnTo>
                    <a:pt x="527" y="283"/>
                  </a:lnTo>
                  <a:lnTo>
                    <a:pt x="517" y="283"/>
                  </a:lnTo>
                  <a:lnTo>
                    <a:pt x="517" y="273"/>
                  </a:lnTo>
                  <a:close/>
                  <a:moveTo>
                    <a:pt x="517" y="294"/>
                  </a:moveTo>
                  <a:lnTo>
                    <a:pt x="527" y="294"/>
                  </a:lnTo>
                  <a:lnTo>
                    <a:pt x="527" y="303"/>
                  </a:lnTo>
                  <a:lnTo>
                    <a:pt x="517" y="303"/>
                  </a:lnTo>
                  <a:lnTo>
                    <a:pt x="517" y="294"/>
                  </a:lnTo>
                  <a:close/>
                  <a:moveTo>
                    <a:pt x="517" y="314"/>
                  </a:moveTo>
                  <a:lnTo>
                    <a:pt x="527" y="314"/>
                  </a:lnTo>
                  <a:lnTo>
                    <a:pt x="527" y="324"/>
                  </a:lnTo>
                  <a:lnTo>
                    <a:pt x="517" y="324"/>
                  </a:lnTo>
                  <a:lnTo>
                    <a:pt x="517" y="314"/>
                  </a:lnTo>
                  <a:close/>
                  <a:moveTo>
                    <a:pt x="517" y="333"/>
                  </a:moveTo>
                  <a:lnTo>
                    <a:pt x="527" y="333"/>
                  </a:lnTo>
                  <a:lnTo>
                    <a:pt x="527" y="343"/>
                  </a:lnTo>
                  <a:lnTo>
                    <a:pt x="517" y="343"/>
                  </a:lnTo>
                  <a:lnTo>
                    <a:pt x="517" y="333"/>
                  </a:lnTo>
                  <a:close/>
                  <a:moveTo>
                    <a:pt x="517" y="354"/>
                  </a:moveTo>
                  <a:lnTo>
                    <a:pt x="527" y="354"/>
                  </a:lnTo>
                  <a:lnTo>
                    <a:pt x="527" y="364"/>
                  </a:lnTo>
                  <a:lnTo>
                    <a:pt x="517" y="364"/>
                  </a:lnTo>
                  <a:lnTo>
                    <a:pt x="517" y="354"/>
                  </a:lnTo>
                  <a:close/>
                  <a:moveTo>
                    <a:pt x="517" y="375"/>
                  </a:moveTo>
                  <a:lnTo>
                    <a:pt x="527" y="375"/>
                  </a:lnTo>
                  <a:lnTo>
                    <a:pt x="527" y="384"/>
                  </a:lnTo>
                  <a:lnTo>
                    <a:pt x="517" y="384"/>
                  </a:lnTo>
                  <a:lnTo>
                    <a:pt x="517" y="375"/>
                  </a:lnTo>
                  <a:close/>
                  <a:moveTo>
                    <a:pt x="517" y="395"/>
                  </a:moveTo>
                  <a:lnTo>
                    <a:pt x="527" y="395"/>
                  </a:lnTo>
                  <a:lnTo>
                    <a:pt x="527" y="405"/>
                  </a:lnTo>
                  <a:lnTo>
                    <a:pt x="517" y="405"/>
                  </a:lnTo>
                  <a:lnTo>
                    <a:pt x="517" y="395"/>
                  </a:lnTo>
                  <a:close/>
                  <a:moveTo>
                    <a:pt x="517" y="414"/>
                  </a:moveTo>
                  <a:lnTo>
                    <a:pt x="527" y="414"/>
                  </a:lnTo>
                  <a:lnTo>
                    <a:pt x="527" y="424"/>
                  </a:lnTo>
                  <a:lnTo>
                    <a:pt x="517" y="424"/>
                  </a:lnTo>
                  <a:lnTo>
                    <a:pt x="517" y="414"/>
                  </a:lnTo>
                  <a:close/>
                  <a:moveTo>
                    <a:pt x="517" y="435"/>
                  </a:moveTo>
                  <a:lnTo>
                    <a:pt x="527" y="435"/>
                  </a:lnTo>
                  <a:lnTo>
                    <a:pt x="527" y="444"/>
                  </a:lnTo>
                  <a:lnTo>
                    <a:pt x="517" y="444"/>
                  </a:lnTo>
                  <a:lnTo>
                    <a:pt x="517" y="435"/>
                  </a:lnTo>
                  <a:close/>
                  <a:moveTo>
                    <a:pt x="527" y="455"/>
                  </a:moveTo>
                  <a:lnTo>
                    <a:pt x="527" y="465"/>
                  </a:lnTo>
                  <a:lnTo>
                    <a:pt x="517" y="465"/>
                  </a:lnTo>
                  <a:lnTo>
                    <a:pt x="517" y="455"/>
                  </a:lnTo>
                  <a:lnTo>
                    <a:pt x="527" y="455"/>
                  </a:lnTo>
                  <a:close/>
                  <a:moveTo>
                    <a:pt x="92" y="495"/>
                  </a:moveTo>
                  <a:lnTo>
                    <a:pt x="101" y="495"/>
                  </a:lnTo>
                  <a:lnTo>
                    <a:pt x="101" y="505"/>
                  </a:lnTo>
                  <a:lnTo>
                    <a:pt x="92" y="505"/>
                  </a:lnTo>
                  <a:lnTo>
                    <a:pt x="92" y="495"/>
                  </a:lnTo>
                  <a:close/>
                  <a:moveTo>
                    <a:pt x="81" y="505"/>
                  </a:moveTo>
                  <a:lnTo>
                    <a:pt x="71" y="505"/>
                  </a:lnTo>
                  <a:lnTo>
                    <a:pt x="71" y="495"/>
                  </a:lnTo>
                  <a:lnTo>
                    <a:pt x="81" y="495"/>
                  </a:lnTo>
                  <a:lnTo>
                    <a:pt x="81" y="505"/>
                  </a:lnTo>
                  <a:close/>
                  <a:moveTo>
                    <a:pt x="112" y="495"/>
                  </a:moveTo>
                  <a:lnTo>
                    <a:pt x="122" y="495"/>
                  </a:lnTo>
                  <a:lnTo>
                    <a:pt x="122" y="505"/>
                  </a:lnTo>
                  <a:lnTo>
                    <a:pt x="112" y="505"/>
                  </a:lnTo>
                  <a:lnTo>
                    <a:pt x="112" y="495"/>
                  </a:lnTo>
                  <a:close/>
                  <a:moveTo>
                    <a:pt x="132" y="495"/>
                  </a:moveTo>
                  <a:lnTo>
                    <a:pt x="141" y="495"/>
                  </a:lnTo>
                  <a:lnTo>
                    <a:pt x="141" y="505"/>
                  </a:lnTo>
                  <a:lnTo>
                    <a:pt x="132" y="505"/>
                  </a:lnTo>
                  <a:lnTo>
                    <a:pt x="132" y="495"/>
                  </a:lnTo>
                  <a:close/>
                  <a:moveTo>
                    <a:pt x="152" y="495"/>
                  </a:moveTo>
                  <a:lnTo>
                    <a:pt x="162" y="495"/>
                  </a:lnTo>
                  <a:lnTo>
                    <a:pt x="162" y="505"/>
                  </a:lnTo>
                  <a:lnTo>
                    <a:pt x="152" y="505"/>
                  </a:lnTo>
                  <a:lnTo>
                    <a:pt x="152" y="495"/>
                  </a:lnTo>
                  <a:close/>
                  <a:moveTo>
                    <a:pt x="173" y="495"/>
                  </a:moveTo>
                  <a:lnTo>
                    <a:pt x="182" y="495"/>
                  </a:lnTo>
                  <a:lnTo>
                    <a:pt x="182" y="505"/>
                  </a:lnTo>
                  <a:lnTo>
                    <a:pt x="173" y="505"/>
                  </a:lnTo>
                  <a:lnTo>
                    <a:pt x="173" y="495"/>
                  </a:lnTo>
                  <a:close/>
                  <a:moveTo>
                    <a:pt x="193" y="495"/>
                  </a:moveTo>
                  <a:lnTo>
                    <a:pt x="203" y="495"/>
                  </a:lnTo>
                  <a:lnTo>
                    <a:pt x="203" y="505"/>
                  </a:lnTo>
                  <a:lnTo>
                    <a:pt x="193" y="505"/>
                  </a:lnTo>
                  <a:lnTo>
                    <a:pt x="193" y="495"/>
                  </a:lnTo>
                  <a:close/>
                  <a:moveTo>
                    <a:pt x="213" y="495"/>
                  </a:moveTo>
                  <a:lnTo>
                    <a:pt x="222" y="495"/>
                  </a:lnTo>
                  <a:lnTo>
                    <a:pt x="222" y="505"/>
                  </a:lnTo>
                  <a:lnTo>
                    <a:pt x="213" y="505"/>
                  </a:lnTo>
                  <a:lnTo>
                    <a:pt x="213" y="495"/>
                  </a:lnTo>
                  <a:close/>
                  <a:moveTo>
                    <a:pt x="233" y="495"/>
                  </a:moveTo>
                  <a:lnTo>
                    <a:pt x="243" y="495"/>
                  </a:lnTo>
                  <a:lnTo>
                    <a:pt x="243" y="505"/>
                  </a:lnTo>
                  <a:lnTo>
                    <a:pt x="233" y="505"/>
                  </a:lnTo>
                  <a:lnTo>
                    <a:pt x="233" y="495"/>
                  </a:lnTo>
                  <a:close/>
                  <a:moveTo>
                    <a:pt x="254" y="495"/>
                  </a:moveTo>
                  <a:lnTo>
                    <a:pt x="263" y="495"/>
                  </a:lnTo>
                  <a:lnTo>
                    <a:pt x="263" y="505"/>
                  </a:lnTo>
                  <a:lnTo>
                    <a:pt x="254" y="505"/>
                  </a:lnTo>
                  <a:lnTo>
                    <a:pt x="254" y="495"/>
                  </a:lnTo>
                  <a:close/>
                  <a:moveTo>
                    <a:pt x="274" y="495"/>
                  </a:moveTo>
                  <a:lnTo>
                    <a:pt x="284" y="495"/>
                  </a:lnTo>
                  <a:lnTo>
                    <a:pt x="284" y="505"/>
                  </a:lnTo>
                  <a:lnTo>
                    <a:pt x="274" y="505"/>
                  </a:lnTo>
                  <a:lnTo>
                    <a:pt x="274" y="495"/>
                  </a:lnTo>
                  <a:close/>
                  <a:moveTo>
                    <a:pt x="293" y="495"/>
                  </a:moveTo>
                  <a:lnTo>
                    <a:pt x="303" y="495"/>
                  </a:lnTo>
                  <a:lnTo>
                    <a:pt x="303" y="505"/>
                  </a:lnTo>
                  <a:lnTo>
                    <a:pt x="293" y="505"/>
                  </a:lnTo>
                  <a:lnTo>
                    <a:pt x="293" y="495"/>
                  </a:lnTo>
                  <a:close/>
                  <a:moveTo>
                    <a:pt x="314" y="495"/>
                  </a:moveTo>
                  <a:lnTo>
                    <a:pt x="324" y="495"/>
                  </a:lnTo>
                  <a:lnTo>
                    <a:pt x="324" y="505"/>
                  </a:lnTo>
                  <a:lnTo>
                    <a:pt x="314" y="505"/>
                  </a:lnTo>
                  <a:lnTo>
                    <a:pt x="314" y="495"/>
                  </a:lnTo>
                  <a:close/>
                  <a:moveTo>
                    <a:pt x="335" y="495"/>
                  </a:moveTo>
                  <a:lnTo>
                    <a:pt x="344" y="495"/>
                  </a:lnTo>
                  <a:lnTo>
                    <a:pt x="344" y="505"/>
                  </a:lnTo>
                  <a:lnTo>
                    <a:pt x="335" y="505"/>
                  </a:lnTo>
                  <a:lnTo>
                    <a:pt x="335" y="495"/>
                  </a:lnTo>
                  <a:close/>
                  <a:moveTo>
                    <a:pt x="355" y="495"/>
                  </a:moveTo>
                  <a:lnTo>
                    <a:pt x="365" y="495"/>
                  </a:lnTo>
                  <a:lnTo>
                    <a:pt x="365" y="505"/>
                  </a:lnTo>
                  <a:lnTo>
                    <a:pt x="355" y="505"/>
                  </a:lnTo>
                  <a:lnTo>
                    <a:pt x="355" y="495"/>
                  </a:lnTo>
                  <a:close/>
                  <a:moveTo>
                    <a:pt x="374" y="495"/>
                  </a:moveTo>
                  <a:lnTo>
                    <a:pt x="384" y="495"/>
                  </a:lnTo>
                  <a:lnTo>
                    <a:pt x="384" y="505"/>
                  </a:lnTo>
                  <a:lnTo>
                    <a:pt x="374" y="505"/>
                  </a:lnTo>
                  <a:lnTo>
                    <a:pt x="374" y="495"/>
                  </a:lnTo>
                  <a:close/>
                  <a:moveTo>
                    <a:pt x="395" y="495"/>
                  </a:moveTo>
                  <a:lnTo>
                    <a:pt x="405" y="495"/>
                  </a:lnTo>
                  <a:lnTo>
                    <a:pt x="405" y="505"/>
                  </a:lnTo>
                  <a:lnTo>
                    <a:pt x="395" y="505"/>
                  </a:lnTo>
                  <a:lnTo>
                    <a:pt x="395" y="495"/>
                  </a:lnTo>
                  <a:close/>
                  <a:moveTo>
                    <a:pt x="416" y="495"/>
                  </a:moveTo>
                  <a:lnTo>
                    <a:pt x="425" y="495"/>
                  </a:lnTo>
                  <a:lnTo>
                    <a:pt x="425" y="505"/>
                  </a:lnTo>
                  <a:lnTo>
                    <a:pt x="416" y="505"/>
                  </a:lnTo>
                  <a:lnTo>
                    <a:pt x="416" y="495"/>
                  </a:lnTo>
                  <a:close/>
                  <a:moveTo>
                    <a:pt x="436" y="495"/>
                  </a:moveTo>
                  <a:lnTo>
                    <a:pt x="446" y="495"/>
                  </a:lnTo>
                  <a:lnTo>
                    <a:pt x="446" y="505"/>
                  </a:lnTo>
                  <a:lnTo>
                    <a:pt x="436" y="505"/>
                  </a:lnTo>
                  <a:lnTo>
                    <a:pt x="436" y="495"/>
                  </a:lnTo>
                  <a:close/>
                  <a:moveTo>
                    <a:pt x="455" y="495"/>
                  </a:moveTo>
                  <a:lnTo>
                    <a:pt x="465" y="495"/>
                  </a:lnTo>
                  <a:lnTo>
                    <a:pt x="465" y="505"/>
                  </a:lnTo>
                  <a:lnTo>
                    <a:pt x="455" y="505"/>
                  </a:lnTo>
                  <a:lnTo>
                    <a:pt x="455" y="495"/>
                  </a:lnTo>
                  <a:close/>
                  <a:moveTo>
                    <a:pt x="476" y="495"/>
                  </a:moveTo>
                  <a:lnTo>
                    <a:pt x="486" y="495"/>
                  </a:lnTo>
                  <a:lnTo>
                    <a:pt x="486" y="505"/>
                  </a:lnTo>
                  <a:lnTo>
                    <a:pt x="476" y="505"/>
                  </a:lnTo>
                  <a:lnTo>
                    <a:pt x="476" y="495"/>
                  </a:lnTo>
                  <a:close/>
                  <a:moveTo>
                    <a:pt x="496" y="495"/>
                  </a:moveTo>
                  <a:lnTo>
                    <a:pt x="506" y="495"/>
                  </a:lnTo>
                  <a:lnTo>
                    <a:pt x="506" y="505"/>
                  </a:lnTo>
                  <a:lnTo>
                    <a:pt x="496" y="505"/>
                  </a:lnTo>
                  <a:lnTo>
                    <a:pt x="496" y="495"/>
                  </a:lnTo>
                  <a:close/>
                  <a:moveTo>
                    <a:pt x="496" y="486"/>
                  </a:moveTo>
                  <a:lnTo>
                    <a:pt x="496" y="476"/>
                  </a:lnTo>
                  <a:lnTo>
                    <a:pt x="506" y="476"/>
                  </a:lnTo>
                  <a:lnTo>
                    <a:pt x="506" y="486"/>
                  </a:lnTo>
                  <a:lnTo>
                    <a:pt x="496" y="486"/>
                  </a:lnTo>
                  <a:close/>
                  <a:moveTo>
                    <a:pt x="486" y="486"/>
                  </a:moveTo>
                  <a:lnTo>
                    <a:pt x="476" y="486"/>
                  </a:lnTo>
                  <a:lnTo>
                    <a:pt x="476" y="476"/>
                  </a:lnTo>
                  <a:lnTo>
                    <a:pt x="486" y="476"/>
                  </a:lnTo>
                  <a:lnTo>
                    <a:pt x="486" y="486"/>
                  </a:lnTo>
                  <a:close/>
                  <a:moveTo>
                    <a:pt x="465" y="486"/>
                  </a:moveTo>
                  <a:lnTo>
                    <a:pt x="455" y="486"/>
                  </a:lnTo>
                  <a:lnTo>
                    <a:pt x="455" y="476"/>
                  </a:lnTo>
                  <a:lnTo>
                    <a:pt x="465" y="476"/>
                  </a:lnTo>
                  <a:lnTo>
                    <a:pt x="465" y="486"/>
                  </a:lnTo>
                  <a:close/>
                  <a:moveTo>
                    <a:pt x="446" y="486"/>
                  </a:moveTo>
                  <a:lnTo>
                    <a:pt x="436" y="486"/>
                  </a:lnTo>
                  <a:lnTo>
                    <a:pt x="436" y="476"/>
                  </a:lnTo>
                  <a:lnTo>
                    <a:pt x="446" y="476"/>
                  </a:lnTo>
                  <a:lnTo>
                    <a:pt x="446" y="486"/>
                  </a:lnTo>
                  <a:close/>
                  <a:moveTo>
                    <a:pt x="425" y="486"/>
                  </a:moveTo>
                  <a:lnTo>
                    <a:pt x="416" y="486"/>
                  </a:lnTo>
                  <a:lnTo>
                    <a:pt x="416" y="476"/>
                  </a:lnTo>
                  <a:lnTo>
                    <a:pt x="425" y="476"/>
                  </a:lnTo>
                  <a:lnTo>
                    <a:pt x="425" y="486"/>
                  </a:lnTo>
                  <a:close/>
                  <a:moveTo>
                    <a:pt x="405" y="486"/>
                  </a:moveTo>
                  <a:lnTo>
                    <a:pt x="395" y="486"/>
                  </a:lnTo>
                  <a:lnTo>
                    <a:pt x="395" y="476"/>
                  </a:lnTo>
                  <a:lnTo>
                    <a:pt x="405" y="476"/>
                  </a:lnTo>
                  <a:lnTo>
                    <a:pt x="405" y="486"/>
                  </a:lnTo>
                  <a:close/>
                  <a:moveTo>
                    <a:pt x="384" y="486"/>
                  </a:moveTo>
                  <a:lnTo>
                    <a:pt x="374" y="486"/>
                  </a:lnTo>
                  <a:lnTo>
                    <a:pt x="374" y="476"/>
                  </a:lnTo>
                  <a:lnTo>
                    <a:pt x="384" y="476"/>
                  </a:lnTo>
                  <a:lnTo>
                    <a:pt x="384" y="486"/>
                  </a:lnTo>
                  <a:close/>
                  <a:moveTo>
                    <a:pt x="365" y="486"/>
                  </a:moveTo>
                  <a:lnTo>
                    <a:pt x="355" y="486"/>
                  </a:lnTo>
                  <a:lnTo>
                    <a:pt x="355" y="476"/>
                  </a:lnTo>
                  <a:lnTo>
                    <a:pt x="365" y="476"/>
                  </a:lnTo>
                  <a:lnTo>
                    <a:pt x="365" y="486"/>
                  </a:lnTo>
                  <a:close/>
                  <a:moveTo>
                    <a:pt x="344" y="486"/>
                  </a:moveTo>
                  <a:lnTo>
                    <a:pt x="335" y="486"/>
                  </a:lnTo>
                  <a:lnTo>
                    <a:pt x="335" y="476"/>
                  </a:lnTo>
                  <a:lnTo>
                    <a:pt x="344" y="476"/>
                  </a:lnTo>
                  <a:lnTo>
                    <a:pt x="344" y="486"/>
                  </a:lnTo>
                  <a:close/>
                  <a:moveTo>
                    <a:pt x="324" y="486"/>
                  </a:moveTo>
                  <a:lnTo>
                    <a:pt x="314" y="486"/>
                  </a:lnTo>
                  <a:lnTo>
                    <a:pt x="314" y="476"/>
                  </a:lnTo>
                  <a:lnTo>
                    <a:pt x="324" y="476"/>
                  </a:lnTo>
                  <a:lnTo>
                    <a:pt x="324" y="486"/>
                  </a:lnTo>
                  <a:close/>
                  <a:moveTo>
                    <a:pt x="303" y="486"/>
                  </a:moveTo>
                  <a:lnTo>
                    <a:pt x="293" y="486"/>
                  </a:lnTo>
                  <a:lnTo>
                    <a:pt x="293" y="476"/>
                  </a:lnTo>
                  <a:lnTo>
                    <a:pt x="303" y="476"/>
                  </a:lnTo>
                  <a:lnTo>
                    <a:pt x="303" y="486"/>
                  </a:lnTo>
                  <a:close/>
                  <a:moveTo>
                    <a:pt x="284" y="486"/>
                  </a:moveTo>
                  <a:lnTo>
                    <a:pt x="274" y="486"/>
                  </a:lnTo>
                  <a:lnTo>
                    <a:pt x="274" y="476"/>
                  </a:lnTo>
                  <a:lnTo>
                    <a:pt x="284" y="476"/>
                  </a:lnTo>
                  <a:lnTo>
                    <a:pt x="284" y="486"/>
                  </a:lnTo>
                  <a:close/>
                  <a:moveTo>
                    <a:pt x="263" y="486"/>
                  </a:moveTo>
                  <a:lnTo>
                    <a:pt x="254" y="486"/>
                  </a:lnTo>
                  <a:lnTo>
                    <a:pt x="254" y="476"/>
                  </a:lnTo>
                  <a:lnTo>
                    <a:pt x="263" y="476"/>
                  </a:lnTo>
                  <a:lnTo>
                    <a:pt x="263" y="486"/>
                  </a:lnTo>
                  <a:close/>
                  <a:moveTo>
                    <a:pt x="243" y="486"/>
                  </a:moveTo>
                  <a:lnTo>
                    <a:pt x="233" y="486"/>
                  </a:lnTo>
                  <a:lnTo>
                    <a:pt x="233" y="476"/>
                  </a:lnTo>
                  <a:lnTo>
                    <a:pt x="243" y="476"/>
                  </a:lnTo>
                  <a:lnTo>
                    <a:pt x="243" y="486"/>
                  </a:lnTo>
                  <a:close/>
                  <a:moveTo>
                    <a:pt x="222" y="486"/>
                  </a:moveTo>
                  <a:lnTo>
                    <a:pt x="213" y="486"/>
                  </a:lnTo>
                  <a:lnTo>
                    <a:pt x="213" y="476"/>
                  </a:lnTo>
                  <a:lnTo>
                    <a:pt x="222" y="476"/>
                  </a:lnTo>
                  <a:lnTo>
                    <a:pt x="222" y="486"/>
                  </a:lnTo>
                  <a:close/>
                  <a:moveTo>
                    <a:pt x="203" y="486"/>
                  </a:moveTo>
                  <a:lnTo>
                    <a:pt x="193" y="486"/>
                  </a:lnTo>
                  <a:lnTo>
                    <a:pt x="193" y="476"/>
                  </a:lnTo>
                  <a:lnTo>
                    <a:pt x="203" y="476"/>
                  </a:lnTo>
                  <a:lnTo>
                    <a:pt x="203" y="486"/>
                  </a:lnTo>
                  <a:close/>
                  <a:moveTo>
                    <a:pt x="182" y="486"/>
                  </a:moveTo>
                  <a:lnTo>
                    <a:pt x="173" y="486"/>
                  </a:lnTo>
                  <a:lnTo>
                    <a:pt x="173" y="476"/>
                  </a:lnTo>
                  <a:lnTo>
                    <a:pt x="182" y="476"/>
                  </a:lnTo>
                  <a:lnTo>
                    <a:pt x="182" y="486"/>
                  </a:lnTo>
                  <a:close/>
                  <a:moveTo>
                    <a:pt x="162" y="486"/>
                  </a:moveTo>
                  <a:lnTo>
                    <a:pt x="152" y="486"/>
                  </a:lnTo>
                  <a:lnTo>
                    <a:pt x="152" y="476"/>
                  </a:lnTo>
                  <a:lnTo>
                    <a:pt x="162" y="476"/>
                  </a:lnTo>
                  <a:lnTo>
                    <a:pt x="162" y="486"/>
                  </a:lnTo>
                  <a:close/>
                  <a:moveTo>
                    <a:pt x="141" y="486"/>
                  </a:moveTo>
                  <a:lnTo>
                    <a:pt x="132" y="486"/>
                  </a:lnTo>
                  <a:lnTo>
                    <a:pt x="132" y="476"/>
                  </a:lnTo>
                  <a:lnTo>
                    <a:pt x="141" y="476"/>
                  </a:lnTo>
                  <a:lnTo>
                    <a:pt x="141" y="486"/>
                  </a:lnTo>
                  <a:close/>
                  <a:moveTo>
                    <a:pt x="122" y="486"/>
                  </a:moveTo>
                  <a:lnTo>
                    <a:pt x="112" y="486"/>
                  </a:lnTo>
                  <a:lnTo>
                    <a:pt x="112" y="476"/>
                  </a:lnTo>
                  <a:lnTo>
                    <a:pt x="122" y="476"/>
                  </a:lnTo>
                  <a:lnTo>
                    <a:pt x="122" y="486"/>
                  </a:lnTo>
                  <a:close/>
                  <a:moveTo>
                    <a:pt x="101" y="486"/>
                  </a:moveTo>
                  <a:lnTo>
                    <a:pt x="92" y="486"/>
                  </a:lnTo>
                  <a:lnTo>
                    <a:pt x="92" y="476"/>
                  </a:lnTo>
                  <a:lnTo>
                    <a:pt x="101" y="476"/>
                  </a:lnTo>
                  <a:lnTo>
                    <a:pt x="101" y="486"/>
                  </a:lnTo>
                  <a:close/>
                  <a:moveTo>
                    <a:pt x="81" y="486"/>
                  </a:moveTo>
                  <a:lnTo>
                    <a:pt x="71" y="486"/>
                  </a:lnTo>
                  <a:lnTo>
                    <a:pt x="71" y="476"/>
                  </a:lnTo>
                  <a:lnTo>
                    <a:pt x="81" y="476"/>
                  </a:lnTo>
                  <a:lnTo>
                    <a:pt x="81" y="486"/>
                  </a:lnTo>
                  <a:close/>
                  <a:moveTo>
                    <a:pt x="60" y="486"/>
                  </a:moveTo>
                  <a:lnTo>
                    <a:pt x="51" y="486"/>
                  </a:lnTo>
                  <a:lnTo>
                    <a:pt x="51" y="476"/>
                  </a:lnTo>
                  <a:lnTo>
                    <a:pt x="60" y="476"/>
                  </a:lnTo>
                  <a:lnTo>
                    <a:pt x="60" y="486"/>
                  </a:lnTo>
                  <a:close/>
                  <a:moveTo>
                    <a:pt x="60" y="495"/>
                  </a:moveTo>
                  <a:lnTo>
                    <a:pt x="60" y="505"/>
                  </a:lnTo>
                  <a:lnTo>
                    <a:pt x="51" y="505"/>
                  </a:lnTo>
                  <a:lnTo>
                    <a:pt x="51" y="495"/>
                  </a:lnTo>
                  <a:lnTo>
                    <a:pt x="60" y="495"/>
                  </a:lnTo>
                  <a:close/>
                  <a:moveTo>
                    <a:pt x="60" y="516"/>
                  </a:moveTo>
                  <a:lnTo>
                    <a:pt x="60" y="525"/>
                  </a:lnTo>
                  <a:lnTo>
                    <a:pt x="51" y="525"/>
                  </a:lnTo>
                  <a:lnTo>
                    <a:pt x="51" y="516"/>
                  </a:lnTo>
                  <a:lnTo>
                    <a:pt x="60" y="516"/>
                  </a:lnTo>
                  <a:close/>
                  <a:moveTo>
                    <a:pt x="71" y="516"/>
                  </a:moveTo>
                  <a:lnTo>
                    <a:pt x="81" y="516"/>
                  </a:lnTo>
                  <a:lnTo>
                    <a:pt x="81" y="525"/>
                  </a:lnTo>
                  <a:lnTo>
                    <a:pt x="71" y="525"/>
                  </a:lnTo>
                  <a:lnTo>
                    <a:pt x="71" y="516"/>
                  </a:lnTo>
                  <a:close/>
                  <a:moveTo>
                    <a:pt x="92" y="516"/>
                  </a:moveTo>
                  <a:lnTo>
                    <a:pt x="101" y="516"/>
                  </a:lnTo>
                  <a:lnTo>
                    <a:pt x="101" y="525"/>
                  </a:lnTo>
                  <a:lnTo>
                    <a:pt x="92" y="525"/>
                  </a:lnTo>
                  <a:lnTo>
                    <a:pt x="92" y="516"/>
                  </a:lnTo>
                  <a:close/>
                  <a:moveTo>
                    <a:pt x="112" y="516"/>
                  </a:moveTo>
                  <a:lnTo>
                    <a:pt x="122" y="516"/>
                  </a:lnTo>
                  <a:lnTo>
                    <a:pt x="122" y="525"/>
                  </a:lnTo>
                  <a:lnTo>
                    <a:pt x="112" y="525"/>
                  </a:lnTo>
                  <a:lnTo>
                    <a:pt x="112" y="516"/>
                  </a:lnTo>
                  <a:close/>
                  <a:moveTo>
                    <a:pt x="132" y="516"/>
                  </a:moveTo>
                  <a:lnTo>
                    <a:pt x="141" y="516"/>
                  </a:lnTo>
                  <a:lnTo>
                    <a:pt x="141" y="525"/>
                  </a:lnTo>
                  <a:lnTo>
                    <a:pt x="132" y="525"/>
                  </a:lnTo>
                  <a:lnTo>
                    <a:pt x="132" y="516"/>
                  </a:lnTo>
                  <a:close/>
                  <a:moveTo>
                    <a:pt x="152" y="516"/>
                  </a:moveTo>
                  <a:lnTo>
                    <a:pt x="162" y="516"/>
                  </a:lnTo>
                  <a:lnTo>
                    <a:pt x="162" y="525"/>
                  </a:lnTo>
                  <a:lnTo>
                    <a:pt x="152" y="525"/>
                  </a:lnTo>
                  <a:lnTo>
                    <a:pt x="152" y="516"/>
                  </a:lnTo>
                  <a:close/>
                  <a:moveTo>
                    <a:pt x="173" y="516"/>
                  </a:moveTo>
                  <a:lnTo>
                    <a:pt x="182" y="516"/>
                  </a:lnTo>
                  <a:lnTo>
                    <a:pt x="182" y="525"/>
                  </a:lnTo>
                  <a:lnTo>
                    <a:pt x="173" y="525"/>
                  </a:lnTo>
                  <a:lnTo>
                    <a:pt x="173" y="516"/>
                  </a:lnTo>
                  <a:close/>
                  <a:moveTo>
                    <a:pt x="193" y="516"/>
                  </a:moveTo>
                  <a:lnTo>
                    <a:pt x="203" y="516"/>
                  </a:lnTo>
                  <a:lnTo>
                    <a:pt x="203" y="525"/>
                  </a:lnTo>
                  <a:lnTo>
                    <a:pt x="193" y="525"/>
                  </a:lnTo>
                  <a:lnTo>
                    <a:pt x="193" y="516"/>
                  </a:lnTo>
                  <a:close/>
                  <a:moveTo>
                    <a:pt x="213" y="516"/>
                  </a:moveTo>
                  <a:lnTo>
                    <a:pt x="222" y="516"/>
                  </a:lnTo>
                  <a:lnTo>
                    <a:pt x="222" y="525"/>
                  </a:lnTo>
                  <a:lnTo>
                    <a:pt x="213" y="525"/>
                  </a:lnTo>
                  <a:lnTo>
                    <a:pt x="213" y="516"/>
                  </a:lnTo>
                  <a:close/>
                  <a:moveTo>
                    <a:pt x="233" y="516"/>
                  </a:moveTo>
                  <a:lnTo>
                    <a:pt x="243" y="516"/>
                  </a:lnTo>
                  <a:lnTo>
                    <a:pt x="243" y="525"/>
                  </a:lnTo>
                  <a:lnTo>
                    <a:pt x="233" y="525"/>
                  </a:lnTo>
                  <a:lnTo>
                    <a:pt x="233" y="516"/>
                  </a:lnTo>
                  <a:close/>
                  <a:moveTo>
                    <a:pt x="254" y="516"/>
                  </a:moveTo>
                  <a:lnTo>
                    <a:pt x="263" y="516"/>
                  </a:lnTo>
                  <a:lnTo>
                    <a:pt x="263" y="525"/>
                  </a:lnTo>
                  <a:lnTo>
                    <a:pt x="254" y="525"/>
                  </a:lnTo>
                  <a:lnTo>
                    <a:pt x="254" y="516"/>
                  </a:lnTo>
                  <a:close/>
                  <a:moveTo>
                    <a:pt x="274" y="516"/>
                  </a:moveTo>
                  <a:lnTo>
                    <a:pt x="284" y="516"/>
                  </a:lnTo>
                  <a:lnTo>
                    <a:pt x="284" y="525"/>
                  </a:lnTo>
                  <a:lnTo>
                    <a:pt x="274" y="525"/>
                  </a:lnTo>
                  <a:lnTo>
                    <a:pt x="274" y="516"/>
                  </a:lnTo>
                  <a:close/>
                  <a:moveTo>
                    <a:pt x="293" y="516"/>
                  </a:moveTo>
                  <a:lnTo>
                    <a:pt x="303" y="516"/>
                  </a:lnTo>
                  <a:lnTo>
                    <a:pt x="303" y="525"/>
                  </a:lnTo>
                  <a:lnTo>
                    <a:pt x="293" y="525"/>
                  </a:lnTo>
                  <a:lnTo>
                    <a:pt x="293" y="516"/>
                  </a:lnTo>
                  <a:close/>
                  <a:moveTo>
                    <a:pt x="314" y="516"/>
                  </a:moveTo>
                  <a:lnTo>
                    <a:pt x="324" y="516"/>
                  </a:lnTo>
                  <a:lnTo>
                    <a:pt x="324" y="525"/>
                  </a:lnTo>
                  <a:lnTo>
                    <a:pt x="314" y="525"/>
                  </a:lnTo>
                  <a:lnTo>
                    <a:pt x="314" y="516"/>
                  </a:lnTo>
                  <a:close/>
                  <a:moveTo>
                    <a:pt x="335" y="516"/>
                  </a:moveTo>
                  <a:lnTo>
                    <a:pt x="344" y="516"/>
                  </a:lnTo>
                  <a:lnTo>
                    <a:pt x="344" y="525"/>
                  </a:lnTo>
                  <a:lnTo>
                    <a:pt x="335" y="525"/>
                  </a:lnTo>
                  <a:lnTo>
                    <a:pt x="335" y="516"/>
                  </a:lnTo>
                  <a:close/>
                  <a:moveTo>
                    <a:pt x="355" y="516"/>
                  </a:moveTo>
                  <a:lnTo>
                    <a:pt x="365" y="516"/>
                  </a:lnTo>
                  <a:lnTo>
                    <a:pt x="365" y="525"/>
                  </a:lnTo>
                  <a:lnTo>
                    <a:pt x="355" y="525"/>
                  </a:lnTo>
                  <a:lnTo>
                    <a:pt x="355" y="516"/>
                  </a:lnTo>
                  <a:close/>
                  <a:moveTo>
                    <a:pt x="374" y="516"/>
                  </a:moveTo>
                  <a:lnTo>
                    <a:pt x="384" y="516"/>
                  </a:lnTo>
                  <a:lnTo>
                    <a:pt x="384" y="525"/>
                  </a:lnTo>
                  <a:lnTo>
                    <a:pt x="374" y="525"/>
                  </a:lnTo>
                  <a:lnTo>
                    <a:pt x="374" y="516"/>
                  </a:lnTo>
                  <a:close/>
                  <a:moveTo>
                    <a:pt x="395" y="516"/>
                  </a:moveTo>
                  <a:lnTo>
                    <a:pt x="405" y="516"/>
                  </a:lnTo>
                  <a:lnTo>
                    <a:pt x="405" y="525"/>
                  </a:lnTo>
                  <a:lnTo>
                    <a:pt x="395" y="525"/>
                  </a:lnTo>
                  <a:lnTo>
                    <a:pt x="395" y="516"/>
                  </a:lnTo>
                  <a:close/>
                  <a:moveTo>
                    <a:pt x="416" y="516"/>
                  </a:moveTo>
                  <a:lnTo>
                    <a:pt x="425" y="516"/>
                  </a:lnTo>
                  <a:lnTo>
                    <a:pt x="425" y="525"/>
                  </a:lnTo>
                  <a:lnTo>
                    <a:pt x="416" y="525"/>
                  </a:lnTo>
                  <a:lnTo>
                    <a:pt x="416" y="516"/>
                  </a:lnTo>
                  <a:close/>
                  <a:moveTo>
                    <a:pt x="436" y="516"/>
                  </a:moveTo>
                  <a:lnTo>
                    <a:pt x="446" y="516"/>
                  </a:lnTo>
                  <a:lnTo>
                    <a:pt x="446" y="525"/>
                  </a:lnTo>
                  <a:lnTo>
                    <a:pt x="436" y="525"/>
                  </a:lnTo>
                  <a:lnTo>
                    <a:pt x="436" y="516"/>
                  </a:lnTo>
                  <a:close/>
                  <a:moveTo>
                    <a:pt x="455" y="516"/>
                  </a:moveTo>
                  <a:lnTo>
                    <a:pt x="465" y="516"/>
                  </a:lnTo>
                  <a:lnTo>
                    <a:pt x="465" y="525"/>
                  </a:lnTo>
                  <a:lnTo>
                    <a:pt x="455" y="525"/>
                  </a:lnTo>
                  <a:lnTo>
                    <a:pt x="455" y="516"/>
                  </a:lnTo>
                  <a:close/>
                  <a:moveTo>
                    <a:pt x="476" y="516"/>
                  </a:moveTo>
                  <a:lnTo>
                    <a:pt x="486" y="516"/>
                  </a:lnTo>
                  <a:lnTo>
                    <a:pt x="486" y="525"/>
                  </a:lnTo>
                  <a:lnTo>
                    <a:pt x="476" y="525"/>
                  </a:lnTo>
                  <a:lnTo>
                    <a:pt x="476" y="516"/>
                  </a:lnTo>
                  <a:close/>
                  <a:moveTo>
                    <a:pt x="496" y="516"/>
                  </a:moveTo>
                  <a:lnTo>
                    <a:pt x="506" y="516"/>
                  </a:lnTo>
                  <a:lnTo>
                    <a:pt x="506" y="525"/>
                  </a:lnTo>
                  <a:lnTo>
                    <a:pt x="496" y="525"/>
                  </a:lnTo>
                  <a:lnTo>
                    <a:pt x="496" y="516"/>
                  </a:lnTo>
                  <a:close/>
                  <a:moveTo>
                    <a:pt x="517" y="516"/>
                  </a:moveTo>
                  <a:lnTo>
                    <a:pt x="527" y="516"/>
                  </a:lnTo>
                  <a:lnTo>
                    <a:pt x="527" y="525"/>
                  </a:lnTo>
                  <a:lnTo>
                    <a:pt x="517" y="525"/>
                  </a:lnTo>
                  <a:lnTo>
                    <a:pt x="517" y="516"/>
                  </a:lnTo>
                  <a:close/>
                  <a:moveTo>
                    <a:pt x="517" y="505"/>
                  </a:moveTo>
                  <a:lnTo>
                    <a:pt x="517" y="495"/>
                  </a:lnTo>
                  <a:lnTo>
                    <a:pt x="527" y="495"/>
                  </a:lnTo>
                  <a:lnTo>
                    <a:pt x="527" y="505"/>
                  </a:lnTo>
                  <a:lnTo>
                    <a:pt x="517" y="505"/>
                  </a:lnTo>
                  <a:close/>
                  <a:moveTo>
                    <a:pt x="517" y="486"/>
                  </a:moveTo>
                  <a:lnTo>
                    <a:pt x="517" y="476"/>
                  </a:lnTo>
                  <a:lnTo>
                    <a:pt x="527" y="476"/>
                  </a:lnTo>
                  <a:lnTo>
                    <a:pt x="527" y="486"/>
                  </a:lnTo>
                  <a:lnTo>
                    <a:pt x="517" y="486"/>
                  </a:lnTo>
                  <a:close/>
                  <a:moveTo>
                    <a:pt x="496" y="30"/>
                  </a:moveTo>
                  <a:lnTo>
                    <a:pt x="506" y="30"/>
                  </a:lnTo>
                  <a:lnTo>
                    <a:pt x="506" y="40"/>
                  </a:lnTo>
                  <a:lnTo>
                    <a:pt x="496" y="40"/>
                  </a:lnTo>
                  <a:lnTo>
                    <a:pt x="496" y="30"/>
                  </a:lnTo>
                  <a:close/>
                  <a:moveTo>
                    <a:pt x="496" y="51"/>
                  </a:moveTo>
                  <a:lnTo>
                    <a:pt x="506" y="51"/>
                  </a:lnTo>
                  <a:lnTo>
                    <a:pt x="506" y="61"/>
                  </a:lnTo>
                  <a:lnTo>
                    <a:pt x="496" y="61"/>
                  </a:lnTo>
                  <a:lnTo>
                    <a:pt x="496" y="51"/>
                  </a:lnTo>
                  <a:close/>
                  <a:moveTo>
                    <a:pt x="496" y="72"/>
                  </a:moveTo>
                  <a:lnTo>
                    <a:pt x="506" y="72"/>
                  </a:lnTo>
                  <a:lnTo>
                    <a:pt x="506" y="81"/>
                  </a:lnTo>
                  <a:lnTo>
                    <a:pt x="496" y="81"/>
                  </a:lnTo>
                  <a:lnTo>
                    <a:pt x="496" y="72"/>
                  </a:lnTo>
                  <a:close/>
                  <a:moveTo>
                    <a:pt x="496" y="91"/>
                  </a:moveTo>
                  <a:lnTo>
                    <a:pt x="506" y="91"/>
                  </a:lnTo>
                  <a:lnTo>
                    <a:pt x="506" y="100"/>
                  </a:lnTo>
                  <a:lnTo>
                    <a:pt x="496" y="100"/>
                  </a:lnTo>
                  <a:lnTo>
                    <a:pt x="496" y="91"/>
                  </a:lnTo>
                  <a:close/>
                  <a:moveTo>
                    <a:pt x="496" y="111"/>
                  </a:moveTo>
                  <a:lnTo>
                    <a:pt x="506" y="111"/>
                  </a:lnTo>
                  <a:lnTo>
                    <a:pt x="506" y="121"/>
                  </a:lnTo>
                  <a:lnTo>
                    <a:pt x="496" y="121"/>
                  </a:lnTo>
                  <a:lnTo>
                    <a:pt x="496" y="111"/>
                  </a:lnTo>
                  <a:close/>
                  <a:moveTo>
                    <a:pt x="496" y="132"/>
                  </a:moveTo>
                  <a:lnTo>
                    <a:pt x="506" y="132"/>
                  </a:lnTo>
                  <a:lnTo>
                    <a:pt x="506" y="142"/>
                  </a:lnTo>
                  <a:lnTo>
                    <a:pt x="496" y="142"/>
                  </a:lnTo>
                  <a:lnTo>
                    <a:pt x="496" y="132"/>
                  </a:lnTo>
                  <a:close/>
                  <a:moveTo>
                    <a:pt x="496" y="152"/>
                  </a:moveTo>
                  <a:lnTo>
                    <a:pt x="506" y="152"/>
                  </a:lnTo>
                  <a:lnTo>
                    <a:pt x="506" y="162"/>
                  </a:lnTo>
                  <a:lnTo>
                    <a:pt x="496" y="162"/>
                  </a:lnTo>
                  <a:lnTo>
                    <a:pt x="496" y="152"/>
                  </a:lnTo>
                  <a:close/>
                  <a:moveTo>
                    <a:pt x="496" y="172"/>
                  </a:moveTo>
                  <a:lnTo>
                    <a:pt x="506" y="172"/>
                  </a:lnTo>
                  <a:lnTo>
                    <a:pt x="506" y="181"/>
                  </a:lnTo>
                  <a:lnTo>
                    <a:pt x="496" y="181"/>
                  </a:lnTo>
                  <a:lnTo>
                    <a:pt x="496" y="172"/>
                  </a:lnTo>
                  <a:close/>
                  <a:moveTo>
                    <a:pt x="496" y="192"/>
                  </a:moveTo>
                  <a:lnTo>
                    <a:pt x="506" y="192"/>
                  </a:lnTo>
                  <a:lnTo>
                    <a:pt x="506" y="202"/>
                  </a:lnTo>
                  <a:lnTo>
                    <a:pt x="496" y="202"/>
                  </a:lnTo>
                  <a:lnTo>
                    <a:pt x="496" y="192"/>
                  </a:lnTo>
                  <a:close/>
                  <a:moveTo>
                    <a:pt x="496" y="213"/>
                  </a:moveTo>
                  <a:lnTo>
                    <a:pt x="506" y="213"/>
                  </a:lnTo>
                  <a:lnTo>
                    <a:pt x="506" y="222"/>
                  </a:lnTo>
                  <a:lnTo>
                    <a:pt x="496" y="222"/>
                  </a:lnTo>
                  <a:lnTo>
                    <a:pt x="496" y="213"/>
                  </a:lnTo>
                  <a:close/>
                  <a:moveTo>
                    <a:pt x="496" y="233"/>
                  </a:moveTo>
                  <a:lnTo>
                    <a:pt x="506" y="233"/>
                  </a:lnTo>
                  <a:lnTo>
                    <a:pt x="506" y="243"/>
                  </a:lnTo>
                  <a:lnTo>
                    <a:pt x="496" y="243"/>
                  </a:lnTo>
                  <a:lnTo>
                    <a:pt x="496" y="233"/>
                  </a:lnTo>
                  <a:close/>
                  <a:moveTo>
                    <a:pt x="496" y="253"/>
                  </a:moveTo>
                  <a:lnTo>
                    <a:pt x="506" y="253"/>
                  </a:lnTo>
                  <a:lnTo>
                    <a:pt x="506" y="262"/>
                  </a:lnTo>
                  <a:lnTo>
                    <a:pt x="496" y="262"/>
                  </a:lnTo>
                  <a:lnTo>
                    <a:pt x="496" y="253"/>
                  </a:lnTo>
                  <a:close/>
                  <a:moveTo>
                    <a:pt x="496" y="273"/>
                  </a:moveTo>
                  <a:lnTo>
                    <a:pt x="506" y="273"/>
                  </a:lnTo>
                  <a:lnTo>
                    <a:pt x="506" y="283"/>
                  </a:lnTo>
                  <a:lnTo>
                    <a:pt x="496" y="283"/>
                  </a:lnTo>
                  <a:lnTo>
                    <a:pt x="496" y="273"/>
                  </a:lnTo>
                  <a:close/>
                  <a:moveTo>
                    <a:pt x="496" y="294"/>
                  </a:moveTo>
                  <a:lnTo>
                    <a:pt x="506" y="294"/>
                  </a:lnTo>
                  <a:lnTo>
                    <a:pt x="506" y="303"/>
                  </a:lnTo>
                  <a:lnTo>
                    <a:pt x="496" y="303"/>
                  </a:lnTo>
                  <a:lnTo>
                    <a:pt x="496" y="294"/>
                  </a:lnTo>
                  <a:close/>
                  <a:moveTo>
                    <a:pt x="496" y="314"/>
                  </a:moveTo>
                  <a:lnTo>
                    <a:pt x="506" y="314"/>
                  </a:lnTo>
                  <a:lnTo>
                    <a:pt x="506" y="324"/>
                  </a:lnTo>
                  <a:lnTo>
                    <a:pt x="496" y="324"/>
                  </a:lnTo>
                  <a:lnTo>
                    <a:pt x="496" y="314"/>
                  </a:lnTo>
                  <a:close/>
                  <a:moveTo>
                    <a:pt x="496" y="333"/>
                  </a:moveTo>
                  <a:lnTo>
                    <a:pt x="506" y="333"/>
                  </a:lnTo>
                  <a:lnTo>
                    <a:pt x="506" y="343"/>
                  </a:lnTo>
                  <a:lnTo>
                    <a:pt x="496" y="343"/>
                  </a:lnTo>
                  <a:lnTo>
                    <a:pt x="496" y="333"/>
                  </a:lnTo>
                  <a:close/>
                  <a:moveTo>
                    <a:pt x="496" y="354"/>
                  </a:moveTo>
                  <a:lnTo>
                    <a:pt x="506" y="354"/>
                  </a:lnTo>
                  <a:lnTo>
                    <a:pt x="506" y="364"/>
                  </a:lnTo>
                  <a:lnTo>
                    <a:pt x="496" y="364"/>
                  </a:lnTo>
                  <a:lnTo>
                    <a:pt x="496" y="354"/>
                  </a:lnTo>
                  <a:close/>
                  <a:moveTo>
                    <a:pt x="496" y="375"/>
                  </a:moveTo>
                  <a:lnTo>
                    <a:pt x="506" y="375"/>
                  </a:lnTo>
                  <a:lnTo>
                    <a:pt x="506" y="384"/>
                  </a:lnTo>
                  <a:lnTo>
                    <a:pt x="496" y="384"/>
                  </a:lnTo>
                  <a:lnTo>
                    <a:pt x="496" y="375"/>
                  </a:lnTo>
                  <a:close/>
                  <a:moveTo>
                    <a:pt x="496" y="395"/>
                  </a:moveTo>
                  <a:lnTo>
                    <a:pt x="506" y="395"/>
                  </a:lnTo>
                  <a:lnTo>
                    <a:pt x="506" y="405"/>
                  </a:lnTo>
                  <a:lnTo>
                    <a:pt x="496" y="405"/>
                  </a:lnTo>
                  <a:lnTo>
                    <a:pt x="496" y="395"/>
                  </a:lnTo>
                  <a:close/>
                  <a:moveTo>
                    <a:pt x="496" y="414"/>
                  </a:moveTo>
                  <a:lnTo>
                    <a:pt x="506" y="414"/>
                  </a:lnTo>
                  <a:lnTo>
                    <a:pt x="506" y="424"/>
                  </a:lnTo>
                  <a:lnTo>
                    <a:pt x="496" y="424"/>
                  </a:lnTo>
                  <a:lnTo>
                    <a:pt x="496" y="414"/>
                  </a:lnTo>
                  <a:close/>
                  <a:moveTo>
                    <a:pt x="496" y="435"/>
                  </a:moveTo>
                  <a:lnTo>
                    <a:pt x="506" y="435"/>
                  </a:lnTo>
                  <a:lnTo>
                    <a:pt x="506" y="444"/>
                  </a:lnTo>
                  <a:lnTo>
                    <a:pt x="496" y="444"/>
                  </a:lnTo>
                  <a:lnTo>
                    <a:pt x="496" y="435"/>
                  </a:lnTo>
                  <a:close/>
                  <a:moveTo>
                    <a:pt x="506" y="455"/>
                  </a:moveTo>
                  <a:lnTo>
                    <a:pt x="506" y="465"/>
                  </a:lnTo>
                  <a:lnTo>
                    <a:pt x="496" y="465"/>
                  </a:lnTo>
                  <a:lnTo>
                    <a:pt x="496" y="455"/>
                  </a:lnTo>
                  <a:lnTo>
                    <a:pt x="506" y="455"/>
                  </a:lnTo>
                  <a:close/>
                  <a:moveTo>
                    <a:pt x="476" y="30"/>
                  </a:moveTo>
                  <a:lnTo>
                    <a:pt x="486" y="30"/>
                  </a:lnTo>
                  <a:lnTo>
                    <a:pt x="486" y="40"/>
                  </a:lnTo>
                  <a:lnTo>
                    <a:pt x="476" y="40"/>
                  </a:lnTo>
                  <a:lnTo>
                    <a:pt x="476" y="30"/>
                  </a:lnTo>
                  <a:close/>
                  <a:moveTo>
                    <a:pt x="476" y="51"/>
                  </a:moveTo>
                  <a:lnTo>
                    <a:pt x="486" y="51"/>
                  </a:lnTo>
                  <a:lnTo>
                    <a:pt x="486" y="61"/>
                  </a:lnTo>
                  <a:lnTo>
                    <a:pt x="476" y="61"/>
                  </a:lnTo>
                  <a:lnTo>
                    <a:pt x="476" y="51"/>
                  </a:lnTo>
                  <a:close/>
                  <a:moveTo>
                    <a:pt x="476" y="72"/>
                  </a:moveTo>
                  <a:lnTo>
                    <a:pt x="486" y="72"/>
                  </a:lnTo>
                  <a:lnTo>
                    <a:pt x="486" y="81"/>
                  </a:lnTo>
                  <a:lnTo>
                    <a:pt x="476" y="81"/>
                  </a:lnTo>
                  <a:lnTo>
                    <a:pt x="476" y="72"/>
                  </a:lnTo>
                  <a:close/>
                  <a:moveTo>
                    <a:pt x="476" y="91"/>
                  </a:moveTo>
                  <a:lnTo>
                    <a:pt x="486" y="91"/>
                  </a:lnTo>
                  <a:lnTo>
                    <a:pt x="486" y="100"/>
                  </a:lnTo>
                  <a:lnTo>
                    <a:pt x="476" y="100"/>
                  </a:lnTo>
                  <a:lnTo>
                    <a:pt x="476" y="91"/>
                  </a:lnTo>
                  <a:close/>
                  <a:moveTo>
                    <a:pt x="476" y="111"/>
                  </a:moveTo>
                  <a:lnTo>
                    <a:pt x="486" y="111"/>
                  </a:lnTo>
                  <a:lnTo>
                    <a:pt x="486" y="121"/>
                  </a:lnTo>
                  <a:lnTo>
                    <a:pt x="476" y="121"/>
                  </a:lnTo>
                  <a:lnTo>
                    <a:pt x="476" y="111"/>
                  </a:lnTo>
                  <a:close/>
                  <a:moveTo>
                    <a:pt x="476" y="132"/>
                  </a:moveTo>
                  <a:lnTo>
                    <a:pt x="486" y="132"/>
                  </a:lnTo>
                  <a:lnTo>
                    <a:pt x="486" y="142"/>
                  </a:lnTo>
                  <a:lnTo>
                    <a:pt x="476" y="142"/>
                  </a:lnTo>
                  <a:lnTo>
                    <a:pt x="476" y="132"/>
                  </a:lnTo>
                  <a:close/>
                  <a:moveTo>
                    <a:pt x="476" y="152"/>
                  </a:moveTo>
                  <a:lnTo>
                    <a:pt x="486" y="152"/>
                  </a:lnTo>
                  <a:lnTo>
                    <a:pt x="486" y="162"/>
                  </a:lnTo>
                  <a:lnTo>
                    <a:pt x="476" y="162"/>
                  </a:lnTo>
                  <a:lnTo>
                    <a:pt x="476" y="152"/>
                  </a:lnTo>
                  <a:close/>
                  <a:moveTo>
                    <a:pt x="476" y="172"/>
                  </a:moveTo>
                  <a:lnTo>
                    <a:pt x="486" y="172"/>
                  </a:lnTo>
                  <a:lnTo>
                    <a:pt x="486" y="181"/>
                  </a:lnTo>
                  <a:lnTo>
                    <a:pt x="476" y="181"/>
                  </a:lnTo>
                  <a:lnTo>
                    <a:pt x="476" y="172"/>
                  </a:lnTo>
                  <a:close/>
                  <a:moveTo>
                    <a:pt x="476" y="192"/>
                  </a:moveTo>
                  <a:lnTo>
                    <a:pt x="486" y="192"/>
                  </a:lnTo>
                  <a:lnTo>
                    <a:pt x="486" y="202"/>
                  </a:lnTo>
                  <a:lnTo>
                    <a:pt x="476" y="202"/>
                  </a:lnTo>
                  <a:lnTo>
                    <a:pt x="476" y="192"/>
                  </a:lnTo>
                  <a:close/>
                  <a:moveTo>
                    <a:pt x="476" y="213"/>
                  </a:moveTo>
                  <a:lnTo>
                    <a:pt x="486" y="213"/>
                  </a:lnTo>
                  <a:lnTo>
                    <a:pt x="486" y="222"/>
                  </a:lnTo>
                  <a:lnTo>
                    <a:pt x="476" y="222"/>
                  </a:lnTo>
                  <a:lnTo>
                    <a:pt x="476" y="213"/>
                  </a:lnTo>
                  <a:close/>
                  <a:moveTo>
                    <a:pt x="476" y="233"/>
                  </a:moveTo>
                  <a:lnTo>
                    <a:pt x="486" y="233"/>
                  </a:lnTo>
                  <a:lnTo>
                    <a:pt x="486" y="243"/>
                  </a:lnTo>
                  <a:lnTo>
                    <a:pt x="476" y="243"/>
                  </a:lnTo>
                  <a:lnTo>
                    <a:pt x="476" y="233"/>
                  </a:lnTo>
                  <a:close/>
                  <a:moveTo>
                    <a:pt x="476" y="253"/>
                  </a:moveTo>
                  <a:lnTo>
                    <a:pt x="486" y="253"/>
                  </a:lnTo>
                  <a:lnTo>
                    <a:pt x="486" y="262"/>
                  </a:lnTo>
                  <a:lnTo>
                    <a:pt x="476" y="262"/>
                  </a:lnTo>
                  <a:lnTo>
                    <a:pt x="476" y="253"/>
                  </a:lnTo>
                  <a:close/>
                  <a:moveTo>
                    <a:pt x="476" y="273"/>
                  </a:moveTo>
                  <a:lnTo>
                    <a:pt x="486" y="273"/>
                  </a:lnTo>
                  <a:lnTo>
                    <a:pt x="486" y="283"/>
                  </a:lnTo>
                  <a:lnTo>
                    <a:pt x="476" y="283"/>
                  </a:lnTo>
                  <a:lnTo>
                    <a:pt x="476" y="273"/>
                  </a:lnTo>
                  <a:close/>
                  <a:moveTo>
                    <a:pt x="476" y="294"/>
                  </a:moveTo>
                  <a:lnTo>
                    <a:pt x="486" y="294"/>
                  </a:lnTo>
                  <a:lnTo>
                    <a:pt x="486" y="303"/>
                  </a:lnTo>
                  <a:lnTo>
                    <a:pt x="476" y="303"/>
                  </a:lnTo>
                  <a:lnTo>
                    <a:pt x="476" y="294"/>
                  </a:lnTo>
                  <a:close/>
                  <a:moveTo>
                    <a:pt x="476" y="314"/>
                  </a:moveTo>
                  <a:lnTo>
                    <a:pt x="486" y="314"/>
                  </a:lnTo>
                  <a:lnTo>
                    <a:pt x="486" y="324"/>
                  </a:lnTo>
                  <a:lnTo>
                    <a:pt x="476" y="324"/>
                  </a:lnTo>
                  <a:lnTo>
                    <a:pt x="476" y="314"/>
                  </a:lnTo>
                  <a:close/>
                  <a:moveTo>
                    <a:pt x="476" y="333"/>
                  </a:moveTo>
                  <a:lnTo>
                    <a:pt x="486" y="333"/>
                  </a:lnTo>
                  <a:lnTo>
                    <a:pt x="486" y="343"/>
                  </a:lnTo>
                  <a:lnTo>
                    <a:pt x="476" y="343"/>
                  </a:lnTo>
                  <a:lnTo>
                    <a:pt x="476" y="333"/>
                  </a:lnTo>
                  <a:close/>
                  <a:moveTo>
                    <a:pt x="476" y="354"/>
                  </a:moveTo>
                  <a:lnTo>
                    <a:pt x="486" y="354"/>
                  </a:lnTo>
                  <a:lnTo>
                    <a:pt x="486" y="364"/>
                  </a:lnTo>
                  <a:lnTo>
                    <a:pt x="476" y="364"/>
                  </a:lnTo>
                  <a:lnTo>
                    <a:pt x="476" y="354"/>
                  </a:lnTo>
                  <a:close/>
                  <a:moveTo>
                    <a:pt x="476" y="375"/>
                  </a:moveTo>
                  <a:lnTo>
                    <a:pt x="486" y="375"/>
                  </a:lnTo>
                  <a:lnTo>
                    <a:pt x="486" y="384"/>
                  </a:lnTo>
                  <a:lnTo>
                    <a:pt x="476" y="384"/>
                  </a:lnTo>
                  <a:lnTo>
                    <a:pt x="476" y="375"/>
                  </a:lnTo>
                  <a:close/>
                  <a:moveTo>
                    <a:pt x="476" y="395"/>
                  </a:moveTo>
                  <a:lnTo>
                    <a:pt x="486" y="395"/>
                  </a:lnTo>
                  <a:lnTo>
                    <a:pt x="486" y="405"/>
                  </a:lnTo>
                  <a:lnTo>
                    <a:pt x="476" y="405"/>
                  </a:lnTo>
                  <a:lnTo>
                    <a:pt x="476" y="395"/>
                  </a:lnTo>
                  <a:close/>
                  <a:moveTo>
                    <a:pt x="476" y="414"/>
                  </a:moveTo>
                  <a:lnTo>
                    <a:pt x="486" y="414"/>
                  </a:lnTo>
                  <a:lnTo>
                    <a:pt x="486" y="424"/>
                  </a:lnTo>
                  <a:lnTo>
                    <a:pt x="476" y="424"/>
                  </a:lnTo>
                  <a:lnTo>
                    <a:pt x="476" y="414"/>
                  </a:lnTo>
                  <a:close/>
                  <a:moveTo>
                    <a:pt x="476" y="435"/>
                  </a:moveTo>
                  <a:lnTo>
                    <a:pt x="486" y="435"/>
                  </a:lnTo>
                  <a:lnTo>
                    <a:pt x="486" y="444"/>
                  </a:lnTo>
                  <a:lnTo>
                    <a:pt x="476" y="444"/>
                  </a:lnTo>
                  <a:lnTo>
                    <a:pt x="476" y="435"/>
                  </a:lnTo>
                  <a:close/>
                  <a:moveTo>
                    <a:pt x="486" y="455"/>
                  </a:moveTo>
                  <a:lnTo>
                    <a:pt x="486" y="465"/>
                  </a:lnTo>
                  <a:lnTo>
                    <a:pt x="476" y="465"/>
                  </a:lnTo>
                  <a:lnTo>
                    <a:pt x="476" y="455"/>
                  </a:lnTo>
                  <a:lnTo>
                    <a:pt x="486" y="455"/>
                  </a:lnTo>
                  <a:close/>
                  <a:moveTo>
                    <a:pt x="455" y="30"/>
                  </a:moveTo>
                  <a:lnTo>
                    <a:pt x="465" y="30"/>
                  </a:lnTo>
                  <a:lnTo>
                    <a:pt x="465" y="40"/>
                  </a:lnTo>
                  <a:lnTo>
                    <a:pt x="455" y="40"/>
                  </a:lnTo>
                  <a:lnTo>
                    <a:pt x="455" y="30"/>
                  </a:lnTo>
                  <a:close/>
                  <a:moveTo>
                    <a:pt x="455" y="51"/>
                  </a:moveTo>
                  <a:lnTo>
                    <a:pt x="465" y="51"/>
                  </a:lnTo>
                  <a:lnTo>
                    <a:pt x="465" y="61"/>
                  </a:lnTo>
                  <a:lnTo>
                    <a:pt x="455" y="61"/>
                  </a:lnTo>
                  <a:lnTo>
                    <a:pt x="455" y="51"/>
                  </a:lnTo>
                  <a:close/>
                  <a:moveTo>
                    <a:pt x="455" y="72"/>
                  </a:moveTo>
                  <a:lnTo>
                    <a:pt x="465" y="72"/>
                  </a:lnTo>
                  <a:lnTo>
                    <a:pt x="465" y="81"/>
                  </a:lnTo>
                  <a:lnTo>
                    <a:pt x="455" y="81"/>
                  </a:lnTo>
                  <a:lnTo>
                    <a:pt x="455" y="72"/>
                  </a:lnTo>
                  <a:close/>
                  <a:moveTo>
                    <a:pt x="455" y="91"/>
                  </a:moveTo>
                  <a:lnTo>
                    <a:pt x="465" y="91"/>
                  </a:lnTo>
                  <a:lnTo>
                    <a:pt x="465" y="100"/>
                  </a:lnTo>
                  <a:lnTo>
                    <a:pt x="455" y="100"/>
                  </a:lnTo>
                  <a:lnTo>
                    <a:pt x="455" y="91"/>
                  </a:lnTo>
                  <a:close/>
                  <a:moveTo>
                    <a:pt x="455" y="111"/>
                  </a:moveTo>
                  <a:lnTo>
                    <a:pt x="465" y="111"/>
                  </a:lnTo>
                  <a:lnTo>
                    <a:pt x="465" y="121"/>
                  </a:lnTo>
                  <a:lnTo>
                    <a:pt x="455" y="121"/>
                  </a:lnTo>
                  <a:lnTo>
                    <a:pt x="455" y="111"/>
                  </a:lnTo>
                  <a:close/>
                  <a:moveTo>
                    <a:pt x="455" y="132"/>
                  </a:moveTo>
                  <a:lnTo>
                    <a:pt x="465" y="132"/>
                  </a:lnTo>
                  <a:lnTo>
                    <a:pt x="465" y="142"/>
                  </a:lnTo>
                  <a:lnTo>
                    <a:pt x="455" y="142"/>
                  </a:lnTo>
                  <a:lnTo>
                    <a:pt x="455" y="132"/>
                  </a:lnTo>
                  <a:close/>
                  <a:moveTo>
                    <a:pt x="455" y="152"/>
                  </a:moveTo>
                  <a:lnTo>
                    <a:pt x="465" y="152"/>
                  </a:lnTo>
                  <a:lnTo>
                    <a:pt x="465" y="162"/>
                  </a:lnTo>
                  <a:lnTo>
                    <a:pt x="455" y="162"/>
                  </a:lnTo>
                  <a:lnTo>
                    <a:pt x="455" y="152"/>
                  </a:lnTo>
                  <a:close/>
                  <a:moveTo>
                    <a:pt x="455" y="172"/>
                  </a:moveTo>
                  <a:lnTo>
                    <a:pt x="465" y="172"/>
                  </a:lnTo>
                  <a:lnTo>
                    <a:pt x="465" y="181"/>
                  </a:lnTo>
                  <a:lnTo>
                    <a:pt x="455" y="181"/>
                  </a:lnTo>
                  <a:lnTo>
                    <a:pt x="455" y="172"/>
                  </a:lnTo>
                  <a:close/>
                  <a:moveTo>
                    <a:pt x="455" y="192"/>
                  </a:moveTo>
                  <a:lnTo>
                    <a:pt x="465" y="192"/>
                  </a:lnTo>
                  <a:lnTo>
                    <a:pt x="465" y="202"/>
                  </a:lnTo>
                  <a:lnTo>
                    <a:pt x="455" y="202"/>
                  </a:lnTo>
                  <a:lnTo>
                    <a:pt x="455" y="192"/>
                  </a:lnTo>
                  <a:close/>
                  <a:moveTo>
                    <a:pt x="455" y="213"/>
                  </a:moveTo>
                  <a:lnTo>
                    <a:pt x="465" y="213"/>
                  </a:lnTo>
                  <a:lnTo>
                    <a:pt x="465" y="222"/>
                  </a:lnTo>
                  <a:lnTo>
                    <a:pt x="455" y="222"/>
                  </a:lnTo>
                  <a:lnTo>
                    <a:pt x="455" y="213"/>
                  </a:lnTo>
                  <a:close/>
                  <a:moveTo>
                    <a:pt x="455" y="233"/>
                  </a:moveTo>
                  <a:lnTo>
                    <a:pt x="465" y="233"/>
                  </a:lnTo>
                  <a:lnTo>
                    <a:pt x="465" y="243"/>
                  </a:lnTo>
                  <a:lnTo>
                    <a:pt x="455" y="243"/>
                  </a:lnTo>
                  <a:lnTo>
                    <a:pt x="455" y="233"/>
                  </a:lnTo>
                  <a:close/>
                  <a:moveTo>
                    <a:pt x="455" y="253"/>
                  </a:moveTo>
                  <a:lnTo>
                    <a:pt x="465" y="253"/>
                  </a:lnTo>
                  <a:lnTo>
                    <a:pt x="465" y="262"/>
                  </a:lnTo>
                  <a:lnTo>
                    <a:pt x="455" y="262"/>
                  </a:lnTo>
                  <a:lnTo>
                    <a:pt x="455" y="253"/>
                  </a:lnTo>
                  <a:close/>
                  <a:moveTo>
                    <a:pt x="455" y="273"/>
                  </a:moveTo>
                  <a:lnTo>
                    <a:pt x="465" y="273"/>
                  </a:lnTo>
                  <a:lnTo>
                    <a:pt x="465" y="283"/>
                  </a:lnTo>
                  <a:lnTo>
                    <a:pt x="455" y="283"/>
                  </a:lnTo>
                  <a:lnTo>
                    <a:pt x="455" y="273"/>
                  </a:lnTo>
                  <a:close/>
                  <a:moveTo>
                    <a:pt x="455" y="294"/>
                  </a:moveTo>
                  <a:lnTo>
                    <a:pt x="465" y="294"/>
                  </a:lnTo>
                  <a:lnTo>
                    <a:pt x="465" y="303"/>
                  </a:lnTo>
                  <a:lnTo>
                    <a:pt x="455" y="303"/>
                  </a:lnTo>
                  <a:lnTo>
                    <a:pt x="455" y="294"/>
                  </a:lnTo>
                  <a:close/>
                  <a:moveTo>
                    <a:pt x="455" y="314"/>
                  </a:moveTo>
                  <a:lnTo>
                    <a:pt x="465" y="314"/>
                  </a:lnTo>
                  <a:lnTo>
                    <a:pt x="465" y="324"/>
                  </a:lnTo>
                  <a:lnTo>
                    <a:pt x="455" y="324"/>
                  </a:lnTo>
                  <a:lnTo>
                    <a:pt x="455" y="314"/>
                  </a:lnTo>
                  <a:close/>
                  <a:moveTo>
                    <a:pt x="455" y="333"/>
                  </a:moveTo>
                  <a:lnTo>
                    <a:pt x="465" y="333"/>
                  </a:lnTo>
                  <a:lnTo>
                    <a:pt x="465" y="343"/>
                  </a:lnTo>
                  <a:lnTo>
                    <a:pt x="455" y="343"/>
                  </a:lnTo>
                  <a:lnTo>
                    <a:pt x="455" y="333"/>
                  </a:lnTo>
                  <a:close/>
                  <a:moveTo>
                    <a:pt x="455" y="354"/>
                  </a:moveTo>
                  <a:lnTo>
                    <a:pt x="465" y="354"/>
                  </a:lnTo>
                  <a:lnTo>
                    <a:pt x="465" y="364"/>
                  </a:lnTo>
                  <a:lnTo>
                    <a:pt x="455" y="364"/>
                  </a:lnTo>
                  <a:lnTo>
                    <a:pt x="455" y="354"/>
                  </a:lnTo>
                  <a:close/>
                  <a:moveTo>
                    <a:pt x="455" y="375"/>
                  </a:moveTo>
                  <a:lnTo>
                    <a:pt x="465" y="375"/>
                  </a:lnTo>
                  <a:lnTo>
                    <a:pt x="465" y="384"/>
                  </a:lnTo>
                  <a:lnTo>
                    <a:pt x="455" y="384"/>
                  </a:lnTo>
                  <a:lnTo>
                    <a:pt x="455" y="375"/>
                  </a:lnTo>
                  <a:close/>
                  <a:moveTo>
                    <a:pt x="455" y="395"/>
                  </a:moveTo>
                  <a:lnTo>
                    <a:pt x="465" y="395"/>
                  </a:lnTo>
                  <a:lnTo>
                    <a:pt x="465" y="405"/>
                  </a:lnTo>
                  <a:lnTo>
                    <a:pt x="455" y="405"/>
                  </a:lnTo>
                  <a:lnTo>
                    <a:pt x="455" y="395"/>
                  </a:lnTo>
                  <a:close/>
                  <a:moveTo>
                    <a:pt x="455" y="414"/>
                  </a:moveTo>
                  <a:lnTo>
                    <a:pt x="465" y="414"/>
                  </a:lnTo>
                  <a:lnTo>
                    <a:pt x="465" y="424"/>
                  </a:lnTo>
                  <a:lnTo>
                    <a:pt x="455" y="424"/>
                  </a:lnTo>
                  <a:lnTo>
                    <a:pt x="455" y="414"/>
                  </a:lnTo>
                  <a:close/>
                  <a:moveTo>
                    <a:pt x="455" y="435"/>
                  </a:moveTo>
                  <a:lnTo>
                    <a:pt x="465" y="435"/>
                  </a:lnTo>
                  <a:lnTo>
                    <a:pt x="465" y="444"/>
                  </a:lnTo>
                  <a:lnTo>
                    <a:pt x="455" y="444"/>
                  </a:lnTo>
                  <a:lnTo>
                    <a:pt x="455" y="435"/>
                  </a:lnTo>
                  <a:close/>
                  <a:moveTo>
                    <a:pt x="465" y="455"/>
                  </a:moveTo>
                  <a:lnTo>
                    <a:pt x="465" y="465"/>
                  </a:lnTo>
                  <a:lnTo>
                    <a:pt x="455" y="465"/>
                  </a:lnTo>
                  <a:lnTo>
                    <a:pt x="455" y="455"/>
                  </a:lnTo>
                  <a:lnTo>
                    <a:pt x="465" y="455"/>
                  </a:lnTo>
                  <a:close/>
                  <a:moveTo>
                    <a:pt x="436" y="30"/>
                  </a:moveTo>
                  <a:lnTo>
                    <a:pt x="446" y="30"/>
                  </a:lnTo>
                  <a:lnTo>
                    <a:pt x="446" y="40"/>
                  </a:lnTo>
                  <a:lnTo>
                    <a:pt x="436" y="40"/>
                  </a:lnTo>
                  <a:lnTo>
                    <a:pt x="436" y="30"/>
                  </a:lnTo>
                  <a:close/>
                  <a:moveTo>
                    <a:pt x="436" y="51"/>
                  </a:moveTo>
                  <a:lnTo>
                    <a:pt x="446" y="51"/>
                  </a:lnTo>
                  <a:lnTo>
                    <a:pt x="446" y="61"/>
                  </a:lnTo>
                  <a:lnTo>
                    <a:pt x="436" y="61"/>
                  </a:lnTo>
                  <a:lnTo>
                    <a:pt x="436" y="51"/>
                  </a:lnTo>
                  <a:close/>
                  <a:moveTo>
                    <a:pt x="436" y="72"/>
                  </a:moveTo>
                  <a:lnTo>
                    <a:pt x="446" y="72"/>
                  </a:lnTo>
                  <a:lnTo>
                    <a:pt x="446" y="81"/>
                  </a:lnTo>
                  <a:lnTo>
                    <a:pt x="436" y="81"/>
                  </a:lnTo>
                  <a:lnTo>
                    <a:pt x="436" y="72"/>
                  </a:lnTo>
                  <a:close/>
                  <a:moveTo>
                    <a:pt x="436" y="91"/>
                  </a:moveTo>
                  <a:lnTo>
                    <a:pt x="446" y="91"/>
                  </a:lnTo>
                  <a:lnTo>
                    <a:pt x="446" y="100"/>
                  </a:lnTo>
                  <a:lnTo>
                    <a:pt x="436" y="100"/>
                  </a:lnTo>
                  <a:lnTo>
                    <a:pt x="436" y="91"/>
                  </a:lnTo>
                  <a:close/>
                  <a:moveTo>
                    <a:pt x="436" y="111"/>
                  </a:moveTo>
                  <a:lnTo>
                    <a:pt x="446" y="111"/>
                  </a:lnTo>
                  <a:lnTo>
                    <a:pt x="446" y="121"/>
                  </a:lnTo>
                  <a:lnTo>
                    <a:pt x="436" y="121"/>
                  </a:lnTo>
                  <a:lnTo>
                    <a:pt x="436" y="111"/>
                  </a:lnTo>
                  <a:close/>
                  <a:moveTo>
                    <a:pt x="436" y="132"/>
                  </a:moveTo>
                  <a:lnTo>
                    <a:pt x="446" y="132"/>
                  </a:lnTo>
                  <a:lnTo>
                    <a:pt x="446" y="142"/>
                  </a:lnTo>
                  <a:lnTo>
                    <a:pt x="436" y="142"/>
                  </a:lnTo>
                  <a:lnTo>
                    <a:pt x="436" y="132"/>
                  </a:lnTo>
                  <a:close/>
                  <a:moveTo>
                    <a:pt x="436" y="152"/>
                  </a:moveTo>
                  <a:lnTo>
                    <a:pt x="446" y="152"/>
                  </a:lnTo>
                  <a:lnTo>
                    <a:pt x="446" y="162"/>
                  </a:lnTo>
                  <a:lnTo>
                    <a:pt x="436" y="162"/>
                  </a:lnTo>
                  <a:lnTo>
                    <a:pt x="436" y="152"/>
                  </a:lnTo>
                  <a:close/>
                  <a:moveTo>
                    <a:pt x="436" y="172"/>
                  </a:moveTo>
                  <a:lnTo>
                    <a:pt x="446" y="172"/>
                  </a:lnTo>
                  <a:lnTo>
                    <a:pt x="446" y="181"/>
                  </a:lnTo>
                  <a:lnTo>
                    <a:pt x="436" y="181"/>
                  </a:lnTo>
                  <a:lnTo>
                    <a:pt x="436" y="172"/>
                  </a:lnTo>
                  <a:close/>
                  <a:moveTo>
                    <a:pt x="436" y="192"/>
                  </a:moveTo>
                  <a:lnTo>
                    <a:pt x="446" y="192"/>
                  </a:lnTo>
                  <a:lnTo>
                    <a:pt x="446" y="202"/>
                  </a:lnTo>
                  <a:lnTo>
                    <a:pt x="436" y="202"/>
                  </a:lnTo>
                  <a:lnTo>
                    <a:pt x="436" y="192"/>
                  </a:lnTo>
                  <a:close/>
                  <a:moveTo>
                    <a:pt x="436" y="213"/>
                  </a:moveTo>
                  <a:lnTo>
                    <a:pt x="446" y="213"/>
                  </a:lnTo>
                  <a:lnTo>
                    <a:pt x="446" y="222"/>
                  </a:lnTo>
                  <a:lnTo>
                    <a:pt x="436" y="222"/>
                  </a:lnTo>
                  <a:lnTo>
                    <a:pt x="436" y="213"/>
                  </a:lnTo>
                  <a:close/>
                  <a:moveTo>
                    <a:pt x="436" y="233"/>
                  </a:moveTo>
                  <a:lnTo>
                    <a:pt x="446" y="233"/>
                  </a:lnTo>
                  <a:lnTo>
                    <a:pt x="446" y="243"/>
                  </a:lnTo>
                  <a:lnTo>
                    <a:pt x="436" y="243"/>
                  </a:lnTo>
                  <a:lnTo>
                    <a:pt x="436" y="233"/>
                  </a:lnTo>
                  <a:close/>
                  <a:moveTo>
                    <a:pt x="436" y="253"/>
                  </a:moveTo>
                  <a:lnTo>
                    <a:pt x="446" y="253"/>
                  </a:lnTo>
                  <a:lnTo>
                    <a:pt x="446" y="262"/>
                  </a:lnTo>
                  <a:lnTo>
                    <a:pt x="436" y="262"/>
                  </a:lnTo>
                  <a:lnTo>
                    <a:pt x="436" y="253"/>
                  </a:lnTo>
                  <a:close/>
                  <a:moveTo>
                    <a:pt x="436" y="273"/>
                  </a:moveTo>
                  <a:lnTo>
                    <a:pt x="446" y="273"/>
                  </a:lnTo>
                  <a:lnTo>
                    <a:pt x="446" y="283"/>
                  </a:lnTo>
                  <a:lnTo>
                    <a:pt x="436" y="283"/>
                  </a:lnTo>
                  <a:lnTo>
                    <a:pt x="436" y="273"/>
                  </a:lnTo>
                  <a:close/>
                  <a:moveTo>
                    <a:pt x="436" y="294"/>
                  </a:moveTo>
                  <a:lnTo>
                    <a:pt x="446" y="294"/>
                  </a:lnTo>
                  <a:lnTo>
                    <a:pt x="446" y="303"/>
                  </a:lnTo>
                  <a:lnTo>
                    <a:pt x="436" y="303"/>
                  </a:lnTo>
                  <a:lnTo>
                    <a:pt x="436" y="294"/>
                  </a:lnTo>
                  <a:close/>
                  <a:moveTo>
                    <a:pt x="436" y="314"/>
                  </a:moveTo>
                  <a:lnTo>
                    <a:pt x="446" y="314"/>
                  </a:lnTo>
                  <a:lnTo>
                    <a:pt x="446" y="324"/>
                  </a:lnTo>
                  <a:lnTo>
                    <a:pt x="436" y="324"/>
                  </a:lnTo>
                  <a:lnTo>
                    <a:pt x="436" y="314"/>
                  </a:lnTo>
                  <a:close/>
                  <a:moveTo>
                    <a:pt x="436" y="333"/>
                  </a:moveTo>
                  <a:lnTo>
                    <a:pt x="446" y="333"/>
                  </a:lnTo>
                  <a:lnTo>
                    <a:pt x="446" y="343"/>
                  </a:lnTo>
                  <a:lnTo>
                    <a:pt x="436" y="343"/>
                  </a:lnTo>
                  <a:lnTo>
                    <a:pt x="436" y="333"/>
                  </a:lnTo>
                  <a:close/>
                  <a:moveTo>
                    <a:pt x="436" y="354"/>
                  </a:moveTo>
                  <a:lnTo>
                    <a:pt x="446" y="354"/>
                  </a:lnTo>
                  <a:lnTo>
                    <a:pt x="446" y="364"/>
                  </a:lnTo>
                  <a:lnTo>
                    <a:pt x="436" y="364"/>
                  </a:lnTo>
                  <a:lnTo>
                    <a:pt x="436" y="354"/>
                  </a:lnTo>
                  <a:close/>
                  <a:moveTo>
                    <a:pt x="436" y="375"/>
                  </a:moveTo>
                  <a:lnTo>
                    <a:pt x="446" y="375"/>
                  </a:lnTo>
                  <a:lnTo>
                    <a:pt x="446" y="384"/>
                  </a:lnTo>
                  <a:lnTo>
                    <a:pt x="436" y="384"/>
                  </a:lnTo>
                  <a:lnTo>
                    <a:pt x="436" y="375"/>
                  </a:lnTo>
                  <a:close/>
                  <a:moveTo>
                    <a:pt x="436" y="395"/>
                  </a:moveTo>
                  <a:lnTo>
                    <a:pt x="446" y="395"/>
                  </a:lnTo>
                  <a:lnTo>
                    <a:pt x="446" y="405"/>
                  </a:lnTo>
                  <a:lnTo>
                    <a:pt x="436" y="405"/>
                  </a:lnTo>
                  <a:lnTo>
                    <a:pt x="436" y="395"/>
                  </a:lnTo>
                  <a:close/>
                  <a:moveTo>
                    <a:pt x="436" y="414"/>
                  </a:moveTo>
                  <a:lnTo>
                    <a:pt x="446" y="414"/>
                  </a:lnTo>
                  <a:lnTo>
                    <a:pt x="446" y="424"/>
                  </a:lnTo>
                  <a:lnTo>
                    <a:pt x="436" y="424"/>
                  </a:lnTo>
                  <a:lnTo>
                    <a:pt x="436" y="414"/>
                  </a:lnTo>
                  <a:close/>
                  <a:moveTo>
                    <a:pt x="436" y="435"/>
                  </a:moveTo>
                  <a:lnTo>
                    <a:pt x="446" y="435"/>
                  </a:lnTo>
                  <a:lnTo>
                    <a:pt x="446" y="444"/>
                  </a:lnTo>
                  <a:lnTo>
                    <a:pt x="436" y="444"/>
                  </a:lnTo>
                  <a:lnTo>
                    <a:pt x="436" y="435"/>
                  </a:lnTo>
                  <a:close/>
                  <a:moveTo>
                    <a:pt x="446" y="455"/>
                  </a:moveTo>
                  <a:lnTo>
                    <a:pt x="446" y="465"/>
                  </a:lnTo>
                  <a:lnTo>
                    <a:pt x="436" y="465"/>
                  </a:lnTo>
                  <a:lnTo>
                    <a:pt x="436" y="455"/>
                  </a:lnTo>
                  <a:lnTo>
                    <a:pt x="446" y="455"/>
                  </a:lnTo>
                  <a:close/>
                  <a:moveTo>
                    <a:pt x="416" y="30"/>
                  </a:moveTo>
                  <a:lnTo>
                    <a:pt x="425" y="30"/>
                  </a:lnTo>
                  <a:lnTo>
                    <a:pt x="425" y="40"/>
                  </a:lnTo>
                  <a:lnTo>
                    <a:pt x="416" y="40"/>
                  </a:lnTo>
                  <a:lnTo>
                    <a:pt x="416" y="30"/>
                  </a:lnTo>
                  <a:close/>
                  <a:moveTo>
                    <a:pt x="416" y="51"/>
                  </a:moveTo>
                  <a:lnTo>
                    <a:pt x="425" y="51"/>
                  </a:lnTo>
                  <a:lnTo>
                    <a:pt x="425" y="61"/>
                  </a:lnTo>
                  <a:lnTo>
                    <a:pt x="416" y="61"/>
                  </a:lnTo>
                  <a:lnTo>
                    <a:pt x="416" y="51"/>
                  </a:lnTo>
                  <a:close/>
                  <a:moveTo>
                    <a:pt x="416" y="72"/>
                  </a:moveTo>
                  <a:lnTo>
                    <a:pt x="425" y="72"/>
                  </a:lnTo>
                  <a:lnTo>
                    <a:pt x="425" y="81"/>
                  </a:lnTo>
                  <a:lnTo>
                    <a:pt x="416" y="81"/>
                  </a:lnTo>
                  <a:lnTo>
                    <a:pt x="416" y="72"/>
                  </a:lnTo>
                  <a:close/>
                  <a:moveTo>
                    <a:pt x="416" y="91"/>
                  </a:moveTo>
                  <a:lnTo>
                    <a:pt x="425" y="91"/>
                  </a:lnTo>
                  <a:lnTo>
                    <a:pt x="425" y="100"/>
                  </a:lnTo>
                  <a:lnTo>
                    <a:pt x="416" y="100"/>
                  </a:lnTo>
                  <a:lnTo>
                    <a:pt x="416" y="91"/>
                  </a:lnTo>
                  <a:close/>
                  <a:moveTo>
                    <a:pt x="416" y="111"/>
                  </a:moveTo>
                  <a:lnTo>
                    <a:pt x="425" y="111"/>
                  </a:lnTo>
                  <a:lnTo>
                    <a:pt x="425" y="121"/>
                  </a:lnTo>
                  <a:lnTo>
                    <a:pt x="416" y="121"/>
                  </a:lnTo>
                  <a:lnTo>
                    <a:pt x="416" y="111"/>
                  </a:lnTo>
                  <a:close/>
                  <a:moveTo>
                    <a:pt x="416" y="132"/>
                  </a:moveTo>
                  <a:lnTo>
                    <a:pt x="425" y="132"/>
                  </a:lnTo>
                  <a:lnTo>
                    <a:pt x="425" y="142"/>
                  </a:lnTo>
                  <a:lnTo>
                    <a:pt x="416" y="142"/>
                  </a:lnTo>
                  <a:lnTo>
                    <a:pt x="416" y="132"/>
                  </a:lnTo>
                  <a:close/>
                  <a:moveTo>
                    <a:pt x="416" y="152"/>
                  </a:moveTo>
                  <a:lnTo>
                    <a:pt x="425" y="152"/>
                  </a:lnTo>
                  <a:lnTo>
                    <a:pt x="425" y="162"/>
                  </a:lnTo>
                  <a:lnTo>
                    <a:pt x="416" y="162"/>
                  </a:lnTo>
                  <a:lnTo>
                    <a:pt x="416" y="152"/>
                  </a:lnTo>
                  <a:close/>
                  <a:moveTo>
                    <a:pt x="416" y="172"/>
                  </a:moveTo>
                  <a:lnTo>
                    <a:pt x="425" y="172"/>
                  </a:lnTo>
                  <a:lnTo>
                    <a:pt x="425" y="181"/>
                  </a:lnTo>
                  <a:lnTo>
                    <a:pt x="416" y="181"/>
                  </a:lnTo>
                  <a:lnTo>
                    <a:pt x="416" y="172"/>
                  </a:lnTo>
                  <a:close/>
                  <a:moveTo>
                    <a:pt x="416" y="192"/>
                  </a:moveTo>
                  <a:lnTo>
                    <a:pt x="425" y="192"/>
                  </a:lnTo>
                  <a:lnTo>
                    <a:pt x="425" y="202"/>
                  </a:lnTo>
                  <a:lnTo>
                    <a:pt x="416" y="202"/>
                  </a:lnTo>
                  <a:lnTo>
                    <a:pt x="416" y="192"/>
                  </a:lnTo>
                  <a:close/>
                  <a:moveTo>
                    <a:pt x="416" y="213"/>
                  </a:moveTo>
                  <a:lnTo>
                    <a:pt x="425" y="213"/>
                  </a:lnTo>
                  <a:lnTo>
                    <a:pt x="425" y="222"/>
                  </a:lnTo>
                  <a:lnTo>
                    <a:pt x="416" y="222"/>
                  </a:lnTo>
                  <a:lnTo>
                    <a:pt x="416" y="213"/>
                  </a:lnTo>
                  <a:close/>
                  <a:moveTo>
                    <a:pt x="416" y="233"/>
                  </a:moveTo>
                  <a:lnTo>
                    <a:pt x="425" y="233"/>
                  </a:lnTo>
                  <a:lnTo>
                    <a:pt x="425" y="243"/>
                  </a:lnTo>
                  <a:lnTo>
                    <a:pt x="416" y="243"/>
                  </a:lnTo>
                  <a:lnTo>
                    <a:pt x="416" y="233"/>
                  </a:lnTo>
                  <a:close/>
                  <a:moveTo>
                    <a:pt x="416" y="253"/>
                  </a:moveTo>
                  <a:lnTo>
                    <a:pt x="425" y="253"/>
                  </a:lnTo>
                  <a:lnTo>
                    <a:pt x="425" y="262"/>
                  </a:lnTo>
                  <a:lnTo>
                    <a:pt x="416" y="262"/>
                  </a:lnTo>
                  <a:lnTo>
                    <a:pt x="416" y="253"/>
                  </a:lnTo>
                  <a:close/>
                  <a:moveTo>
                    <a:pt x="416" y="273"/>
                  </a:moveTo>
                  <a:lnTo>
                    <a:pt x="425" y="273"/>
                  </a:lnTo>
                  <a:lnTo>
                    <a:pt x="425" y="283"/>
                  </a:lnTo>
                  <a:lnTo>
                    <a:pt x="416" y="283"/>
                  </a:lnTo>
                  <a:lnTo>
                    <a:pt x="416" y="273"/>
                  </a:lnTo>
                  <a:close/>
                  <a:moveTo>
                    <a:pt x="416" y="294"/>
                  </a:moveTo>
                  <a:lnTo>
                    <a:pt x="425" y="294"/>
                  </a:lnTo>
                  <a:lnTo>
                    <a:pt x="425" y="303"/>
                  </a:lnTo>
                  <a:lnTo>
                    <a:pt x="416" y="303"/>
                  </a:lnTo>
                  <a:lnTo>
                    <a:pt x="416" y="294"/>
                  </a:lnTo>
                  <a:close/>
                  <a:moveTo>
                    <a:pt x="416" y="314"/>
                  </a:moveTo>
                  <a:lnTo>
                    <a:pt x="425" y="314"/>
                  </a:lnTo>
                  <a:lnTo>
                    <a:pt x="425" y="324"/>
                  </a:lnTo>
                  <a:lnTo>
                    <a:pt x="416" y="324"/>
                  </a:lnTo>
                  <a:lnTo>
                    <a:pt x="416" y="314"/>
                  </a:lnTo>
                  <a:close/>
                  <a:moveTo>
                    <a:pt x="416" y="333"/>
                  </a:moveTo>
                  <a:lnTo>
                    <a:pt x="425" y="333"/>
                  </a:lnTo>
                  <a:lnTo>
                    <a:pt x="425" y="343"/>
                  </a:lnTo>
                  <a:lnTo>
                    <a:pt x="416" y="343"/>
                  </a:lnTo>
                  <a:lnTo>
                    <a:pt x="416" y="333"/>
                  </a:lnTo>
                  <a:close/>
                  <a:moveTo>
                    <a:pt x="416" y="354"/>
                  </a:moveTo>
                  <a:lnTo>
                    <a:pt x="425" y="354"/>
                  </a:lnTo>
                  <a:lnTo>
                    <a:pt x="425" y="364"/>
                  </a:lnTo>
                  <a:lnTo>
                    <a:pt x="416" y="364"/>
                  </a:lnTo>
                  <a:lnTo>
                    <a:pt x="416" y="354"/>
                  </a:lnTo>
                  <a:close/>
                  <a:moveTo>
                    <a:pt x="416" y="375"/>
                  </a:moveTo>
                  <a:lnTo>
                    <a:pt x="425" y="375"/>
                  </a:lnTo>
                  <a:lnTo>
                    <a:pt x="425" y="384"/>
                  </a:lnTo>
                  <a:lnTo>
                    <a:pt x="416" y="384"/>
                  </a:lnTo>
                  <a:lnTo>
                    <a:pt x="416" y="375"/>
                  </a:lnTo>
                  <a:close/>
                  <a:moveTo>
                    <a:pt x="416" y="395"/>
                  </a:moveTo>
                  <a:lnTo>
                    <a:pt x="425" y="395"/>
                  </a:lnTo>
                  <a:lnTo>
                    <a:pt x="425" y="405"/>
                  </a:lnTo>
                  <a:lnTo>
                    <a:pt x="416" y="405"/>
                  </a:lnTo>
                  <a:lnTo>
                    <a:pt x="416" y="395"/>
                  </a:lnTo>
                  <a:close/>
                  <a:moveTo>
                    <a:pt x="416" y="414"/>
                  </a:moveTo>
                  <a:lnTo>
                    <a:pt x="425" y="414"/>
                  </a:lnTo>
                  <a:lnTo>
                    <a:pt x="425" y="424"/>
                  </a:lnTo>
                  <a:lnTo>
                    <a:pt x="416" y="424"/>
                  </a:lnTo>
                  <a:lnTo>
                    <a:pt x="416" y="414"/>
                  </a:lnTo>
                  <a:close/>
                  <a:moveTo>
                    <a:pt x="416" y="435"/>
                  </a:moveTo>
                  <a:lnTo>
                    <a:pt x="425" y="435"/>
                  </a:lnTo>
                  <a:lnTo>
                    <a:pt x="425" y="444"/>
                  </a:lnTo>
                  <a:lnTo>
                    <a:pt x="416" y="444"/>
                  </a:lnTo>
                  <a:lnTo>
                    <a:pt x="416" y="435"/>
                  </a:lnTo>
                  <a:close/>
                  <a:moveTo>
                    <a:pt x="425" y="455"/>
                  </a:moveTo>
                  <a:lnTo>
                    <a:pt x="425" y="465"/>
                  </a:lnTo>
                  <a:lnTo>
                    <a:pt x="416" y="465"/>
                  </a:lnTo>
                  <a:lnTo>
                    <a:pt x="416" y="455"/>
                  </a:lnTo>
                  <a:lnTo>
                    <a:pt x="425" y="455"/>
                  </a:lnTo>
                  <a:close/>
                  <a:moveTo>
                    <a:pt x="395" y="30"/>
                  </a:moveTo>
                  <a:lnTo>
                    <a:pt x="405" y="30"/>
                  </a:lnTo>
                  <a:lnTo>
                    <a:pt x="405" y="40"/>
                  </a:lnTo>
                  <a:lnTo>
                    <a:pt x="395" y="40"/>
                  </a:lnTo>
                  <a:lnTo>
                    <a:pt x="395" y="30"/>
                  </a:lnTo>
                  <a:close/>
                  <a:moveTo>
                    <a:pt x="395" y="51"/>
                  </a:moveTo>
                  <a:lnTo>
                    <a:pt x="405" y="51"/>
                  </a:lnTo>
                  <a:lnTo>
                    <a:pt x="405" y="61"/>
                  </a:lnTo>
                  <a:lnTo>
                    <a:pt x="395" y="61"/>
                  </a:lnTo>
                  <a:lnTo>
                    <a:pt x="395" y="51"/>
                  </a:lnTo>
                  <a:close/>
                  <a:moveTo>
                    <a:pt x="395" y="72"/>
                  </a:moveTo>
                  <a:lnTo>
                    <a:pt x="405" y="72"/>
                  </a:lnTo>
                  <a:lnTo>
                    <a:pt x="405" y="81"/>
                  </a:lnTo>
                  <a:lnTo>
                    <a:pt x="395" y="81"/>
                  </a:lnTo>
                  <a:lnTo>
                    <a:pt x="395" y="72"/>
                  </a:lnTo>
                  <a:close/>
                  <a:moveTo>
                    <a:pt x="395" y="91"/>
                  </a:moveTo>
                  <a:lnTo>
                    <a:pt x="405" y="91"/>
                  </a:lnTo>
                  <a:lnTo>
                    <a:pt x="405" y="100"/>
                  </a:lnTo>
                  <a:lnTo>
                    <a:pt x="395" y="100"/>
                  </a:lnTo>
                  <a:lnTo>
                    <a:pt x="395" y="91"/>
                  </a:lnTo>
                  <a:close/>
                  <a:moveTo>
                    <a:pt x="395" y="111"/>
                  </a:moveTo>
                  <a:lnTo>
                    <a:pt x="405" y="111"/>
                  </a:lnTo>
                  <a:lnTo>
                    <a:pt x="405" y="121"/>
                  </a:lnTo>
                  <a:lnTo>
                    <a:pt x="395" y="121"/>
                  </a:lnTo>
                  <a:lnTo>
                    <a:pt x="395" y="111"/>
                  </a:lnTo>
                  <a:close/>
                  <a:moveTo>
                    <a:pt x="395" y="132"/>
                  </a:moveTo>
                  <a:lnTo>
                    <a:pt x="405" y="132"/>
                  </a:lnTo>
                  <a:lnTo>
                    <a:pt x="405" y="142"/>
                  </a:lnTo>
                  <a:lnTo>
                    <a:pt x="395" y="142"/>
                  </a:lnTo>
                  <a:lnTo>
                    <a:pt x="395" y="132"/>
                  </a:lnTo>
                  <a:close/>
                  <a:moveTo>
                    <a:pt x="395" y="152"/>
                  </a:moveTo>
                  <a:lnTo>
                    <a:pt x="405" y="152"/>
                  </a:lnTo>
                  <a:lnTo>
                    <a:pt x="405" y="162"/>
                  </a:lnTo>
                  <a:lnTo>
                    <a:pt x="395" y="162"/>
                  </a:lnTo>
                  <a:lnTo>
                    <a:pt x="395" y="152"/>
                  </a:lnTo>
                  <a:close/>
                  <a:moveTo>
                    <a:pt x="395" y="172"/>
                  </a:moveTo>
                  <a:lnTo>
                    <a:pt x="405" y="172"/>
                  </a:lnTo>
                  <a:lnTo>
                    <a:pt x="405" y="181"/>
                  </a:lnTo>
                  <a:lnTo>
                    <a:pt x="395" y="181"/>
                  </a:lnTo>
                  <a:lnTo>
                    <a:pt x="395" y="172"/>
                  </a:lnTo>
                  <a:close/>
                  <a:moveTo>
                    <a:pt x="395" y="192"/>
                  </a:moveTo>
                  <a:lnTo>
                    <a:pt x="405" y="192"/>
                  </a:lnTo>
                  <a:lnTo>
                    <a:pt x="405" y="202"/>
                  </a:lnTo>
                  <a:lnTo>
                    <a:pt x="395" y="202"/>
                  </a:lnTo>
                  <a:lnTo>
                    <a:pt x="395" y="192"/>
                  </a:lnTo>
                  <a:close/>
                  <a:moveTo>
                    <a:pt x="395" y="213"/>
                  </a:moveTo>
                  <a:lnTo>
                    <a:pt x="405" y="213"/>
                  </a:lnTo>
                  <a:lnTo>
                    <a:pt x="405" y="222"/>
                  </a:lnTo>
                  <a:lnTo>
                    <a:pt x="395" y="222"/>
                  </a:lnTo>
                  <a:lnTo>
                    <a:pt x="395" y="213"/>
                  </a:lnTo>
                  <a:close/>
                  <a:moveTo>
                    <a:pt x="395" y="233"/>
                  </a:moveTo>
                  <a:lnTo>
                    <a:pt x="405" y="233"/>
                  </a:lnTo>
                  <a:lnTo>
                    <a:pt x="405" y="243"/>
                  </a:lnTo>
                  <a:lnTo>
                    <a:pt x="395" y="243"/>
                  </a:lnTo>
                  <a:lnTo>
                    <a:pt x="395" y="233"/>
                  </a:lnTo>
                  <a:close/>
                  <a:moveTo>
                    <a:pt x="395" y="253"/>
                  </a:moveTo>
                  <a:lnTo>
                    <a:pt x="405" y="253"/>
                  </a:lnTo>
                  <a:lnTo>
                    <a:pt x="405" y="262"/>
                  </a:lnTo>
                  <a:lnTo>
                    <a:pt x="395" y="262"/>
                  </a:lnTo>
                  <a:lnTo>
                    <a:pt x="395" y="253"/>
                  </a:lnTo>
                  <a:close/>
                  <a:moveTo>
                    <a:pt x="395" y="273"/>
                  </a:moveTo>
                  <a:lnTo>
                    <a:pt x="405" y="273"/>
                  </a:lnTo>
                  <a:lnTo>
                    <a:pt x="405" y="283"/>
                  </a:lnTo>
                  <a:lnTo>
                    <a:pt x="395" y="283"/>
                  </a:lnTo>
                  <a:lnTo>
                    <a:pt x="395" y="273"/>
                  </a:lnTo>
                  <a:close/>
                  <a:moveTo>
                    <a:pt x="395" y="294"/>
                  </a:moveTo>
                  <a:lnTo>
                    <a:pt x="405" y="294"/>
                  </a:lnTo>
                  <a:lnTo>
                    <a:pt x="405" y="303"/>
                  </a:lnTo>
                  <a:lnTo>
                    <a:pt x="395" y="303"/>
                  </a:lnTo>
                  <a:lnTo>
                    <a:pt x="395" y="294"/>
                  </a:lnTo>
                  <a:close/>
                  <a:moveTo>
                    <a:pt x="395" y="314"/>
                  </a:moveTo>
                  <a:lnTo>
                    <a:pt x="405" y="314"/>
                  </a:lnTo>
                  <a:lnTo>
                    <a:pt x="405" y="324"/>
                  </a:lnTo>
                  <a:lnTo>
                    <a:pt x="395" y="324"/>
                  </a:lnTo>
                  <a:lnTo>
                    <a:pt x="395" y="314"/>
                  </a:lnTo>
                  <a:close/>
                  <a:moveTo>
                    <a:pt x="395" y="333"/>
                  </a:moveTo>
                  <a:lnTo>
                    <a:pt x="405" y="333"/>
                  </a:lnTo>
                  <a:lnTo>
                    <a:pt x="405" y="343"/>
                  </a:lnTo>
                  <a:lnTo>
                    <a:pt x="395" y="343"/>
                  </a:lnTo>
                  <a:lnTo>
                    <a:pt x="395" y="333"/>
                  </a:lnTo>
                  <a:close/>
                  <a:moveTo>
                    <a:pt x="395" y="354"/>
                  </a:moveTo>
                  <a:lnTo>
                    <a:pt x="405" y="354"/>
                  </a:lnTo>
                  <a:lnTo>
                    <a:pt x="405" y="364"/>
                  </a:lnTo>
                  <a:lnTo>
                    <a:pt x="395" y="364"/>
                  </a:lnTo>
                  <a:lnTo>
                    <a:pt x="395" y="354"/>
                  </a:lnTo>
                  <a:close/>
                  <a:moveTo>
                    <a:pt x="395" y="375"/>
                  </a:moveTo>
                  <a:lnTo>
                    <a:pt x="405" y="375"/>
                  </a:lnTo>
                  <a:lnTo>
                    <a:pt x="405" y="384"/>
                  </a:lnTo>
                  <a:lnTo>
                    <a:pt x="395" y="384"/>
                  </a:lnTo>
                  <a:lnTo>
                    <a:pt x="395" y="375"/>
                  </a:lnTo>
                  <a:close/>
                  <a:moveTo>
                    <a:pt x="395" y="395"/>
                  </a:moveTo>
                  <a:lnTo>
                    <a:pt x="405" y="395"/>
                  </a:lnTo>
                  <a:lnTo>
                    <a:pt x="405" y="405"/>
                  </a:lnTo>
                  <a:lnTo>
                    <a:pt x="395" y="405"/>
                  </a:lnTo>
                  <a:lnTo>
                    <a:pt x="395" y="395"/>
                  </a:lnTo>
                  <a:close/>
                  <a:moveTo>
                    <a:pt x="395" y="414"/>
                  </a:moveTo>
                  <a:lnTo>
                    <a:pt x="405" y="414"/>
                  </a:lnTo>
                  <a:lnTo>
                    <a:pt x="405" y="424"/>
                  </a:lnTo>
                  <a:lnTo>
                    <a:pt x="395" y="424"/>
                  </a:lnTo>
                  <a:lnTo>
                    <a:pt x="395" y="414"/>
                  </a:lnTo>
                  <a:close/>
                  <a:moveTo>
                    <a:pt x="395" y="435"/>
                  </a:moveTo>
                  <a:lnTo>
                    <a:pt x="405" y="435"/>
                  </a:lnTo>
                  <a:lnTo>
                    <a:pt x="405" y="444"/>
                  </a:lnTo>
                  <a:lnTo>
                    <a:pt x="395" y="444"/>
                  </a:lnTo>
                  <a:lnTo>
                    <a:pt x="395" y="435"/>
                  </a:lnTo>
                  <a:close/>
                  <a:moveTo>
                    <a:pt x="405" y="455"/>
                  </a:moveTo>
                  <a:lnTo>
                    <a:pt x="405" y="465"/>
                  </a:lnTo>
                  <a:lnTo>
                    <a:pt x="395" y="465"/>
                  </a:lnTo>
                  <a:lnTo>
                    <a:pt x="395" y="455"/>
                  </a:lnTo>
                  <a:lnTo>
                    <a:pt x="405" y="455"/>
                  </a:lnTo>
                  <a:close/>
                  <a:moveTo>
                    <a:pt x="374" y="30"/>
                  </a:moveTo>
                  <a:lnTo>
                    <a:pt x="384" y="30"/>
                  </a:lnTo>
                  <a:lnTo>
                    <a:pt x="384" y="40"/>
                  </a:lnTo>
                  <a:lnTo>
                    <a:pt x="374" y="40"/>
                  </a:lnTo>
                  <a:lnTo>
                    <a:pt x="374" y="30"/>
                  </a:lnTo>
                  <a:close/>
                  <a:moveTo>
                    <a:pt x="374" y="51"/>
                  </a:moveTo>
                  <a:lnTo>
                    <a:pt x="384" y="51"/>
                  </a:lnTo>
                  <a:lnTo>
                    <a:pt x="384" y="61"/>
                  </a:lnTo>
                  <a:lnTo>
                    <a:pt x="374" y="61"/>
                  </a:lnTo>
                  <a:lnTo>
                    <a:pt x="374" y="51"/>
                  </a:lnTo>
                  <a:close/>
                  <a:moveTo>
                    <a:pt x="374" y="72"/>
                  </a:moveTo>
                  <a:lnTo>
                    <a:pt x="384" y="72"/>
                  </a:lnTo>
                  <a:lnTo>
                    <a:pt x="384" y="81"/>
                  </a:lnTo>
                  <a:lnTo>
                    <a:pt x="374" y="81"/>
                  </a:lnTo>
                  <a:lnTo>
                    <a:pt x="374" y="72"/>
                  </a:lnTo>
                  <a:close/>
                  <a:moveTo>
                    <a:pt x="374" y="91"/>
                  </a:moveTo>
                  <a:lnTo>
                    <a:pt x="384" y="91"/>
                  </a:lnTo>
                  <a:lnTo>
                    <a:pt x="384" y="100"/>
                  </a:lnTo>
                  <a:lnTo>
                    <a:pt x="374" y="100"/>
                  </a:lnTo>
                  <a:lnTo>
                    <a:pt x="374" y="91"/>
                  </a:lnTo>
                  <a:close/>
                  <a:moveTo>
                    <a:pt x="374" y="111"/>
                  </a:moveTo>
                  <a:lnTo>
                    <a:pt x="384" y="111"/>
                  </a:lnTo>
                  <a:lnTo>
                    <a:pt x="384" y="121"/>
                  </a:lnTo>
                  <a:lnTo>
                    <a:pt x="374" y="121"/>
                  </a:lnTo>
                  <a:lnTo>
                    <a:pt x="374" y="111"/>
                  </a:lnTo>
                  <a:close/>
                  <a:moveTo>
                    <a:pt x="374" y="132"/>
                  </a:moveTo>
                  <a:lnTo>
                    <a:pt x="384" y="132"/>
                  </a:lnTo>
                  <a:lnTo>
                    <a:pt x="384" y="142"/>
                  </a:lnTo>
                  <a:lnTo>
                    <a:pt x="374" y="142"/>
                  </a:lnTo>
                  <a:lnTo>
                    <a:pt x="374" y="132"/>
                  </a:lnTo>
                  <a:close/>
                  <a:moveTo>
                    <a:pt x="374" y="152"/>
                  </a:moveTo>
                  <a:lnTo>
                    <a:pt x="384" y="152"/>
                  </a:lnTo>
                  <a:lnTo>
                    <a:pt x="384" y="162"/>
                  </a:lnTo>
                  <a:lnTo>
                    <a:pt x="374" y="162"/>
                  </a:lnTo>
                  <a:lnTo>
                    <a:pt x="374" y="152"/>
                  </a:lnTo>
                  <a:close/>
                  <a:moveTo>
                    <a:pt x="374" y="172"/>
                  </a:moveTo>
                  <a:lnTo>
                    <a:pt x="384" y="172"/>
                  </a:lnTo>
                  <a:lnTo>
                    <a:pt x="384" y="181"/>
                  </a:lnTo>
                  <a:lnTo>
                    <a:pt x="374" y="181"/>
                  </a:lnTo>
                  <a:lnTo>
                    <a:pt x="374" y="172"/>
                  </a:lnTo>
                  <a:close/>
                  <a:moveTo>
                    <a:pt x="374" y="192"/>
                  </a:moveTo>
                  <a:lnTo>
                    <a:pt x="384" y="192"/>
                  </a:lnTo>
                  <a:lnTo>
                    <a:pt x="384" y="202"/>
                  </a:lnTo>
                  <a:lnTo>
                    <a:pt x="374" y="202"/>
                  </a:lnTo>
                  <a:lnTo>
                    <a:pt x="374" y="192"/>
                  </a:lnTo>
                  <a:close/>
                  <a:moveTo>
                    <a:pt x="374" y="213"/>
                  </a:moveTo>
                  <a:lnTo>
                    <a:pt x="384" y="213"/>
                  </a:lnTo>
                  <a:lnTo>
                    <a:pt x="384" y="222"/>
                  </a:lnTo>
                  <a:lnTo>
                    <a:pt x="374" y="222"/>
                  </a:lnTo>
                  <a:lnTo>
                    <a:pt x="374" y="213"/>
                  </a:lnTo>
                  <a:close/>
                  <a:moveTo>
                    <a:pt x="374" y="233"/>
                  </a:moveTo>
                  <a:lnTo>
                    <a:pt x="384" y="233"/>
                  </a:lnTo>
                  <a:lnTo>
                    <a:pt x="384" y="243"/>
                  </a:lnTo>
                  <a:lnTo>
                    <a:pt x="374" y="243"/>
                  </a:lnTo>
                  <a:lnTo>
                    <a:pt x="374" y="233"/>
                  </a:lnTo>
                  <a:close/>
                  <a:moveTo>
                    <a:pt x="374" y="253"/>
                  </a:moveTo>
                  <a:lnTo>
                    <a:pt x="384" y="253"/>
                  </a:lnTo>
                  <a:lnTo>
                    <a:pt x="384" y="262"/>
                  </a:lnTo>
                  <a:lnTo>
                    <a:pt x="374" y="262"/>
                  </a:lnTo>
                  <a:lnTo>
                    <a:pt x="374" y="253"/>
                  </a:lnTo>
                  <a:close/>
                  <a:moveTo>
                    <a:pt x="374" y="273"/>
                  </a:moveTo>
                  <a:lnTo>
                    <a:pt x="384" y="273"/>
                  </a:lnTo>
                  <a:lnTo>
                    <a:pt x="384" y="283"/>
                  </a:lnTo>
                  <a:lnTo>
                    <a:pt x="374" y="283"/>
                  </a:lnTo>
                  <a:lnTo>
                    <a:pt x="374" y="273"/>
                  </a:lnTo>
                  <a:close/>
                  <a:moveTo>
                    <a:pt x="374" y="294"/>
                  </a:moveTo>
                  <a:lnTo>
                    <a:pt x="384" y="294"/>
                  </a:lnTo>
                  <a:lnTo>
                    <a:pt x="384" y="303"/>
                  </a:lnTo>
                  <a:lnTo>
                    <a:pt x="374" y="303"/>
                  </a:lnTo>
                  <a:lnTo>
                    <a:pt x="374" y="294"/>
                  </a:lnTo>
                  <a:close/>
                  <a:moveTo>
                    <a:pt x="374" y="314"/>
                  </a:moveTo>
                  <a:lnTo>
                    <a:pt x="384" y="314"/>
                  </a:lnTo>
                  <a:lnTo>
                    <a:pt x="384" y="324"/>
                  </a:lnTo>
                  <a:lnTo>
                    <a:pt x="374" y="324"/>
                  </a:lnTo>
                  <a:lnTo>
                    <a:pt x="374" y="314"/>
                  </a:lnTo>
                  <a:close/>
                  <a:moveTo>
                    <a:pt x="374" y="333"/>
                  </a:moveTo>
                  <a:lnTo>
                    <a:pt x="384" y="333"/>
                  </a:lnTo>
                  <a:lnTo>
                    <a:pt x="384" y="343"/>
                  </a:lnTo>
                  <a:lnTo>
                    <a:pt x="374" y="343"/>
                  </a:lnTo>
                  <a:lnTo>
                    <a:pt x="374" y="333"/>
                  </a:lnTo>
                  <a:close/>
                  <a:moveTo>
                    <a:pt x="374" y="354"/>
                  </a:moveTo>
                  <a:lnTo>
                    <a:pt x="384" y="354"/>
                  </a:lnTo>
                  <a:lnTo>
                    <a:pt x="384" y="364"/>
                  </a:lnTo>
                  <a:lnTo>
                    <a:pt x="374" y="364"/>
                  </a:lnTo>
                  <a:lnTo>
                    <a:pt x="374" y="354"/>
                  </a:lnTo>
                  <a:close/>
                  <a:moveTo>
                    <a:pt x="374" y="375"/>
                  </a:moveTo>
                  <a:lnTo>
                    <a:pt x="384" y="375"/>
                  </a:lnTo>
                  <a:lnTo>
                    <a:pt x="384" y="384"/>
                  </a:lnTo>
                  <a:lnTo>
                    <a:pt x="374" y="384"/>
                  </a:lnTo>
                  <a:lnTo>
                    <a:pt x="374" y="375"/>
                  </a:lnTo>
                  <a:close/>
                  <a:moveTo>
                    <a:pt x="374" y="395"/>
                  </a:moveTo>
                  <a:lnTo>
                    <a:pt x="384" y="395"/>
                  </a:lnTo>
                  <a:lnTo>
                    <a:pt x="384" y="405"/>
                  </a:lnTo>
                  <a:lnTo>
                    <a:pt x="374" y="405"/>
                  </a:lnTo>
                  <a:lnTo>
                    <a:pt x="374" y="395"/>
                  </a:lnTo>
                  <a:close/>
                  <a:moveTo>
                    <a:pt x="374" y="414"/>
                  </a:moveTo>
                  <a:lnTo>
                    <a:pt x="384" y="414"/>
                  </a:lnTo>
                  <a:lnTo>
                    <a:pt x="384" y="424"/>
                  </a:lnTo>
                  <a:lnTo>
                    <a:pt x="374" y="424"/>
                  </a:lnTo>
                  <a:lnTo>
                    <a:pt x="374" y="414"/>
                  </a:lnTo>
                  <a:close/>
                  <a:moveTo>
                    <a:pt x="374" y="435"/>
                  </a:moveTo>
                  <a:lnTo>
                    <a:pt x="384" y="435"/>
                  </a:lnTo>
                  <a:lnTo>
                    <a:pt x="384" y="444"/>
                  </a:lnTo>
                  <a:lnTo>
                    <a:pt x="374" y="444"/>
                  </a:lnTo>
                  <a:lnTo>
                    <a:pt x="374" y="435"/>
                  </a:lnTo>
                  <a:close/>
                  <a:moveTo>
                    <a:pt x="384" y="455"/>
                  </a:moveTo>
                  <a:lnTo>
                    <a:pt x="384" y="465"/>
                  </a:lnTo>
                  <a:lnTo>
                    <a:pt x="374" y="465"/>
                  </a:lnTo>
                  <a:lnTo>
                    <a:pt x="374" y="455"/>
                  </a:lnTo>
                  <a:lnTo>
                    <a:pt x="384" y="455"/>
                  </a:lnTo>
                  <a:close/>
                  <a:moveTo>
                    <a:pt x="355" y="30"/>
                  </a:moveTo>
                  <a:lnTo>
                    <a:pt x="365" y="30"/>
                  </a:lnTo>
                  <a:lnTo>
                    <a:pt x="365" y="40"/>
                  </a:lnTo>
                  <a:lnTo>
                    <a:pt x="355" y="40"/>
                  </a:lnTo>
                  <a:lnTo>
                    <a:pt x="355" y="30"/>
                  </a:lnTo>
                  <a:close/>
                  <a:moveTo>
                    <a:pt x="355" y="51"/>
                  </a:moveTo>
                  <a:lnTo>
                    <a:pt x="365" y="51"/>
                  </a:lnTo>
                  <a:lnTo>
                    <a:pt x="365" y="61"/>
                  </a:lnTo>
                  <a:lnTo>
                    <a:pt x="355" y="61"/>
                  </a:lnTo>
                  <a:lnTo>
                    <a:pt x="355" y="51"/>
                  </a:lnTo>
                  <a:close/>
                  <a:moveTo>
                    <a:pt x="355" y="72"/>
                  </a:moveTo>
                  <a:lnTo>
                    <a:pt x="365" y="72"/>
                  </a:lnTo>
                  <a:lnTo>
                    <a:pt x="365" y="81"/>
                  </a:lnTo>
                  <a:lnTo>
                    <a:pt x="355" y="81"/>
                  </a:lnTo>
                  <a:lnTo>
                    <a:pt x="355" y="72"/>
                  </a:lnTo>
                  <a:close/>
                  <a:moveTo>
                    <a:pt x="355" y="91"/>
                  </a:moveTo>
                  <a:lnTo>
                    <a:pt x="365" y="91"/>
                  </a:lnTo>
                  <a:lnTo>
                    <a:pt x="365" y="100"/>
                  </a:lnTo>
                  <a:lnTo>
                    <a:pt x="355" y="100"/>
                  </a:lnTo>
                  <a:lnTo>
                    <a:pt x="355" y="91"/>
                  </a:lnTo>
                  <a:close/>
                  <a:moveTo>
                    <a:pt x="355" y="111"/>
                  </a:moveTo>
                  <a:lnTo>
                    <a:pt x="365" y="111"/>
                  </a:lnTo>
                  <a:lnTo>
                    <a:pt x="365" y="121"/>
                  </a:lnTo>
                  <a:lnTo>
                    <a:pt x="355" y="121"/>
                  </a:lnTo>
                  <a:lnTo>
                    <a:pt x="355" y="111"/>
                  </a:lnTo>
                  <a:close/>
                  <a:moveTo>
                    <a:pt x="355" y="132"/>
                  </a:moveTo>
                  <a:lnTo>
                    <a:pt x="365" y="132"/>
                  </a:lnTo>
                  <a:lnTo>
                    <a:pt x="365" y="142"/>
                  </a:lnTo>
                  <a:lnTo>
                    <a:pt x="355" y="142"/>
                  </a:lnTo>
                  <a:lnTo>
                    <a:pt x="355" y="132"/>
                  </a:lnTo>
                  <a:close/>
                  <a:moveTo>
                    <a:pt x="355" y="152"/>
                  </a:moveTo>
                  <a:lnTo>
                    <a:pt x="365" y="152"/>
                  </a:lnTo>
                  <a:lnTo>
                    <a:pt x="365" y="162"/>
                  </a:lnTo>
                  <a:lnTo>
                    <a:pt x="355" y="162"/>
                  </a:lnTo>
                  <a:lnTo>
                    <a:pt x="355" y="152"/>
                  </a:lnTo>
                  <a:close/>
                  <a:moveTo>
                    <a:pt x="355" y="172"/>
                  </a:moveTo>
                  <a:lnTo>
                    <a:pt x="365" y="172"/>
                  </a:lnTo>
                  <a:lnTo>
                    <a:pt x="365" y="181"/>
                  </a:lnTo>
                  <a:lnTo>
                    <a:pt x="355" y="181"/>
                  </a:lnTo>
                  <a:lnTo>
                    <a:pt x="355" y="172"/>
                  </a:lnTo>
                  <a:close/>
                  <a:moveTo>
                    <a:pt x="355" y="192"/>
                  </a:moveTo>
                  <a:lnTo>
                    <a:pt x="365" y="192"/>
                  </a:lnTo>
                  <a:lnTo>
                    <a:pt x="365" y="202"/>
                  </a:lnTo>
                  <a:lnTo>
                    <a:pt x="355" y="202"/>
                  </a:lnTo>
                  <a:lnTo>
                    <a:pt x="355" y="192"/>
                  </a:lnTo>
                  <a:close/>
                  <a:moveTo>
                    <a:pt x="355" y="213"/>
                  </a:moveTo>
                  <a:lnTo>
                    <a:pt x="365" y="213"/>
                  </a:lnTo>
                  <a:lnTo>
                    <a:pt x="365" y="222"/>
                  </a:lnTo>
                  <a:lnTo>
                    <a:pt x="355" y="222"/>
                  </a:lnTo>
                  <a:lnTo>
                    <a:pt x="355" y="213"/>
                  </a:lnTo>
                  <a:close/>
                  <a:moveTo>
                    <a:pt x="355" y="233"/>
                  </a:moveTo>
                  <a:lnTo>
                    <a:pt x="365" y="233"/>
                  </a:lnTo>
                  <a:lnTo>
                    <a:pt x="365" y="243"/>
                  </a:lnTo>
                  <a:lnTo>
                    <a:pt x="355" y="243"/>
                  </a:lnTo>
                  <a:lnTo>
                    <a:pt x="355" y="233"/>
                  </a:lnTo>
                  <a:close/>
                  <a:moveTo>
                    <a:pt x="355" y="253"/>
                  </a:moveTo>
                  <a:lnTo>
                    <a:pt x="365" y="253"/>
                  </a:lnTo>
                  <a:lnTo>
                    <a:pt x="365" y="262"/>
                  </a:lnTo>
                  <a:lnTo>
                    <a:pt x="355" y="262"/>
                  </a:lnTo>
                  <a:lnTo>
                    <a:pt x="355" y="253"/>
                  </a:lnTo>
                  <a:close/>
                  <a:moveTo>
                    <a:pt x="355" y="273"/>
                  </a:moveTo>
                  <a:lnTo>
                    <a:pt x="365" y="273"/>
                  </a:lnTo>
                  <a:lnTo>
                    <a:pt x="365" y="283"/>
                  </a:lnTo>
                  <a:lnTo>
                    <a:pt x="355" y="283"/>
                  </a:lnTo>
                  <a:lnTo>
                    <a:pt x="355" y="273"/>
                  </a:lnTo>
                  <a:close/>
                  <a:moveTo>
                    <a:pt x="355" y="294"/>
                  </a:moveTo>
                  <a:lnTo>
                    <a:pt x="365" y="294"/>
                  </a:lnTo>
                  <a:lnTo>
                    <a:pt x="365" y="303"/>
                  </a:lnTo>
                  <a:lnTo>
                    <a:pt x="355" y="303"/>
                  </a:lnTo>
                  <a:lnTo>
                    <a:pt x="355" y="294"/>
                  </a:lnTo>
                  <a:close/>
                  <a:moveTo>
                    <a:pt x="355" y="314"/>
                  </a:moveTo>
                  <a:lnTo>
                    <a:pt x="365" y="314"/>
                  </a:lnTo>
                  <a:lnTo>
                    <a:pt x="365" y="324"/>
                  </a:lnTo>
                  <a:lnTo>
                    <a:pt x="355" y="324"/>
                  </a:lnTo>
                  <a:lnTo>
                    <a:pt x="355" y="314"/>
                  </a:lnTo>
                  <a:close/>
                  <a:moveTo>
                    <a:pt x="355" y="333"/>
                  </a:moveTo>
                  <a:lnTo>
                    <a:pt x="365" y="333"/>
                  </a:lnTo>
                  <a:lnTo>
                    <a:pt x="365" y="343"/>
                  </a:lnTo>
                  <a:lnTo>
                    <a:pt x="355" y="343"/>
                  </a:lnTo>
                  <a:lnTo>
                    <a:pt x="355" y="333"/>
                  </a:lnTo>
                  <a:close/>
                  <a:moveTo>
                    <a:pt x="355" y="354"/>
                  </a:moveTo>
                  <a:lnTo>
                    <a:pt x="365" y="354"/>
                  </a:lnTo>
                  <a:lnTo>
                    <a:pt x="365" y="364"/>
                  </a:lnTo>
                  <a:lnTo>
                    <a:pt x="355" y="364"/>
                  </a:lnTo>
                  <a:lnTo>
                    <a:pt x="355" y="354"/>
                  </a:lnTo>
                  <a:close/>
                  <a:moveTo>
                    <a:pt x="355" y="375"/>
                  </a:moveTo>
                  <a:lnTo>
                    <a:pt x="365" y="375"/>
                  </a:lnTo>
                  <a:lnTo>
                    <a:pt x="365" y="384"/>
                  </a:lnTo>
                  <a:lnTo>
                    <a:pt x="355" y="384"/>
                  </a:lnTo>
                  <a:lnTo>
                    <a:pt x="355" y="375"/>
                  </a:lnTo>
                  <a:close/>
                  <a:moveTo>
                    <a:pt x="355" y="395"/>
                  </a:moveTo>
                  <a:lnTo>
                    <a:pt x="365" y="395"/>
                  </a:lnTo>
                  <a:lnTo>
                    <a:pt x="365" y="405"/>
                  </a:lnTo>
                  <a:lnTo>
                    <a:pt x="355" y="405"/>
                  </a:lnTo>
                  <a:lnTo>
                    <a:pt x="355" y="395"/>
                  </a:lnTo>
                  <a:close/>
                  <a:moveTo>
                    <a:pt x="355" y="414"/>
                  </a:moveTo>
                  <a:lnTo>
                    <a:pt x="365" y="414"/>
                  </a:lnTo>
                  <a:lnTo>
                    <a:pt x="365" y="424"/>
                  </a:lnTo>
                  <a:lnTo>
                    <a:pt x="355" y="424"/>
                  </a:lnTo>
                  <a:lnTo>
                    <a:pt x="355" y="414"/>
                  </a:lnTo>
                  <a:close/>
                  <a:moveTo>
                    <a:pt x="355" y="435"/>
                  </a:moveTo>
                  <a:lnTo>
                    <a:pt x="365" y="435"/>
                  </a:lnTo>
                  <a:lnTo>
                    <a:pt x="365" y="444"/>
                  </a:lnTo>
                  <a:lnTo>
                    <a:pt x="355" y="444"/>
                  </a:lnTo>
                  <a:lnTo>
                    <a:pt x="355" y="435"/>
                  </a:lnTo>
                  <a:close/>
                  <a:moveTo>
                    <a:pt x="365" y="455"/>
                  </a:moveTo>
                  <a:lnTo>
                    <a:pt x="365" y="465"/>
                  </a:lnTo>
                  <a:lnTo>
                    <a:pt x="355" y="465"/>
                  </a:lnTo>
                  <a:lnTo>
                    <a:pt x="355" y="455"/>
                  </a:lnTo>
                  <a:lnTo>
                    <a:pt x="365" y="455"/>
                  </a:lnTo>
                  <a:close/>
                  <a:moveTo>
                    <a:pt x="335" y="30"/>
                  </a:moveTo>
                  <a:lnTo>
                    <a:pt x="344" y="30"/>
                  </a:lnTo>
                  <a:lnTo>
                    <a:pt x="344" y="40"/>
                  </a:lnTo>
                  <a:lnTo>
                    <a:pt x="335" y="40"/>
                  </a:lnTo>
                  <a:lnTo>
                    <a:pt x="335" y="30"/>
                  </a:lnTo>
                  <a:close/>
                  <a:moveTo>
                    <a:pt x="335" y="51"/>
                  </a:moveTo>
                  <a:lnTo>
                    <a:pt x="344" y="51"/>
                  </a:lnTo>
                  <a:lnTo>
                    <a:pt x="344" y="61"/>
                  </a:lnTo>
                  <a:lnTo>
                    <a:pt x="335" y="61"/>
                  </a:lnTo>
                  <a:lnTo>
                    <a:pt x="335" y="51"/>
                  </a:lnTo>
                  <a:close/>
                  <a:moveTo>
                    <a:pt x="335" y="72"/>
                  </a:moveTo>
                  <a:lnTo>
                    <a:pt x="344" y="72"/>
                  </a:lnTo>
                  <a:lnTo>
                    <a:pt x="344" y="81"/>
                  </a:lnTo>
                  <a:lnTo>
                    <a:pt x="335" y="81"/>
                  </a:lnTo>
                  <a:lnTo>
                    <a:pt x="335" y="72"/>
                  </a:lnTo>
                  <a:close/>
                  <a:moveTo>
                    <a:pt x="335" y="91"/>
                  </a:moveTo>
                  <a:lnTo>
                    <a:pt x="344" y="91"/>
                  </a:lnTo>
                  <a:lnTo>
                    <a:pt x="344" y="100"/>
                  </a:lnTo>
                  <a:lnTo>
                    <a:pt x="335" y="100"/>
                  </a:lnTo>
                  <a:lnTo>
                    <a:pt x="335" y="91"/>
                  </a:lnTo>
                  <a:close/>
                  <a:moveTo>
                    <a:pt x="335" y="111"/>
                  </a:moveTo>
                  <a:lnTo>
                    <a:pt x="344" y="111"/>
                  </a:lnTo>
                  <a:lnTo>
                    <a:pt x="344" y="121"/>
                  </a:lnTo>
                  <a:lnTo>
                    <a:pt x="335" y="121"/>
                  </a:lnTo>
                  <a:lnTo>
                    <a:pt x="335" y="111"/>
                  </a:lnTo>
                  <a:close/>
                  <a:moveTo>
                    <a:pt x="335" y="132"/>
                  </a:moveTo>
                  <a:lnTo>
                    <a:pt x="344" y="132"/>
                  </a:lnTo>
                  <a:lnTo>
                    <a:pt x="344" y="142"/>
                  </a:lnTo>
                  <a:lnTo>
                    <a:pt x="335" y="142"/>
                  </a:lnTo>
                  <a:lnTo>
                    <a:pt x="335" y="132"/>
                  </a:lnTo>
                  <a:close/>
                  <a:moveTo>
                    <a:pt x="335" y="152"/>
                  </a:moveTo>
                  <a:lnTo>
                    <a:pt x="344" y="152"/>
                  </a:lnTo>
                  <a:lnTo>
                    <a:pt x="344" y="162"/>
                  </a:lnTo>
                  <a:lnTo>
                    <a:pt x="335" y="162"/>
                  </a:lnTo>
                  <a:lnTo>
                    <a:pt x="335" y="152"/>
                  </a:lnTo>
                  <a:close/>
                  <a:moveTo>
                    <a:pt x="335" y="172"/>
                  </a:moveTo>
                  <a:lnTo>
                    <a:pt x="344" y="172"/>
                  </a:lnTo>
                  <a:lnTo>
                    <a:pt x="344" y="181"/>
                  </a:lnTo>
                  <a:lnTo>
                    <a:pt x="335" y="181"/>
                  </a:lnTo>
                  <a:lnTo>
                    <a:pt x="335" y="172"/>
                  </a:lnTo>
                  <a:close/>
                  <a:moveTo>
                    <a:pt x="335" y="192"/>
                  </a:moveTo>
                  <a:lnTo>
                    <a:pt x="344" y="192"/>
                  </a:lnTo>
                  <a:lnTo>
                    <a:pt x="344" y="202"/>
                  </a:lnTo>
                  <a:lnTo>
                    <a:pt x="335" y="202"/>
                  </a:lnTo>
                  <a:lnTo>
                    <a:pt x="335" y="192"/>
                  </a:lnTo>
                  <a:close/>
                  <a:moveTo>
                    <a:pt x="335" y="213"/>
                  </a:moveTo>
                  <a:lnTo>
                    <a:pt x="344" y="213"/>
                  </a:lnTo>
                  <a:lnTo>
                    <a:pt x="344" y="222"/>
                  </a:lnTo>
                  <a:lnTo>
                    <a:pt x="335" y="222"/>
                  </a:lnTo>
                  <a:lnTo>
                    <a:pt x="335" y="213"/>
                  </a:lnTo>
                  <a:close/>
                  <a:moveTo>
                    <a:pt x="335" y="233"/>
                  </a:moveTo>
                  <a:lnTo>
                    <a:pt x="344" y="233"/>
                  </a:lnTo>
                  <a:lnTo>
                    <a:pt x="344" y="243"/>
                  </a:lnTo>
                  <a:lnTo>
                    <a:pt x="335" y="243"/>
                  </a:lnTo>
                  <a:lnTo>
                    <a:pt x="335" y="233"/>
                  </a:lnTo>
                  <a:close/>
                  <a:moveTo>
                    <a:pt x="335" y="253"/>
                  </a:moveTo>
                  <a:lnTo>
                    <a:pt x="344" y="253"/>
                  </a:lnTo>
                  <a:lnTo>
                    <a:pt x="344" y="262"/>
                  </a:lnTo>
                  <a:lnTo>
                    <a:pt x="335" y="262"/>
                  </a:lnTo>
                  <a:lnTo>
                    <a:pt x="335" y="253"/>
                  </a:lnTo>
                  <a:close/>
                  <a:moveTo>
                    <a:pt x="335" y="273"/>
                  </a:moveTo>
                  <a:lnTo>
                    <a:pt x="344" y="273"/>
                  </a:lnTo>
                  <a:lnTo>
                    <a:pt x="344" y="283"/>
                  </a:lnTo>
                  <a:lnTo>
                    <a:pt x="335" y="283"/>
                  </a:lnTo>
                  <a:lnTo>
                    <a:pt x="335" y="273"/>
                  </a:lnTo>
                  <a:close/>
                  <a:moveTo>
                    <a:pt x="335" y="294"/>
                  </a:moveTo>
                  <a:lnTo>
                    <a:pt x="344" y="294"/>
                  </a:lnTo>
                  <a:lnTo>
                    <a:pt x="344" y="303"/>
                  </a:lnTo>
                  <a:lnTo>
                    <a:pt x="335" y="303"/>
                  </a:lnTo>
                  <a:lnTo>
                    <a:pt x="335" y="294"/>
                  </a:lnTo>
                  <a:close/>
                  <a:moveTo>
                    <a:pt x="335" y="314"/>
                  </a:moveTo>
                  <a:lnTo>
                    <a:pt x="344" y="314"/>
                  </a:lnTo>
                  <a:lnTo>
                    <a:pt x="344" y="324"/>
                  </a:lnTo>
                  <a:lnTo>
                    <a:pt x="335" y="324"/>
                  </a:lnTo>
                  <a:lnTo>
                    <a:pt x="335" y="314"/>
                  </a:lnTo>
                  <a:close/>
                  <a:moveTo>
                    <a:pt x="335" y="333"/>
                  </a:moveTo>
                  <a:lnTo>
                    <a:pt x="344" y="333"/>
                  </a:lnTo>
                  <a:lnTo>
                    <a:pt x="344" y="343"/>
                  </a:lnTo>
                  <a:lnTo>
                    <a:pt x="335" y="343"/>
                  </a:lnTo>
                  <a:lnTo>
                    <a:pt x="335" y="333"/>
                  </a:lnTo>
                  <a:close/>
                  <a:moveTo>
                    <a:pt x="335" y="354"/>
                  </a:moveTo>
                  <a:lnTo>
                    <a:pt x="344" y="354"/>
                  </a:lnTo>
                  <a:lnTo>
                    <a:pt x="344" y="364"/>
                  </a:lnTo>
                  <a:lnTo>
                    <a:pt x="335" y="364"/>
                  </a:lnTo>
                  <a:lnTo>
                    <a:pt x="335" y="354"/>
                  </a:lnTo>
                  <a:close/>
                  <a:moveTo>
                    <a:pt x="335" y="375"/>
                  </a:moveTo>
                  <a:lnTo>
                    <a:pt x="344" y="375"/>
                  </a:lnTo>
                  <a:lnTo>
                    <a:pt x="344" y="384"/>
                  </a:lnTo>
                  <a:lnTo>
                    <a:pt x="335" y="384"/>
                  </a:lnTo>
                  <a:lnTo>
                    <a:pt x="335" y="375"/>
                  </a:lnTo>
                  <a:close/>
                  <a:moveTo>
                    <a:pt x="335" y="395"/>
                  </a:moveTo>
                  <a:lnTo>
                    <a:pt x="344" y="395"/>
                  </a:lnTo>
                  <a:lnTo>
                    <a:pt x="344" y="405"/>
                  </a:lnTo>
                  <a:lnTo>
                    <a:pt x="335" y="405"/>
                  </a:lnTo>
                  <a:lnTo>
                    <a:pt x="335" y="395"/>
                  </a:lnTo>
                  <a:close/>
                  <a:moveTo>
                    <a:pt x="335" y="414"/>
                  </a:moveTo>
                  <a:lnTo>
                    <a:pt x="344" y="414"/>
                  </a:lnTo>
                  <a:lnTo>
                    <a:pt x="344" y="424"/>
                  </a:lnTo>
                  <a:lnTo>
                    <a:pt x="335" y="424"/>
                  </a:lnTo>
                  <a:lnTo>
                    <a:pt x="335" y="414"/>
                  </a:lnTo>
                  <a:close/>
                  <a:moveTo>
                    <a:pt x="335" y="435"/>
                  </a:moveTo>
                  <a:lnTo>
                    <a:pt x="344" y="435"/>
                  </a:lnTo>
                  <a:lnTo>
                    <a:pt x="344" y="444"/>
                  </a:lnTo>
                  <a:lnTo>
                    <a:pt x="335" y="444"/>
                  </a:lnTo>
                  <a:lnTo>
                    <a:pt x="335" y="435"/>
                  </a:lnTo>
                  <a:close/>
                  <a:moveTo>
                    <a:pt x="344" y="455"/>
                  </a:moveTo>
                  <a:lnTo>
                    <a:pt x="344" y="465"/>
                  </a:lnTo>
                  <a:lnTo>
                    <a:pt x="335" y="465"/>
                  </a:lnTo>
                  <a:lnTo>
                    <a:pt x="335" y="455"/>
                  </a:lnTo>
                  <a:lnTo>
                    <a:pt x="344" y="455"/>
                  </a:lnTo>
                  <a:close/>
                  <a:moveTo>
                    <a:pt x="314" y="30"/>
                  </a:moveTo>
                  <a:lnTo>
                    <a:pt x="324" y="30"/>
                  </a:lnTo>
                  <a:lnTo>
                    <a:pt x="324" y="40"/>
                  </a:lnTo>
                  <a:lnTo>
                    <a:pt x="314" y="40"/>
                  </a:lnTo>
                  <a:lnTo>
                    <a:pt x="314" y="30"/>
                  </a:lnTo>
                  <a:close/>
                  <a:moveTo>
                    <a:pt x="314" y="51"/>
                  </a:moveTo>
                  <a:lnTo>
                    <a:pt x="324" y="51"/>
                  </a:lnTo>
                  <a:lnTo>
                    <a:pt x="324" y="61"/>
                  </a:lnTo>
                  <a:lnTo>
                    <a:pt x="314" y="61"/>
                  </a:lnTo>
                  <a:lnTo>
                    <a:pt x="314" y="51"/>
                  </a:lnTo>
                  <a:close/>
                  <a:moveTo>
                    <a:pt x="314" y="72"/>
                  </a:moveTo>
                  <a:lnTo>
                    <a:pt x="324" y="72"/>
                  </a:lnTo>
                  <a:lnTo>
                    <a:pt x="324" y="81"/>
                  </a:lnTo>
                  <a:lnTo>
                    <a:pt x="314" y="81"/>
                  </a:lnTo>
                  <a:lnTo>
                    <a:pt x="314" y="72"/>
                  </a:lnTo>
                  <a:close/>
                  <a:moveTo>
                    <a:pt x="314" y="91"/>
                  </a:moveTo>
                  <a:lnTo>
                    <a:pt x="324" y="91"/>
                  </a:lnTo>
                  <a:lnTo>
                    <a:pt x="324" y="100"/>
                  </a:lnTo>
                  <a:lnTo>
                    <a:pt x="314" y="100"/>
                  </a:lnTo>
                  <a:lnTo>
                    <a:pt x="314" y="91"/>
                  </a:lnTo>
                  <a:close/>
                  <a:moveTo>
                    <a:pt x="314" y="111"/>
                  </a:moveTo>
                  <a:lnTo>
                    <a:pt x="324" y="111"/>
                  </a:lnTo>
                  <a:lnTo>
                    <a:pt x="324" y="121"/>
                  </a:lnTo>
                  <a:lnTo>
                    <a:pt x="314" y="121"/>
                  </a:lnTo>
                  <a:lnTo>
                    <a:pt x="314" y="111"/>
                  </a:lnTo>
                  <a:close/>
                  <a:moveTo>
                    <a:pt x="314" y="132"/>
                  </a:moveTo>
                  <a:lnTo>
                    <a:pt x="324" y="132"/>
                  </a:lnTo>
                  <a:lnTo>
                    <a:pt x="324" y="142"/>
                  </a:lnTo>
                  <a:lnTo>
                    <a:pt x="314" y="142"/>
                  </a:lnTo>
                  <a:lnTo>
                    <a:pt x="314" y="132"/>
                  </a:lnTo>
                  <a:close/>
                  <a:moveTo>
                    <a:pt x="314" y="152"/>
                  </a:moveTo>
                  <a:lnTo>
                    <a:pt x="324" y="152"/>
                  </a:lnTo>
                  <a:lnTo>
                    <a:pt x="324" y="162"/>
                  </a:lnTo>
                  <a:lnTo>
                    <a:pt x="314" y="162"/>
                  </a:lnTo>
                  <a:lnTo>
                    <a:pt x="314" y="152"/>
                  </a:lnTo>
                  <a:close/>
                  <a:moveTo>
                    <a:pt x="314" y="172"/>
                  </a:moveTo>
                  <a:lnTo>
                    <a:pt x="324" y="172"/>
                  </a:lnTo>
                  <a:lnTo>
                    <a:pt x="324" y="181"/>
                  </a:lnTo>
                  <a:lnTo>
                    <a:pt x="314" y="181"/>
                  </a:lnTo>
                  <a:lnTo>
                    <a:pt x="314" y="172"/>
                  </a:lnTo>
                  <a:close/>
                  <a:moveTo>
                    <a:pt x="314" y="192"/>
                  </a:moveTo>
                  <a:lnTo>
                    <a:pt x="324" y="192"/>
                  </a:lnTo>
                  <a:lnTo>
                    <a:pt x="324" y="202"/>
                  </a:lnTo>
                  <a:lnTo>
                    <a:pt x="314" y="202"/>
                  </a:lnTo>
                  <a:lnTo>
                    <a:pt x="314" y="192"/>
                  </a:lnTo>
                  <a:close/>
                  <a:moveTo>
                    <a:pt x="314" y="213"/>
                  </a:moveTo>
                  <a:lnTo>
                    <a:pt x="324" y="213"/>
                  </a:lnTo>
                  <a:lnTo>
                    <a:pt x="324" y="222"/>
                  </a:lnTo>
                  <a:lnTo>
                    <a:pt x="314" y="222"/>
                  </a:lnTo>
                  <a:lnTo>
                    <a:pt x="314" y="213"/>
                  </a:lnTo>
                  <a:close/>
                  <a:moveTo>
                    <a:pt x="314" y="233"/>
                  </a:moveTo>
                  <a:lnTo>
                    <a:pt x="324" y="233"/>
                  </a:lnTo>
                  <a:lnTo>
                    <a:pt x="324" y="243"/>
                  </a:lnTo>
                  <a:lnTo>
                    <a:pt x="314" y="243"/>
                  </a:lnTo>
                  <a:lnTo>
                    <a:pt x="314" y="233"/>
                  </a:lnTo>
                  <a:close/>
                  <a:moveTo>
                    <a:pt x="314" y="253"/>
                  </a:moveTo>
                  <a:lnTo>
                    <a:pt x="324" y="253"/>
                  </a:lnTo>
                  <a:lnTo>
                    <a:pt x="324" y="262"/>
                  </a:lnTo>
                  <a:lnTo>
                    <a:pt x="314" y="262"/>
                  </a:lnTo>
                  <a:lnTo>
                    <a:pt x="314" y="253"/>
                  </a:lnTo>
                  <a:close/>
                  <a:moveTo>
                    <a:pt x="314" y="273"/>
                  </a:moveTo>
                  <a:lnTo>
                    <a:pt x="324" y="273"/>
                  </a:lnTo>
                  <a:lnTo>
                    <a:pt x="324" y="283"/>
                  </a:lnTo>
                  <a:lnTo>
                    <a:pt x="314" y="283"/>
                  </a:lnTo>
                  <a:lnTo>
                    <a:pt x="314" y="273"/>
                  </a:lnTo>
                  <a:close/>
                  <a:moveTo>
                    <a:pt x="314" y="294"/>
                  </a:moveTo>
                  <a:lnTo>
                    <a:pt x="324" y="294"/>
                  </a:lnTo>
                  <a:lnTo>
                    <a:pt x="324" y="303"/>
                  </a:lnTo>
                  <a:lnTo>
                    <a:pt x="314" y="303"/>
                  </a:lnTo>
                  <a:lnTo>
                    <a:pt x="314" y="294"/>
                  </a:lnTo>
                  <a:close/>
                  <a:moveTo>
                    <a:pt x="314" y="314"/>
                  </a:moveTo>
                  <a:lnTo>
                    <a:pt x="324" y="314"/>
                  </a:lnTo>
                  <a:lnTo>
                    <a:pt x="324" y="324"/>
                  </a:lnTo>
                  <a:lnTo>
                    <a:pt x="314" y="324"/>
                  </a:lnTo>
                  <a:lnTo>
                    <a:pt x="314" y="314"/>
                  </a:lnTo>
                  <a:close/>
                  <a:moveTo>
                    <a:pt x="314" y="333"/>
                  </a:moveTo>
                  <a:lnTo>
                    <a:pt x="324" y="333"/>
                  </a:lnTo>
                  <a:lnTo>
                    <a:pt x="324" y="343"/>
                  </a:lnTo>
                  <a:lnTo>
                    <a:pt x="314" y="343"/>
                  </a:lnTo>
                  <a:lnTo>
                    <a:pt x="314" y="333"/>
                  </a:lnTo>
                  <a:close/>
                  <a:moveTo>
                    <a:pt x="314" y="354"/>
                  </a:moveTo>
                  <a:lnTo>
                    <a:pt x="324" y="354"/>
                  </a:lnTo>
                  <a:lnTo>
                    <a:pt x="324" y="364"/>
                  </a:lnTo>
                  <a:lnTo>
                    <a:pt x="314" y="364"/>
                  </a:lnTo>
                  <a:lnTo>
                    <a:pt x="314" y="354"/>
                  </a:lnTo>
                  <a:close/>
                  <a:moveTo>
                    <a:pt x="314" y="375"/>
                  </a:moveTo>
                  <a:lnTo>
                    <a:pt x="324" y="375"/>
                  </a:lnTo>
                  <a:lnTo>
                    <a:pt x="324" y="384"/>
                  </a:lnTo>
                  <a:lnTo>
                    <a:pt x="314" y="384"/>
                  </a:lnTo>
                  <a:lnTo>
                    <a:pt x="314" y="375"/>
                  </a:lnTo>
                  <a:close/>
                  <a:moveTo>
                    <a:pt x="314" y="395"/>
                  </a:moveTo>
                  <a:lnTo>
                    <a:pt x="324" y="395"/>
                  </a:lnTo>
                  <a:lnTo>
                    <a:pt x="324" y="405"/>
                  </a:lnTo>
                  <a:lnTo>
                    <a:pt x="314" y="405"/>
                  </a:lnTo>
                  <a:lnTo>
                    <a:pt x="314" y="395"/>
                  </a:lnTo>
                  <a:close/>
                  <a:moveTo>
                    <a:pt x="314" y="414"/>
                  </a:moveTo>
                  <a:lnTo>
                    <a:pt x="324" y="414"/>
                  </a:lnTo>
                  <a:lnTo>
                    <a:pt x="324" y="424"/>
                  </a:lnTo>
                  <a:lnTo>
                    <a:pt x="314" y="424"/>
                  </a:lnTo>
                  <a:lnTo>
                    <a:pt x="314" y="414"/>
                  </a:lnTo>
                  <a:close/>
                  <a:moveTo>
                    <a:pt x="314" y="435"/>
                  </a:moveTo>
                  <a:lnTo>
                    <a:pt x="324" y="435"/>
                  </a:lnTo>
                  <a:lnTo>
                    <a:pt x="324" y="444"/>
                  </a:lnTo>
                  <a:lnTo>
                    <a:pt x="314" y="444"/>
                  </a:lnTo>
                  <a:lnTo>
                    <a:pt x="314" y="435"/>
                  </a:lnTo>
                  <a:close/>
                  <a:moveTo>
                    <a:pt x="324" y="455"/>
                  </a:moveTo>
                  <a:lnTo>
                    <a:pt x="324" y="465"/>
                  </a:lnTo>
                  <a:lnTo>
                    <a:pt x="314" y="465"/>
                  </a:lnTo>
                  <a:lnTo>
                    <a:pt x="314" y="455"/>
                  </a:lnTo>
                  <a:lnTo>
                    <a:pt x="324" y="455"/>
                  </a:lnTo>
                  <a:close/>
                  <a:moveTo>
                    <a:pt x="293" y="30"/>
                  </a:moveTo>
                  <a:lnTo>
                    <a:pt x="303" y="30"/>
                  </a:lnTo>
                  <a:lnTo>
                    <a:pt x="303" y="40"/>
                  </a:lnTo>
                  <a:lnTo>
                    <a:pt x="293" y="40"/>
                  </a:lnTo>
                  <a:lnTo>
                    <a:pt x="293" y="30"/>
                  </a:lnTo>
                  <a:close/>
                  <a:moveTo>
                    <a:pt x="293" y="51"/>
                  </a:moveTo>
                  <a:lnTo>
                    <a:pt x="303" y="51"/>
                  </a:lnTo>
                  <a:lnTo>
                    <a:pt x="303" y="61"/>
                  </a:lnTo>
                  <a:lnTo>
                    <a:pt x="293" y="61"/>
                  </a:lnTo>
                  <a:lnTo>
                    <a:pt x="293" y="51"/>
                  </a:lnTo>
                  <a:close/>
                  <a:moveTo>
                    <a:pt x="293" y="72"/>
                  </a:moveTo>
                  <a:lnTo>
                    <a:pt x="303" y="72"/>
                  </a:lnTo>
                  <a:lnTo>
                    <a:pt x="303" y="81"/>
                  </a:lnTo>
                  <a:lnTo>
                    <a:pt x="293" y="81"/>
                  </a:lnTo>
                  <a:lnTo>
                    <a:pt x="293" y="72"/>
                  </a:lnTo>
                  <a:close/>
                  <a:moveTo>
                    <a:pt x="293" y="91"/>
                  </a:moveTo>
                  <a:lnTo>
                    <a:pt x="303" y="91"/>
                  </a:lnTo>
                  <a:lnTo>
                    <a:pt x="303" y="100"/>
                  </a:lnTo>
                  <a:lnTo>
                    <a:pt x="293" y="100"/>
                  </a:lnTo>
                  <a:lnTo>
                    <a:pt x="293" y="91"/>
                  </a:lnTo>
                  <a:close/>
                  <a:moveTo>
                    <a:pt x="293" y="111"/>
                  </a:moveTo>
                  <a:lnTo>
                    <a:pt x="303" y="111"/>
                  </a:lnTo>
                  <a:lnTo>
                    <a:pt x="303" y="121"/>
                  </a:lnTo>
                  <a:lnTo>
                    <a:pt x="293" y="121"/>
                  </a:lnTo>
                  <a:lnTo>
                    <a:pt x="293" y="111"/>
                  </a:lnTo>
                  <a:close/>
                  <a:moveTo>
                    <a:pt x="293" y="132"/>
                  </a:moveTo>
                  <a:lnTo>
                    <a:pt x="303" y="132"/>
                  </a:lnTo>
                  <a:lnTo>
                    <a:pt x="303" y="142"/>
                  </a:lnTo>
                  <a:lnTo>
                    <a:pt x="293" y="142"/>
                  </a:lnTo>
                  <a:lnTo>
                    <a:pt x="293" y="132"/>
                  </a:lnTo>
                  <a:close/>
                  <a:moveTo>
                    <a:pt x="293" y="152"/>
                  </a:moveTo>
                  <a:lnTo>
                    <a:pt x="303" y="152"/>
                  </a:lnTo>
                  <a:lnTo>
                    <a:pt x="303" y="162"/>
                  </a:lnTo>
                  <a:lnTo>
                    <a:pt x="293" y="162"/>
                  </a:lnTo>
                  <a:lnTo>
                    <a:pt x="293" y="152"/>
                  </a:lnTo>
                  <a:close/>
                  <a:moveTo>
                    <a:pt x="293" y="172"/>
                  </a:moveTo>
                  <a:lnTo>
                    <a:pt x="303" y="172"/>
                  </a:lnTo>
                  <a:lnTo>
                    <a:pt x="303" y="181"/>
                  </a:lnTo>
                  <a:lnTo>
                    <a:pt x="293" y="181"/>
                  </a:lnTo>
                  <a:lnTo>
                    <a:pt x="293" y="172"/>
                  </a:lnTo>
                  <a:close/>
                  <a:moveTo>
                    <a:pt x="293" y="192"/>
                  </a:moveTo>
                  <a:lnTo>
                    <a:pt x="303" y="192"/>
                  </a:lnTo>
                  <a:lnTo>
                    <a:pt x="303" y="202"/>
                  </a:lnTo>
                  <a:lnTo>
                    <a:pt x="293" y="202"/>
                  </a:lnTo>
                  <a:lnTo>
                    <a:pt x="293" y="192"/>
                  </a:lnTo>
                  <a:close/>
                  <a:moveTo>
                    <a:pt x="293" y="213"/>
                  </a:moveTo>
                  <a:lnTo>
                    <a:pt x="303" y="213"/>
                  </a:lnTo>
                  <a:lnTo>
                    <a:pt x="303" y="222"/>
                  </a:lnTo>
                  <a:lnTo>
                    <a:pt x="293" y="222"/>
                  </a:lnTo>
                  <a:lnTo>
                    <a:pt x="293" y="213"/>
                  </a:lnTo>
                  <a:close/>
                  <a:moveTo>
                    <a:pt x="293" y="233"/>
                  </a:moveTo>
                  <a:lnTo>
                    <a:pt x="303" y="233"/>
                  </a:lnTo>
                  <a:lnTo>
                    <a:pt x="303" y="243"/>
                  </a:lnTo>
                  <a:lnTo>
                    <a:pt x="293" y="243"/>
                  </a:lnTo>
                  <a:lnTo>
                    <a:pt x="293" y="233"/>
                  </a:lnTo>
                  <a:close/>
                  <a:moveTo>
                    <a:pt x="293" y="253"/>
                  </a:moveTo>
                  <a:lnTo>
                    <a:pt x="303" y="253"/>
                  </a:lnTo>
                  <a:lnTo>
                    <a:pt x="303" y="262"/>
                  </a:lnTo>
                  <a:lnTo>
                    <a:pt x="293" y="262"/>
                  </a:lnTo>
                  <a:lnTo>
                    <a:pt x="293" y="253"/>
                  </a:lnTo>
                  <a:close/>
                  <a:moveTo>
                    <a:pt x="293" y="273"/>
                  </a:moveTo>
                  <a:lnTo>
                    <a:pt x="303" y="273"/>
                  </a:lnTo>
                  <a:lnTo>
                    <a:pt x="303" y="283"/>
                  </a:lnTo>
                  <a:lnTo>
                    <a:pt x="293" y="283"/>
                  </a:lnTo>
                  <a:lnTo>
                    <a:pt x="293" y="273"/>
                  </a:lnTo>
                  <a:close/>
                  <a:moveTo>
                    <a:pt x="293" y="294"/>
                  </a:moveTo>
                  <a:lnTo>
                    <a:pt x="303" y="294"/>
                  </a:lnTo>
                  <a:lnTo>
                    <a:pt x="303" y="303"/>
                  </a:lnTo>
                  <a:lnTo>
                    <a:pt x="293" y="303"/>
                  </a:lnTo>
                  <a:lnTo>
                    <a:pt x="293" y="294"/>
                  </a:lnTo>
                  <a:close/>
                  <a:moveTo>
                    <a:pt x="293" y="314"/>
                  </a:moveTo>
                  <a:lnTo>
                    <a:pt x="303" y="314"/>
                  </a:lnTo>
                  <a:lnTo>
                    <a:pt x="303" y="324"/>
                  </a:lnTo>
                  <a:lnTo>
                    <a:pt x="293" y="324"/>
                  </a:lnTo>
                  <a:lnTo>
                    <a:pt x="293" y="314"/>
                  </a:lnTo>
                  <a:close/>
                  <a:moveTo>
                    <a:pt x="293" y="333"/>
                  </a:moveTo>
                  <a:lnTo>
                    <a:pt x="303" y="333"/>
                  </a:lnTo>
                  <a:lnTo>
                    <a:pt x="303" y="343"/>
                  </a:lnTo>
                  <a:lnTo>
                    <a:pt x="293" y="343"/>
                  </a:lnTo>
                  <a:lnTo>
                    <a:pt x="293" y="333"/>
                  </a:lnTo>
                  <a:close/>
                  <a:moveTo>
                    <a:pt x="293" y="354"/>
                  </a:moveTo>
                  <a:lnTo>
                    <a:pt x="303" y="354"/>
                  </a:lnTo>
                  <a:lnTo>
                    <a:pt x="303" y="364"/>
                  </a:lnTo>
                  <a:lnTo>
                    <a:pt x="293" y="364"/>
                  </a:lnTo>
                  <a:lnTo>
                    <a:pt x="293" y="354"/>
                  </a:lnTo>
                  <a:close/>
                  <a:moveTo>
                    <a:pt x="293" y="375"/>
                  </a:moveTo>
                  <a:lnTo>
                    <a:pt x="303" y="375"/>
                  </a:lnTo>
                  <a:lnTo>
                    <a:pt x="303" y="384"/>
                  </a:lnTo>
                  <a:lnTo>
                    <a:pt x="293" y="384"/>
                  </a:lnTo>
                  <a:lnTo>
                    <a:pt x="293" y="375"/>
                  </a:lnTo>
                  <a:close/>
                  <a:moveTo>
                    <a:pt x="293" y="395"/>
                  </a:moveTo>
                  <a:lnTo>
                    <a:pt x="303" y="395"/>
                  </a:lnTo>
                  <a:lnTo>
                    <a:pt x="303" y="405"/>
                  </a:lnTo>
                  <a:lnTo>
                    <a:pt x="293" y="405"/>
                  </a:lnTo>
                  <a:lnTo>
                    <a:pt x="293" y="395"/>
                  </a:lnTo>
                  <a:close/>
                  <a:moveTo>
                    <a:pt x="293" y="414"/>
                  </a:moveTo>
                  <a:lnTo>
                    <a:pt x="303" y="414"/>
                  </a:lnTo>
                  <a:lnTo>
                    <a:pt x="303" y="424"/>
                  </a:lnTo>
                  <a:lnTo>
                    <a:pt x="293" y="424"/>
                  </a:lnTo>
                  <a:lnTo>
                    <a:pt x="293" y="414"/>
                  </a:lnTo>
                  <a:close/>
                  <a:moveTo>
                    <a:pt x="293" y="435"/>
                  </a:moveTo>
                  <a:lnTo>
                    <a:pt x="303" y="435"/>
                  </a:lnTo>
                  <a:lnTo>
                    <a:pt x="303" y="444"/>
                  </a:lnTo>
                  <a:lnTo>
                    <a:pt x="293" y="444"/>
                  </a:lnTo>
                  <a:lnTo>
                    <a:pt x="293" y="435"/>
                  </a:lnTo>
                  <a:close/>
                  <a:moveTo>
                    <a:pt x="303" y="455"/>
                  </a:moveTo>
                  <a:lnTo>
                    <a:pt x="303" y="465"/>
                  </a:lnTo>
                  <a:lnTo>
                    <a:pt x="293" y="465"/>
                  </a:lnTo>
                  <a:lnTo>
                    <a:pt x="293" y="455"/>
                  </a:lnTo>
                  <a:lnTo>
                    <a:pt x="303" y="455"/>
                  </a:lnTo>
                  <a:close/>
                  <a:moveTo>
                    <a:pt x="274" y="30"/>
                  </a:moveTo>
                  <a:lnTo>
                    <a:pt x="284" y="30"/>
                  </a:lnTo>
                  <a:lnTo>
                    <a:pt x="284" y="40"/>
                  </a:lnTo>
                  <a:lnTo>
                    <a:pt x="274" y="40"/>
                  </a:lnTo>
                  <a:lnTo>
                    <a:pt x="274" y="30"/>
                  </a:lnTo>
                  <a:close/>
                  <a:moveTo>
                    <a:pt x="274" y="51"/>
                  </a:moveTo>
                  <a:lnTo>
                    <a:pt x="284" y="51"/>
                  </a:lnTo>
                  <a:lnTo>
                    <a:pt x="284" y="61"/>
                  </a:lnTo>
                  <a:lnTo>
                    <a:pt x="274" y="61"/>
                  </a:lnTo>
                  <a:lnTo>
                    <a:pt x="274" y="51"/>
                  </a:lnTo>
                  <a:close/>
                  <a:moveTo>
                    <a:pt x="274" y="72"/>
                  </a:moveTo>
                  <a:lnTo>
                    <a:pt x="284" y="72"/>
                  </a:lnTo>
                  <a:lnTo>
                    <a:pt x="284" y="81"/>
                  </a:lnTo>
                  <a:lnTo>
                    <a:pt x="274" y="81"/>
                  </a:lnTo>
                  <a:lnTo>
                    <a:pt x="274" y="72"/>
                  </a:lnTo>
                  <a:close/>
                  <a:moveTo>
                    <a:pt x="274" y="91"/>
                  </a:moveTo>
                  <a:lnTo>
                    <a:pt x="284" y="91"/>
                  </a:lnTo>
                  <a:lnTo>
                    <a:pt x="284" y="100"/>
                  </a:lnTo>
                  <a:lnTo>
                    <a:pt x="274" y="100"/>
                  </a:lnTo>
                  <a:lnTo>
                    <a:pt x="274" y="91"/>
                  </a:lnTo>
                  <a:close/>
                  <a:moveTo>
                    <a:pt x="274" y="111"/>
                  </a:moveTo>
                  <a:lnTo>
                    <a:pt x="284" y="111"/>
                  </a:lnTo>
                  <a:lnTo>
                    <a:pt x="284" y="121"/>
                  </a:lnTo>
                  <a:lnTo>
                    <a:pt x="274" y="121"/>
                  </a:lnTo>
                  <a:lnTo>
                    <a:pt x="274" y="111"/>
                  </a:lnTo>
                  <a:close/>
                  <a:moveTo>
                    <a:pt x="274" y="132"/>
                  </a:moveTo>
                  <a:lnTo>
                    <a:pt x="284" y="132"/>
                  </a:lnTo>
                  <a:lnTo>
                    <a:pt x="284" y="142"/>
                  </a:lnTo>
                  <a:lnTo>
                    <a:pt x="274" y="142"/>
                  </a:lnTo>
                  <a:lnTo>
                    <a:pt x="274" y="132"/>
                  </a:lnTo>
                  <a:close/>
                  <a:moveTo>
                    <a:pt x="274" y="152"/>
                  </a:moveTo>
                  <a:lnTo>
                    <a:pt x="284" y="152"/>
                  </a:lnTo>
                  <a:lnTo>
                    <a:pt x="284" y="162"/>
                  </a:lnTo>
                  <a:lnTo>
                    <a:pt x="274" y="162"/>
                  </a:lnTo>
                  <a:lnTo>
                    <a:pt x="274" y="152"/>
                  </a:lnTo>
                  <a:close/>
                  <a:moveTo>
                    <a:pt x="274" y="172"/>
                  </a:moveTo>
                  <a:lnTo>
                    <a:pt x="284" y="172"/>
                  </a:lnTo>
                  <a:lnTo>
                    <a:pt x="284" y="181"/>
                  </a:lnTo>
                  <a:lnTo>
                    <a:pt x="274" y="181"/>
                  </a:lnTo>
                  <a:lnTo>
                    <a:pt x="274" y="172"/>
                  </a:lnTo>
                  <a:close/>
                  <a:moveTo>
                    <a:pt x="274" y="192"/>
                  </a:moveTo>
                  <a:lnTo>
                    <a:pt x="284" y="192"/>
                  </a:lnTo>
                  <a:lnTo>
                    <a:pt x="284" y="202"/>
                  </a:lnTo>
                  <a:lnTo>
                    <a:pt x="274" y="202"/>
                  </a:lnTo>
                  <a:lnTo>
                    <a:pt x="274" y="192"/>
                  </a:lnTo>
                  <a:close/>
                  <a:moveTo>
                    <a:pt x="274" y="213"/>
                  </a:moveTo>
                  <a:lnTo>
                    <a:pt x="284" y="213"/>
                  </a:lnTo>
                  <a:lnTo>
                    <a:pt x="284" y="222"/>
                  </a:lnTo>
                  <a:lnTo>
                    <a:pt x="274" y="222"/>
                  </a:lnTo>
                  <a:lnTo>
                    <a:pt x="274" y="213"/>
                  </a:lnTo>
                  <a:close/>
                  <a:moveTo>
                    <a:pt x="274" y="233"/>
                  </a:moveTo>
                  <a:lnTo>
                    <a:pt x="284" y="233"/>
                  </a:lnTo>
                  <a:lnTo>
                    <a:pt x="284" y="243"/>
                  </a:lnTo>
                  <a:lnTo>
                    <a:pt x="274" y="243"/>
                  </a:lnTo>
                  <a:lnTo>
                    <a:pt x="274" y="233"/>
                  </a:lnTo>
                  <a:close/>
                  <a:moveTo>
                    <a:pt x="274" y="253"/>
                  </a:moveTo>
                  <a:lnTo>
                    <a:pt x="284" y="253"/>
                  </a:lnTo>
                  <a:lnTo>
                    <a:pt x="284" y="262"/>
                  </a:lnTo>
                  <a:lnTo>
                    <a:pt x="274" y="262"/>
                  </a:lnTo>
                  <a:lnTo>
                    <a:pt x="274" y="253"/>
                  </a:lnTo>
                  <a:close/>
                  <a:moveTo>
                    <a:pt x="274" y="273"/>
                  </a:moveTo>
                  <a:lnTo>
                    <a:pt x="284" y="273"/>
                  </a:lnTo>
                  <a:lnTo>
                    <a:pt x="284" y="283"/>
                  </a:lnTo>
                  <a:lnTo>
                    <a:pt x="274" y="283"/>
                  </a:lnTo>
                  <a:lnTo>
                    <a:pt x="274" y="273"/>
                  </a:lnTo>
                  <a:close/>
                  <a:moveTo>
                    <a:pt x="274" y="294"/>
                  </a:moveTo>
                  <a:lnTo>
                    <a:pt x="284" y="294"/>
                  </a:lnTo>
                  <a:lnTo>
                    <a:pt x="284" y="303"/>
                  </a:lnTo>
                  <a:lnTo>
                    <a:pt x="274" y="303"/>
                  </a:lnTo>
                  <a:lnTo>
                    <a:pt x="274" y="294"/>
                  </a:lnTo>
                  <a:close/>
                  <a:moveTo>
                    <a:pt x="274" y="314"/>
                  </a:moveTo>
                  <a:lnTo>
                    <a:pt x="284" y="314"/>
                  </a:lnTo>
                  <a:lnTo>
                    <a:pt x="284" y="324"/>
                  </a:lnTo>
                  <a:lnTo>
                    <a:pt x="274" y="324"/>
                  </a:lnTo>
                  <a:lnTo>
                    <a:pt x="274" y="314"/>
                  </a:lnTo>
                  <a:close/>
                  <a:moveTo>
                    <a:pt x="274" y="333"/>
                  </a:moveTo>
                  <a:lnTo>
                    <a:pt x="284" y="333"/>
                  </a:lnTo>
                  <a:lnTo>
                    <a:pt x="284" y="343"/>
                  </a:lnTo>
                  <a:lnTo>
                    <a:pt x="274" y="343"/>
                  </a:lnTo>
                  <a:lnTo>
                    <a:pt x="274" y="333"/>
                  </a:lnTo>
                  <a:close/>
                  <a:moveTo>
                    <a:pt x="274" y="354"/>
                  </a:moveTo>
                  <a:lnTo>
                    <a:pt x="284" y="354"/>
                  </a:lnTo>
                  <a:lnTo>
                    <a:pt x="284" y="364"/>
                  </a:lnTo>
                  <a:lnTo>
                    <a:pt x="274" y="364"/>
                  </a:lnTo>
                  <a:lnTo>
                    <a:pt x="274" y="354"/>
                  </a:lnTo>
                  <a:close/>
                  <a:moveTo>
                    <a:pt x="274" y="375"/>
                  </a:moveTo>
                  <a:lnTo>
                    <a:pt x="284" y="375"/>
                  </a:lnTo>
                  <a:lnTo>
                    <a:pt x="284" y="384"/>
                  </a:lnTo>
                  <a:lnTo>
                    <a:pt x="274" y="384"/>
                  </a:lnTo>
                  <a:lnTo>
                    <a:pt x="274" y="375"/>
                  </a:lnTo>
                  <a:close/>
                  <a:moveTo>
                    <a:pt x="274" y="395"/>
                  </a:moveTo>
                  <a:lnTo>
                    <a:pt x="284" y="395"/>
                  </a:lnTo>
                  <a:lnTo>
                    <a:pt x="284" y="405"/>
                  </a:lnTo>
                  <a:lnTo>
                    <a:pt x="274" y="405"/>
                  </a:lnTo>
                  <a:lnTo>
                    <a:pt x="274" y="395"/>
                  </a:lnTo>
                  <a:close/>
                  <a:moveTo>
                    <a:pt x="274" y="414"/>
                  </a:moveTo>
                  <a:lnTo>
                    <a:pt x="284" y="414"/>
                  </a:lnTo>
                  <a:lnTo>
                    <a:pt x="284" y="424"/>
                  </a:lnTo>
                  <a:lnTo>
                    <a:pt x="274" y="424"/>
                  </a:lnTo>
                  <a:lnTo>
                    <a:pt x="274" y="414"/>
                  </a:lnTo>
                  <a:close/>
                  <a:moveTo>
                    <a:pt x="274" y="435"/>
                  </a:moveTo>
                  <a:lnTo>
                    <a:pt x="284" y="435"/>
                  </a:lnTo>
                  <a:lnTo>
                    <a:pt x="284" y="444"/>
                  </a:lnTo>
                  <a:lnTo>
                    <a:pt x="274" y="444"/>
                  </a:lnTo>
                  <a:lnTo>
                    <a:pt x="274" y="435"/>
                  </a:lnTo>
                  <a:close/>
                  <a:moveTo>
                    <a:pt x="284" y="455"/>
                  </a:moveTo>
                  <a:lnTo>
                    <a:pt x="284" y="465"/>
                  </a:lnTo>
                  <a:lnTo>
                    <a:pt x="274" y="465"/>
                  </a:lnTo>
                  <a:lnTo>
                    <a:pt x="274" y="455"/>
                  </a:lnTo>
                  <a:lnTo>
                    <a:pt x="284" y="455"/>
                  </a:lnTo>
                  <a:close/>
                  <a:moveTo>
                    <a:pt x="254" y="30"/>
                  </a:moveTo>
                  <a:lnTo>
                    <a:pt x="263" y="30"/>
                  </a:lnTo>
                  <a:lnTo>
                    <a:pt x="263" y="40"/>
                  </a:lnTo>
                  <a:lnTo>
                    <a:pt x="254" y="40"/>
                  </a:lnTo>
                  <a:lnTo>
                    <a:pt x="254" y="30"/>
                  </a:lnTo>
                  <a:close/>
                  <a:moveTo>
                    <a:pt x="254" y="51"/>
                  </a:moveTo>
                  <a:lnTo>
                    <a:pt x="263" y="51"/>
                  </a:lnTo>
                  <a:lnTo>
                    <a:pt x="263" y="61"/>
                  </a:lnTo>
                  <a:lnTo>
                    <a:pt x="254" y="61"/>
                  </a:lnTo>
                  <a:lnTo>
                    <a:pt x="254" y="51"/>
                  </a:lnTo>
                  <a:close/>
                  <a:moveTo>
                    <a:pt x="254" y="72"/>
                  </a:moveTo>
                  <a:lnTo>
                    <a:pt x="263" y="72"/>
                  </a:lnTo>
                  <a:lnTo>
                    <a:pt x="263" y="81"/>
                  </a:lnTo>
                  <a:lnTo>
                    <a:pt x="254" y="81"/>
                  </a:lnTo>
                  <a:lnTo>
                    <a:pt x="254" y="72"/>
                  </a:lnTo>
                  <a:close/>
                  <a:moveTo>
                    <a:pt x="254" y="91"/>
                  </a:moveTo>
                  <a:lnTo>
                    <a:pt x="263" y="91"/>
                  </a:lnTo>
                  <a:lnTo>
                    <a:pt x="263" y="100"/>
                  </a:lnTo>
                  <a:lnTo>
                    <a:pt x="254" y="100"/>
                  </a:lnTo>
                  <a:lnTo>
                    <a:pt x="254" y="91"/>
                  </a:lnTo>
                  <a:close/>
                  <a:moveTo>
                    <a:pt x="254" y="111"/>
                  </a:moveTo>
                  <a:lnTo>
                    <a:pt x="263" y="111"/>
                  </a:lnTo>
                  <a:lnTo>
                    <a:pt x="263" y="121"/>
                  </a:lnTo>
                  <a:lnTo>
                    <a:pt x="254" y="121"/>
                  </a:lnTo>
                  <a:lnTo>
                    <a:pt x="254" y="111"/>
                  </a:lnTo>
                  <a:close/>
                  <a:moveTo>
                    <a:pt x="254" y="132"/>
                  </a:moveTo>
                  <a:lnTo>
                    <a:pt x="263" y="132"/>
                  </a:lnTo>
                  <a:lnTo>
                    <a:pt x="263" y="142"/>
                  </a:lnTo>
                  <a:lnTo>
                    <a:pt x="254" y="142"/>
                  </a:lnTo>
                  <a:lnTo>
                    <a:pt x="254" y="132"/>
                  </a:lnTo>
                  <a:close/>
                  <a:moveTo>
                    <a:pt x="254" y="152"/>
                  </a:moveTo>
                  <a:lnTo>
                    <a:pt x="263" y="152"/>
                  </a:lnTo>
                  <a:lnTo>
                    <a:pt x="263" y="162"/>
                  </a:lnTo>
                  <a:lnTo>
                    <a:pt x="254" y="162"/>
                  </a:lnTo>
                  <a:lnTo>
                    <a:pt x="254" y="152"/>
                  </a:lnTo>
                  <a:close/>
                  <a:moveTo>
                    <a:pt x="254" y="172"/>
                  </a:moveTo>
                  <a:lnTo>
                    <a:pt x="263" y="172"/>
                  </a:lnTo>
                  <a:lnTo>
                    <a:pt x="263" y="181"/>
                  </a:lnTo>
                  <a:lnTo>
                    <a:pt x="254" y="181"/>
                  </a:lnTo>
                  <a:lnTo>
                    <a:pt x="254" y="172"/>
                  </a:lnTo>
                  <a:close/>
                  <a:moveTo>
                    <a:pt x="254" y="192"/>
                  </a:moveTo>
                  <a:lnTo>
                    <a:pt x="263" y="192"/>
                  </a:lnTo>
                  <a:lnTo>
                    <a:pt x="263" y="202"/>
                  </a:lnTo>
                  <a:lnTo>
                    <a:pt x="254" y="202"/>
                  </a:lnTo>
                  <a:lnTo>
                    <a:pt x="254" y="192"/>
                  </a:lnTo>
                  <a:close/>
                  <a:moveTo>
                    <a:pt x="254" y="213"/>
                  </a:moveTo>
                  <a:lnTo>
                    <a:pt x="263" y="213"/>
                  </a:lnTo>
                  <a:lnTo>
                    <a:pt x="263" y="222"/>
                  </a:lnTo>
                  <a:lnTo>
                    <a:pt x="254" y="222"/>
                  </a:lnTo>
                  <a:lnTo>
                    <a:pt x="254" y="213"/>
                  </a:lnTo>
                  <a:close/>
                  <a:moveTo>
                    <a:pt x="254" y="233"/>
                  </a:moveTo>
                  <a:lnTo>
                    <a:pt x="263" y="233"/>
                  </a:lnTo>
                  <a:lnTo>
                    <a:pt x="263" y="243"/>
                  </a:lnTo>
                  <a:lnTo>
                    <a:pt x="254" y="243"/>
                  </a:lnTo>
                  <a:lnTo>
                    <a:pt x="254" y="233"/>
                  </a:lnTo>
                  <a:close/>
                  <a:moveTo>
                    <a:pt x="254" y="253"/>
                  </a:moveTo>
                  <a:lnTo>
                    <a:pt x="263" y="253"/>
                  </a:lnTo>
                  <a:lnTo>
                    <a:pt x="263" y="262"/>
                  </a:lnTo>
                  <a:lnTo>
                    <a:pt x="254" y="262"/>
                  </a:lnTo>
                  <a:lnTo>
                    <a:pt x="254" y="253"/>
                  </a:lnTo>
                  <a:close/>
                  <a:moveTo>
                    <a:pt x="254" y="273"/>
                  </a:moveTo>
                  <a:lnTo>
                    <a:pt x="263" y="273"/>
                  </a:lnTo>
                  <a:lnTo>
                    <a:pt x="263" y="283"/>
                  </a:lnTo>
                  <a:lnTo>
                    <a:pt x="254" y="283"/>
                  </a:lnTo>
                  <a:lnTo>
                    <a:pt x="254" y="273"/>
                  </a:lnTo>
                  <a:close/>
                  <a:moveTo>
                    <a:pt x="254" y="294"/>
                  </a:moveTo>
                  <a:lnTo>
                    <a:pt x="263" y="294"/>
                  </a:lnTo>
                  <a:lnTo>
                    <a:pt x="263" y="303"/>
                  </a:lnTo>
                  <a:lnTo>
                    <a:pt x="254" y="303"/>
                  </a:lnTo>
                  <a:lnTo>
                    <a:pt x="254" y="294"/>
                  </a:lnTo>
                  <a:close/>
                  <a:moveTo>
                    <a:pt x="254" y="314"/>
                  </a:moveTo>
                  <a:lnTo>
                    <a:pt x="263" y="314"/>
                  </a:lnTo>
                  <a:lnTo>
                    <a:pt x="263" y="324"/>
                  </a:lnTo>
                  <a:lnTo>
                    <a:pt x="254" y="324"/>
                  </a:lnTo>
                  <a:lnTo>
                    <a:pt x="254" y="314"/>
                  </a:lnTo>
                  <a:close/>
                  <a:moveTo>
                    <a:pt x="254" y="333"/>
                  </a:moveTo>
                  <a:lnTo>
                    <a:pt x="263" y="333"/>
                  </a:lnTo>
                  <a:lnTo>
                    <a:pt x="263" y="343"/>
                  </a:lnTo>
                  <a:lnTo>
                    <a:pt x="254" y="343"/>
                  </a:lnTo>
                  <a:lnTo>
                    <a:pt x="254" y="333"/>
                  </a:lnTo>
                  <a:close/>
                  <a:moveTo>
                    <a:pt x="254" y="354"/>
                  </a:moveTo>
                  <a:lnTo>
                    <a:pt x="263" y="354"/>
                  </a:lnTo>
                  <a:lnTo>
                    <a:pt x="263" y="364"/>
                  </a:lnTo>
                  <a:lnTo>
                    <a:pt x="254" y="364"/>
                  </a:lnTo>
                  <a:lnTo>
                    <a:pt x="254" y="354"/>
                  </a:lnTo>
                  <a:close/>
                  <a:moveTo>
                    <a:pt x="254" y="375"/>
                  </a:moveTo>
                  <a:lnTo>
                    <a:pt x="263" y="375"/>
                  </a:lnTo>
                  <a:lnTo>
                    <a:pt x="263" y="384"/>
                  </a:lnTo>
                  <a:lnTo>
                    <a:pt x="254" y="384"/>
                  </a:lnTo>
                  <a:lnTo>
                    <a:pt x="254" y="375"/>
                  </a:lnTo>
                  <a:close/>
                  <a:moveTo>
                    <a:pt x="254" y="395"/>
                  </a:moveTo>
                  <a:lnTo>
                    <a:pt x="263" y="395"/>
                  </a:lnTo>
                  <a:lnTo>
                    <a:pt x="263" y="405"/>
                  </a:lnTo>
                  <a:lnTo>
                    <a:pt x="254" y="405"/>
                  </a:lnTo>
                  <a:lnTo>
                    <a:pt x="254" y="395"/>
                  </a:lnTo>
                  <a:close/>
                  <a:moveTo>
                    <a:pt x="254" y="414"/>
                  </a:moveTo>
                  <a:lnTo>
                    <a:pt x="263" y="414"/>
                  </a:lnTo>
                  <a:lnTo>
                    <a:pt x="263" y="424"/>
                  </a:lnTo>
                  <a:lnTo>
                    <a:pt x="254" y="424"/>
                  </a:lnTo>
                  <a:lnTo>
                    <a:pt x="254" y="414"/>
                  </a:lnTo>
                  <a:close/>
                  <a:moveTo>
                    <a:pt x="254" y="435"/>
                  </a:moveTo>
                  <a:lnTo>
                    <a:pt x="263" y="435"/>
                  </a:lnTo>
                  <a:lnTo>
                    <a:pt x="263" y="444"/>
                  </a:lnTo>
                  <a:lnTo>
                    <a:pt x="254" y="444"/>
                  </a:lnTo>
                  <a:lnTo>
                    <a:pt x="254" y="435"/>
                  </a:lnTo>
                  <a:close/>
                  <a:moveTo>
                    <a:pt x="263" y="455"/>
                  </a:moveTo>
                  <a:lnTo>
                    <a:pt x="263" y="465"/>
                  </a:lnTo>
                  <a:lnTo>
                    <a:pt x="254" y="465"/>
                  </a:lnTo>
                  <a:lnTo>
                    <a:pt x="254" y="455"/>
                  </a:lnTo>
                  <a:lnTo>
                    <a:pt x="263" y="455"/>
                  </a:lnTo>
                  <a:close/>
                  <a:moveTo>
                    <a:pt x="233" y="30"/>
                  </a:moveTo>
                  <a:lnTo>
                    <a:pt x="243" y="30"/>
                  </a:lnTo>
                  <a:lnTo>
                    <a:pt x="243" y="40"/>
                  </a:lnTo>
                  <a:lnTo>
                    <a:pt x="233" y="40"/>
                  </a:lnTo>
                  <a:lnTo>
                    <a:pt x="233" y="30"/>
                  </a:lnTo>
                  <a:close/>
                  <a:moveTo>
                    <a:pt x="233" y="51"/>
                  </a:moveTo>
                  <a:lnTo>
                    <a:pt x="243" y="51"/>
                  </a:lnTo>
                  <a:lnTo>
                    <a:pt x="243" y="61"/>
                  </a:lnTo>
                  <a:lnTo>
                    <a:pt x="233" y="61"/>
                  </a:lnTo>
                  <a:lnTo>
                    <a:pt x="233" y="51"/>
                  </a:lnTo>
                  <a:close/>
                  <a:moveTo>
                    <a:pt x="233" y="72"/>
                  </a:moveTo>
                  <a:lnTo>
                    <a:pt x="243" y="72"/>
                  </a:lnTo>
                  <a:lnTo>
                    <a:pt x="243" y="81"/>
                  </a:lnTo>
                  <a:lnTo>
                    <a:pt x="233" y="81"/>
                  </a:lnTo>
                  <a:lnTo>
                    <a:pt x="233" y="72"/>
                  </a:lnTo>
                  <a:close/>
                  <a:moveTo>
                    <a:pt x="233" y="91"/>
                  </a:moveTo>
                  <a:lnTo>
                    <a:pt x="243" y="91"/>
                  </a:lnTo>
                  <a:lnTo>
                    <a:pt x="243" y="100"/>
                  </a:lnTo>
                  <a:lnTo>
                    <a:pt x="233" y="100"/>
                  </a:lnTo>
                  <a:lnTo>
                    <a:pt x="233" y="91"/>
                  </a:lnTo>
                  <a:close/>
                  <a:moveTo>
                    <a:pt x="233" y="111"/>
                  </a:moveTo>
                  <a:lnTo>
                    <a:pt x="243" y="111"/>
                  </a:lnTo>
                  <a:lnTo>
                    <a:pt x="243" y="121"/>
                  </a:lnTo>
                  <a:lnTo>
                    <a:pt x="233" y="121"/>
                  </a:lnTo>
                  <a:lnTo>
                    <a:pt x="233" y="111"/>
                  </a:lnTo>
                  <a:close/>
                  <a:moveTo>
                    <a:pt x="233" y="132"/>
                  </a:moveTo>
                  <a:lnTo>
                    <a:pt x="243" y="132"/>
                  </a:lnTo>
                  <a:lnTo>
                    <a:pt x="243" y="142"/>
                  </a:lnTo>
                  <a:lnTo>
                    <a:pt x="233" y="142"/>
                  </a:lnTo>
                  <a:lnTo>
                    <a:pt x="233" y="132"/>
                  </a:lnTo>
                  <a:close/>
                  <a:moveTo>
                    <a:pt x="233" y="152"/>
                  </a:moveTo>
                  <a:lnTo>
                    <a:pt x="243" y="152"/>
                  </a:lnTo>
                  <a:lnTo>
                    <a:pt x="243" y="162"/>
                  </a:lnTo>
                  <a:lnTo>
                    <a:pt x="233" y="162"/>
                  </a:lnTo>
                  <a:lnTo>
                    <a:pt x="233" y="152"/>
                  </a:lnTo>
                  <a:close/>
                  <a:moveTo>
                    <a:pt x="233" y="172"/>
                  </a:moveTo>
                  <a:lnTo>
                    <a:pt x="243" y="172"/>
                  </a:lnTo>
                  <a:lnTo>
                    <a:pt x="243" y="181"/>
                  </a:lnTo>
                  <a:lnTo>
                    <a:pt x="233" y="181"/>
                  </a:lnTo>
                  <a:lnTo>
                    <a:pt x="233" y="172"/>
                  </a:lnTo>
                  <a:close/>
                  <a:moveTo>
                    <a:pt x="233" y="192"/>
                  </a:moveTo>
                  <a:lnTo>
                    <a:pt x="243" y="192"/>
                  </a:lnTo>
                  <a:lnTo>
                    <a:pt x="243" y="202"/>
                  </a:lnTo>
                  <a:lnTo>
                    <a:pt x="233" y="202"/>
                  </a:lnTo>
                  <a:lnTo>
                    <a:pt x="233" y="192"/>
                  </a:lnTo>
                  <a:close/>
                  <a:moveTo>
                    <a:pt x="233" y="213"/>
                  </a:moveTo>
                  <a:lnTo>
                    <a:pt x="243" y="213"/>
                  </a:lnTo>
                  <a:lnTo>
                    <a:pt x="243" y="222"/>
                  </a:lnTo>
                  <a:lnTo>
                    <a:pt x="233" y="222"/>
                  </a:lnTo>
                  <a:lnTo>
                    <a:pt x="233" y="213"/>
                  </a:lnTo>
                  <a:close/>
                  <a:moveTo>
                    <a:pt x="233" y="233"/>
                  </a:moveTo>
                  <a:lnTo>
                    <a:pt x="243" y="233"/>
                  </a:lnTo>
                  <a:lnTo>
                    <a:pt x="243" y="243"/>
                  </a:lnTo>
                  <a:lnTo>
                    <a:pt x="233" y="243"/>
                  </a:lnTo>
                  <a:lnTo>
                    <a:pt x="233" y="233"/>
                  </a:lnTo>
                  <a:close/>
                  <a:moveTo>
                    <a:pt x="233" y="253"/>
                  </a:moveTo>
                  <a:lnTo>
                    <a:pt x="243" y="253"/>
                  </a:lnTo>
                  <a:lnTo>
                    <a:pt x="243" y="262"/>
                  </a:lnTo>
                  <a:lnTo>
                    <a:pt x="233" y="262"/>
                  </a:lnTo>
                  <a:lnTo>
                    <a:pt x="233" y="253"/>
                  </a:lnTo>
                  <a:close/>
                  <a:moveTo>
                    <a:pt x="233" y="273"/>
                  </a:moveTo>
                  <a:lnTo>
                    <a:pt x="243" y="273"/>
                  </a:lnTo>
                  <a:lnTo>
                    <a:pt x="243" y="283"/>
                  </a:lnTo>
                  <a:lnTo>
                    <a:pt x="233" y="283"/>
                  </a:lnTo>
                  <a:lnTo>
                    <a:pt x="233" y="273"/>
                  </a:lnTo>
                  <a:close/>
                  <a:moveTo>
                    <a:pt x="233" y="294"/>
                  </a:moveTo>
                  <a:lnTo>
                    <a:pt x="243" y="294"/>
                  </a:lnTo>
                  <a:lnTo>
                    <a:pt x="243" y="303"/>
                  </a:lnTo>
                  <a:lnTo>
                    <a:pt x="233" y="303"/>
                  </a:lnTo>
                  <a:lnTo>
                    <a:pt x="233" y="294"/>
                  </a:lnTo>
                  <a:close/>
                  <a:moveTo>
                    <a:pt x="233" y="314"/>
                  </a:moveTo>
                  <a:lnTo>
                    <a:pt x="243" y="314"/>
                  </a:lnTo>
                  <a:lnTo>
                    <a:pt x="243" y="324"/>
                  </a:lnTo>
                  <a:lnTo>
                    <a:pt x="233" y="324"/>
                  </a:lnTo>
                  <a:lnTo>
                    <a:pt x="233" y="314"/>
                  </a:lnTo>
                  <a:close/>
                  <a:moveTo>
                    <a:pt x="233" y="333"/>
                  </a:moveTo>
                  <a:lnTo>
                    <a:pt x="243" y="333"/>
                  </a:lnTo>
                  <a:lnTo>
                    <a:pt x="243" y="343"/>
                  </a:lnTo>
                  <a:lnTo>
                    <a:pt x="233" y="343"/>
                  </a:lnTo>
                  <a:lnTo>
                    <a:pt x="233" y="333"/>
                  </a:lnTo>
                  <a:close/>
                  <a:moveTo>
                    <a:pt x="233" y="354"/>
                  </a:moveTo>
                  <a:lnTo>
                    <a:pt x="243" y="354"/>
                  </a:lnTo>
                  <a:lnTo>
                    <a:pt x="243" y="364"/>
                  </a:lnTo>
                  <a:lnTo>
                    <a:pt x="233" y="364"/>
                  </a:lnTo>
                  <a:lnTo>
                    <a:pt x="233" y="354"/>
                  </a:lnTo>
                  <a:close/>
                  <a:moveTo>
                    <a:pt x="233" y="375"/>
                  </a:moveTo>
                  <a:lnTo>
                    <a:pt x="243" y="375"/>
                  </a:lnTo>
                  <a:lnTo>
                    <a:pt x="243" y="384"/>
                  </a:lnTo>
                  <a:lnTo>
                    <a:pt x="233" y="384"/>
                  </a:lnTo>
                  <a:lnTo>
                    <a:pt x="233" y="375"/>
                  </a:lnTo>
                  <a:close/>
                  <a:moveTo>
                    <a:pt x="233" y="395"/>
                  </a:moveTo>
                  <a:lnTo>
                    <a:pt x="243" y="395"/>
                  </a:lnTo>
                  <a:lnTo>
                    <a:pt x="243" y="405"/>
                  </a:lnTo>
                  <a:lnTo>
                    <a:pt x="233" y="405"/>
                  </a:lnTo>
                  <a:lnTo>
                    <a:pt x="233" y="395"/>
                  </a:lnTo>
                  <a:close/>
                  <a:moveTo>
                    <a:pt x="233" y="414"/>
                  </a:moveTo>
                  <a:lnTo>
                    <a:pt x="243" y="414"/>
                  </a:lnTo>
                  <a:lnTo>
                    <a:pt x="243" y="424"/>
                  </a:lnTo>
                  <a:lnTo>
                    <a:pt x="233" y="424"/>
                  </a:lnTo>
                  <a:lnTo>
                    <a:pt x="233" y="414"/>
                  </a:lnTo>
                  <a:close/>
                  <a:moveTo>
                    <a:pt x="233" y="435"/>
                  </a:moveTo>
                  <a:lnTo>
                    <a:pt x="243" y="435"/>
                  </a:lnTo>
                  <a:lnTo>
                    <a:pt x="243" y="444"/>
                  </a:lnTo>
                  <a:lnTo>
                    <a:pt x="233" y="444"/>
                  </a:lnTo>
                  <a:lnTo>
                    <a:pt x="233" y="435"/>
                  </a:lnTo>
                  <a:close/>
                  <a:moveTo>
                    <a:pt x="243" y="455"/>
                  </a:moveTo>
                  <a:lnTo>
                    <a:pt x="243" y="465"/>
                  </a:lnTo>
                  <a:lnTo>
                    <a:pt x="233" y="465"/>
                  </a:lnTo>
                  <a:lnTo>
                    <a:pt x="233" y="455"/>
                  </a:lnTo>
                  <a:lnTo>
                    <a:pt x="243" y="455"/>
                  </a:lnTo>
                  <a:close/>
                  <a:moveTo>
                    <a:pt x="213" y="30"/>
                  </a:moveTo>
                  <a:lnTo>
                    <a:pt x="222" y="30"/>
                  </a:lnTo>
                  <a:lnTo>
                    <a:pt x="222" y="40"/>
                  </a:lnTo>
                  <a:lnTo>
                    <a:pt x="213" y="40"/>
                  </a:lnTo>
                  <a:lnTo>
                    <a:pt x="213" y="30"/>
                  </a:lnTo>
                  <a:close/>
                  <a:moveTo>
                    <a:pt x="213" y="51"/>
                  </a:moveTo>
                  <a:lnTo>
                    <a:pt x="222" y="51"/>
                  </a:lnTo>
                  <a:lnTo>
                    <a:pt x="222" y="61"/>
                  </a:lnTo>
                  <a:lnTo>
                    <a:pt x="213" y="61"/>
                  </a:lnTo>
                  <a:lnTo>
                    <a:pt x="213" y="51"/>
                  </a:lnTo>
                  <a:close/>
                  <a:moveTo>
                    <a:pt x="213" y="72"/>
                  </a:moveTo>
                  <a:lnTo>
                    <a:pt x="222" y="72"/>
                  </a:lnTo>
                  <a:lnTo>
                    <a:pt x="222" y="81"/>
                  </a:lnTo>
                  <a:lnTo>
                    <a:pt x="213" y="81"/>
                  </a:lnTo>
                  <a:lnTo>
                    <a:pt x="213" y="72"/>
                  </a:lnTo>
                  <a:close/>
                  <a:moveTo>
                    <a:pt x="213" y="91"/>
                  </a:moveTo>
                  <a:lnTo>
                    <a:pt x="222" y="91"/>
                  </a:lnTo>
                  <a:lnTo>
                    <a:pt x="222" y="100"/>
                  </a:lnTo>
                  <a:lnTo>
                    <a:pt x="213" y="100"/>
                  </a:lnTo>
                  <a:lnTo>
                    <a:pt x="213" y="91"/>
                  </a:lnTo>
                  <a:close/>
                  <a:moveTo>
                    <a:pt x="213" y="111"/>
                  </a:moveTo>
                  <a:lnTo>
                    <a:pt x="222" y="111"/>
                  </a:lnTo>
                  <a:lnTo>
                    <a:pt x="222" y="121"/>
                  </a:lnTo>
                  <a:lnTo>
                    <a:pt x="213" y="121"/>
                  </a:lnTo>
                  <a:lnTo>
                    <a:pt x="213" y="111"/>
                  </a:lnTo>
                  <a:close/>
                  <a:moveTo>
                    <a:pt x="213" y="132"/>
                  </a:moveTo>
                  <a:lnTo>
                    <a:pt x="222" y="132"/>
                  </a:lnTo>
                  <a:lnTo>
                    <a:pt x="222" y="142"/>
                  </a:lnTo>
                  <a:lnTo>
                    <a:pt x="213" y="142"/>
                  </a:lnTo>
                  <a:lnTo>
                    <a:pt x="213" y="132"/>
                  </a:lnTo>
                  <a:close/>
                  <a:moveTo>
                    <a:pt x="213" y="152"/>
                  </a:moveTo>
                  <a:lnTo>
                    <a:pt x="222" y="152"/>
                  </a:lnTo>
                  <a:lnTo>
                    <a:pt x="222" y="162"/>
                  </a:lnTo>
                  <a:lnTo>
                    <a:pt x="213" y="162"/>
                  </a:lnTo>
                  <a:lnTo>
                    <a:pt x="213" y="152"/>
                  </a:lnTo>
                  <a:close/>
                  <a:moveTo>
                    <a:pt x="213" y="172"/>
                  </a:moveTo>
                  <a:lnTo>
                    <a:pt x="222" y="172"/>
                  </a:lnTo>
                  <a:lnTo>
                    <a:pt x="222" y="181"/>
                  </a:lnTo>
                  <a:lnTo>
                    <a:pt x="213" y="181"/>
                  </a:lnTo>
                  <a:lnTo>
                    <a:pt x="213" y="172"/>
                  </a:lnTo>
                  <a:close/>
                  <a:moveTo>
                    <a:pt x="213" y="192"/>
                  </a:moveTo>
                  <a:lnTo>
                    <a:pt x="222" y="192"/>
                  </a:lnTo>
                  <a:lnTo>
                    <a:pt x="222" y="202"/>
                  </a:lnTo>
                  <a:lnTo>
                    <a:pt x="213" y="202"/>
                  </a:lnTo>
                  <a:lnTo>
                    <a:pt x="213" y="192"/>
                  </a:lnTo>
                  <a:close/>
                  <a:moveTo>
                    <a:pt x="213" y="213"/>
                  </a:moveTo>
                  <a:lnTo>
                    <a:pt x="222" y="213"/>
                  </a:lnTo>
                  <a:lnTo>
                    <a:pt x="222" y="222"/>
                  </a:lnTo>
                  <a:lnTo>
                    <a:pt x="213" y="222"/>
                  </a:lnTo>
                  <a:lnTo>
                    <a:pt x="213" y="213"/>
                  </a:lnTo>
                  <a:close/>
                  <a:moveTo>
                    <a:pt x="213" y="233"/>
                  </a:moveTo>
                  <a:lnTo>
                    <a:pt x="222" y="233"/>
                  </a:lnTo>
                  <a:lnTo>
                    <a:pt x="222" y="243"/>
                  </a:lnTo>
                  <a:lnTo>
                    <a:pt x="213" y="243"/>
                  </a:lnTo>
                  <a:lnTo>
                    <a:pt x="213" y="233"/>
                  </a:lnTo>
                  <a:close/>
                  <a:moveTo>
                    <a:pt x="213" y="253"/>
                  </a:moveTo>
                  <a:lnTo>
                    <a:pt x="222" y="253"/>
                  </a:lnTo>
                  <a:lnTo>
                    <a:pt x="222" y="262"/>
                  </a:lnTo>
                  <a:lnTo>
                    <a:pt x="213" y="262"/>
                  </a:lnTo>
                  <a:lnTo>
                    <a:pt x="213" y="253"/>
                  </a:lnTo>
                  <a:close/>
                  <a:moveTo>
                    <a:pt x="213" y="273"/>
                  </a:moveTo>
                  <a:lnTo>
                    <a:pt x="222" y="273"/>
                  </a:lnTo>
                  <a:lnTo>
                    <a:pt x="222" y="283"/>
                  </a:lnTo>
                  <a:lnTo>
                    <a:pt x="213" y="283"/>
                  </a:lnTo>
                  <a:lnTo>
                    <a:pt x="213" y="273"/>
                  </a:lnTo>
                  <a:close/>
                  <a:moveTo>
                    <a:pt x="213" y="294"/>
                  </a:moveTo>
                  <a:lnTo>
                    <a:pt x="222" y="294"/>
                  </a:lnTo>
                  <a:lnTo>
                    <a:pt x="222" y="303"/>
                  </a:lnTo>
                  <a:lnTo>
                    <a:pt x="213" y="303"/>
                  </a:lnTo>
                  <a:lnTo>
                    <a:pt x="213" y="294"/>
                  </a:lnTo>
                  <a:close/>
                  <a:moveTo>
                    <a:pt x="213" y="314"/>
                  </a:moveTo>
                  <a:lnTo>
                    <a:pt x="222" y="314"/>
                  </a:lnTo>
                  <a:lnTo>
                    <a:pt x="222" y="324"/>
                  </a:lnTo>
                  <a:lnTo>
                    <a:pt x="213" y="324"/>
                  </a:lnTo>
                  <a:lnTo>
                    <a:pt x="213" y="314"/>
                  </a:lnTo>
                  <a:close/>
                  <a:moveTo>
                    <a:pt x="213" y="333"/>
                  </a:moveTo>
                  <a:lnTo>
                    <a:pt x="222" y="333"/>
                  </a:lnTo>
                  <a:lnTo>
                    <a:pt x="222" y="343"/>
                  </a:lnTo>
                  <a:lnTo>
                    <a:pt x="213" y="343"/>
                  </a:lnTo>
                  <a:lnTo>
                    <a:pt x="213" y="333"/>
                  </a:lnTo>
                  <a:close/>
                  <a:moveTo>
                    <a:pt x="213" y="354"/>
                  </a:moveTo>
                  <a:lnTo>
                    <a:pt x="222" y="354"/>
                  </a:lnTo>
                  <a:lnTo>
                    <a:pt x="222" y="364"/>
                  </a:lnTo>
                  <a:lnTo>
                    <a:pt x="213" y="364"/>
                  </a:lnTo>
                  <a:lnTo>
                    <a:pt x="213" y="354"/>
                  </a:lnTo>
                  <a:close/>
                  <a:moveTo>
                    <a:pt x="213" y="375"/>
                  </a:moveTo>
                  <a:lnTo>
                    <a:pt x="222" y="375"/>
                  </a:lnTo>
                  <a:lnTo>
                    <a:pt x="222" y="384"/>
                  </a:lnTo>
                  <a:lnTo>
                    <a:pt x="213" y="384"/>
                  </a:lnTo>
                  <a:lnTo>
                    <a:pt x="213" y="375"/>
                  </a:lnTo>
                  <a:close/>
                  <a:moveTo>
                    <a:pt x="213" y="395"/>
                  </a:moveTo>
                  <a:lnTo>
                    <a:pt x="222" y="395"/>
                  </a:lnTo>
                  <a:lnTo>
                    <a:pt x="222" y="405"/>
                  </a:lnTo>
                  <a:lnTo>
                    <a:pt x="213" y="405"/>
                  </a:lnTo>
                  <a:lnTo>
                    <a:pt x="213" y="395"/>
                  </a:lnTo>
                  <a:close/>
                  <a:moveTo>
                    <a:pt x="213" y="414"/>
                  </a:moveTo>
                  <a:lnTo>
                    <a:pt x="222" y="414"/>
                  </a:lnTo>
                  <a:lnTo>
                    <a:pt x="222" y="424"/>
                  </a:lnTo>
                  <a:lnTo>
                    <a:pt x="213" y="424"/>
                  </a:lnTo>
                  <a:lnTo>
                    <a:pt x="213" y="414"/>
                  </a:lnTo>
                  <a:close/>
                  <a:moveTo>
                    <a:pt x="213" y="435"/>
                  </a:moveTo>
                  <a:lnTo>
                    <a:pt x="222" y="435"/>
                  </a:lnTo>
                  <a:lnTo>
                    <a:pt x="222" y="444"/>
                  </a:lnTo>
                  <a:lnTo>
                    <a:pt x="213" y="444"/>
                  </a:lnTo>
                  <a:lnTo>
                    <a:pt x="213" y="435"/>
                  </a:lnTo>
                  <a:close/>
                  <a:moveTo>
                    <a:pt x="222" y="455"/>
                  </a:moveTo>
                  <a:lnTo>
                    <a:pt x="222" y="465"/>
                  </a:lnTo>
                  <a:lnTo>
                    <a:pt x="213" y="465"/>
                  </a:lnTo>
                  <a:lnTo>
                    <a:pt x="213" y="455"/>
                  </a:lnTo>
                  <a:lnTo>
                    <a:pt x="222" y="455"/>
                  </a:lnTo>
                  <a:close/>
                  <a:moveTo>
                    <a:pt x="193" y="30"/>
                  </a:moveTo>
                  <a:lnTo>
                    <a:pt x="203" y="30"/>
                  </a:lnTo>
                  <a:lnTo>
                    <a:pt x="203" y="40"/>
                  </a:lnTo>
                  <a:lnTo>
                    <a:pt x="193" y="40"/>
                  </a:lnTo>
                  <a:lnTo>
                    <a:pt x="193" y="30"/>
                  </a:lnTo>
                  <a:close/>
                  <a:moveTo>
                    <a:pt x="193" y="51"/>
                  </a:moveTo>
                  <a:lnTo>
                    <a:pt x="203" y="51"/>
                  </a:lnTo>
                  <a:lnTo>
                    <a:pt x="203" y="61"/>
                  </a:lnTo>
                  <a:lnTo>
                    <a:pt x="193" y="61"/>
                  </a:lnTo>
                  <a:lnTo>
                    <a:pt x="193" y="51"/>
                  </a:lnTo>
                  <a:close/>
                  <a:moveTo>
                    <a:pt x="193" y="72"/>
                  </a:moveTo>
                  <a:lnTo>
                    <a:pt x="203" y="72"/>
                  </a:lnTo>
                  <a:lnTo>
                    <a:pt x="203" y="81"/>
                  </a:lnTo>
                  <a:lnTo>
                    <a:pt x="193" y="81"/>
                  </a:lnTo>
                  <a:lnTo>
                    <a:pt x="193" y="72"/>
                  </a:lnTo>
                  <a:close/>
                  <a:moveTo>
                    <a:pt x="193" y="91"/>
                  </a:moveTo>
                  <a:lnTo>
                    <a:pt x="203" y="91"/>
                  </a:lnTo>
                  <a:lnTo>
                    <a:pt x="203" y="100"/>
                  </a:lnTo>
                  <a:lnTo>
                    <a:pt x="193" y="100"/>
                  </a:lnTo>
                  <a:lnTo>
                    <a:pt x="193" y="91"/>
                  </a:lnTo>
                  <a:close/>
                  <a:moveTo>
                    <a:pt x="193" y="111"/>
                  </a:moveTo>
                  <a:lnTo>
                    <a:pt x="203" y="111"/>
                  </a:lnTo>
                  <a:lnTo>
                    <a:pt x="203" y="121"/>
                  </a:lnTo>
                  <a:lnTo>
                    <a:pt x="193" y="121"/>
                  </a:lnTo>
                  <a:lnTo>
                    <a:pt x="193" y="111"/>
                  </a:lnTo>
                  <a:close/>
                  <a:moveTo>
                    <a:pt x="193" y="132"/>
                  </a:moveTo>
                  <a:lnTo>
                    <a:pt x="203" y="132"/>
                  </a:lnTo>
                  <a:lnTo>
                    <a:pt x="203" y="142"/>
                  </a:lnTo>
                  <a:lnTo>
                    <a:pt x="193" y="142"/>
                  </a:lnTo>
                  <a:lnTo>
                    <a:pt x="193" y="132"/>
                  </a:lnTo>
                  <a:close/>
                  <a:moveTo>
                    <a:pt x="193" y="152"/>
                  </a:moveTo>
                  <a:lnTo>
                    <a:pt x="203" y="152"/>
                  </a:lnTo>
                  <a:lnTo>
                    <a:pt x="203" y="162"/>
                  </a:lnTo>
                  <a:lnTo>
                    <a:pt x="193" y="162"/>
                  </a:lnTo>
                  <a:lnTo>
                    <a:pt x="193" y="152"/>
                  </a:lnTo>
                  <a:close/>
                  <a:moveTo>
                    <a:pt x="193" y="172"/>
                  </a:moveTo>
                  <a:lnTo>
                    <a:pt x="203" y="172"/>
                  </a:lnTo>
                  <a:lnTo>
                    <a:pt x="203" y="181"/>
                  </a:lnTo>
                  <a:lnTo>
                    <a:pt x="193" y="181"/>
                  </a:lnTo>
                  <a:lnTo>
                    <a:pt x="193" y="172"/>
                  </a:lnTo>
                  <a:close/>
                  <a:moveTo>
                    <a:pt x="193" y="192"/>
                  </a:moveTo>
                  <a:lnTo>
                    <a:pt x="203" y="192"/>
                  </a:lnTo>
                  <a:lnTo>
                    <a:pt x="203" y="202"/>
                  </a:lnTo>
                  <a:lnTo>
                    <a:pt x="193" y="202"/>
                  </a:lnTo>
                  <a:lnTo>
                    <a:pt x="193" y="192"/>
                  </a:lnTo>
                  <a:close/>
                  <a:moveTo>
                    <a:pt x="193" y="213"/>
                  </a:moveTo>
                  <a:lnTo>
                    <a:pt x="203" y="213"/>
                  </a:lnTo>
                  <a:lnTo>
                    <a:pt x="203" y="222"/>
                  </a:lnTo>
                  <a:lnTo>
                    <a:pt x="193" y="222"/>
                  </a:lnTo>
                  <a:lnTo>
                    <a:pt x="193" y="213"/>
                  </a:lnTo>
                  <a:close/>
                  <a:moveTo>
                    <a:pt x="193" y="233"/>
                  </a:moveTo>
                  <a:lnTo>
                    <a:pt x="203" y="233"/>
                  </a:lnTo>
                  <a:lnTo>
                    <a:pt x="203" y="243"/>
                  </a:lnTo>
                  <a:lnTo>
                    <a:pt x="193" y="243"/>
                  </a:lnTo>
                  <a:lnTo>
                    <a:pt x="193" y="233"/>
                  </a:lnTo>
                  <a:close/>
                  <a:moveTo>
                    <a:pt x="193" y="253"/>
                  </a:moveTo>
                  <a:lnTo>
                    <a:pt x="203" y="253"/>
                  </a:lnTo>
                  <a:lnTo>
                    <a:pt x="203" y="262"/>
                  </a:lnTo>
                  <a:lnTo>
                    <a:pt x="193" y="262"/>
                  </a:lnTo>
                  <a:lnTo>
                    <a:pt x="193" y="253"/>
                  </a:lnTo>
                  <a:close/>
                  <a:moveTo>
                    <a:pt x="193" y="273"/>
                  </a:moveTo>
                  <a:lnTo>
                    <a:pt x="203" y="273"/>
                  </a:lnTo>
                  <a:lnTo>
                    <a:pt x="203" y="283"/>
                  </a:lnTo>
                  <a:lnTo>
                    <a:pt x="193" y="283"/>
                  </a:lnTo>
                  <a:lnTo>
                    <a:pt x="193" y="273"/>
                  </a:lnTo>
                  <a:close/>
                  <a:moveTo>
                    <a:pt x="193" y="294"/>
                  </a:moveTo>
                  <a:lnTo>
                    <a:pt x="203" y="294"/>
                  </a:lnTo>
                  <a:lnTo>
                    <a:pt x="203" y="303"/>
                  </a:lnTo>
                  <a:lnTo>
                    <a:pt x="193" y="303"/>
                  </a:lnTo>
                  <a:lnTo>
                    <a:pt x="193" y="294"/>
                  </a:lnTo>
                  <a:close/>
                  <a:moveTo>
                    <a:pt x="193" y="314"/>
                  </a:moveTo>
                  <a:lnTo>
                    <a:pt x="203" y="314"/>
                  </a:lnTo>
                  <a:lnTo>
                    <a:pt x="203" y="324"/>
                  </a:lnTo>
                  <a:lnTo>
                    <a:pt x="193" y="324"/>
                  </a:lnTo>
                  <a:lnTo>
                    <a:pt x="193" y="314"/>
                  </a:lnTo>
                  <a:close/>
                  <a:moveTo>
                    <a:pt x="193" y="333"/>
                  </a:moveTo>
                  <a:lnTo>
                    <a:pt x="203" y="333"/>
                  </a:lnTo>
                  <a:lnTo>
                    <a:pt x="203" y="343"/>
                  </a:lnTo>
                  <a:lnTo>
                    <a:pt x="193" y="343"/>
                  </a:lnTo>
                  <a:lnTo>
                    <a:pt x="193" y="333"/>
                  </a:lnTo>
                  <a:close/>
                  <a:moveTo>
                    <a:pt x="193" y="354"/>
                  </a:moveTo>
                  <a:lnTo>
                    <a:pt x="203" y="354"/>
                  </a:lnTo>
                  <a:lnTo>
                    <a:pt x="203" y="364"/>
                  </a:lnTo>
                  <a:lnTo>
                    <a:pt x="193" y="364"/>
                  </a:lnTo>
                  <a:lnTo>
                    <a:pt x="193" y="354"/>
                  </a:lnTo>
                  <a:close/>
                  <a:moveTo>
                    <a:pt x="193" y="375"/>
                  </a:moveTo>
                  <a:lnTo>
                    <a:pt x="203" y="375"/>
                  </a:lnTo>
                  <a:lnTo>
                    <a:pt x="203" y="384"/>
                  </a:lnTo>
                  <a:lnTo>
                    <a:pt x="193" y="384"/>
                  </a:lnTo>
                  <a:lnTo>
                    <a:pt x="193" y="375"/>
                  </a:lnTo>
                  <a:close/>
                  <a:moveTo>
                    <a:pt x="193" y="395"/>
                  </a:moveTo>
                  <a:lnTo>
                    <a:pt x="203" y="395"/>
                  </a:lnTo>
                  <a:lnTo>
                    <a:pt x="203" y="405"/>
                  </a:lnTo>
                  <a:lnTo>
                    <a:pt x="193" y="405"/>
                  </a:lnTo>
                  <a:lnTo>
                    <a:pt x="193" y="395"/>
                  </a:lnTo>
                  <a:close/>
                  <a:moveTo>
                    <a:pt x="193" y="414"/>
                  </a:moveTo>
                  <a:lnTo>
                    <a:pt x="203" y="414"/>
                  </a:lnTo>
                  <a:lnTo>
                    <a:pt x="203" y="424"/>
                  </a:lnTo>
                  <a:lnTo>
                    <a:pt x="193" y="424"/>
                  </a:lnTo>
                  <a:lnTo>
                    <a:pt x="193" y="414"/>
                  </a:lnTo>
                  <a:close/>
                  <a:moveTo>
                    <a:pt x="193" y="435"/>
                  </a:moveTo>
                  <a:lnTo>
                    <a:pt x="203" y="435"/>
                  </a:lnTo>
                  <a:lnTo>
                    <a:pt x="203" y="444"/>
                  </a:lnTo>
                  <a:lnTo>
                    <a:pt x="193" y="444"/>
                  </a:lnTo>
                  <a:lnTo>
                    <a:pt x="193" y="435"/>
                  </a:lnTo>
                  <a:close/>
                  <a:moveTo>
                    <a:pt x="203" y="455"/>
                  </a:moveTo>
                  <a:lnTo>
                    <a:pt x="203" y="465"/>
                  </a:lnTo>
                  <a:lnTo>
                    <a:pt x="193" y="465"/>
                  </a:lnTo>
                  <a:lnTo>
                    <a:pt x="193" y="455"/>
                  </a:lnTo>
                  <a:lnTo>
                    <a:pt x="203" y="455"/>
                  </a:lnTo>
                  <a:close/>
                  <a:moveTo>
                    <a:pt x="173" y="30"/>
                  </a:moveTo>
                  <a:lnTo>
                    <a:pt x="182" y="30"/>
                  </a:lnTo>
                  <a:lnTo>
                    <a:pt x="182" y="40"/>
                  </a:lnTo>
                  <a:lnTo>
                    <a:pt x="173" y="40"/>
                  </a:lnTo>
                  <a:lnTo>
                    <a:pt x="173" y="30"/>
                  </a:lnTo>
                  <a:close/>
                  <a:moveTo>
                    <a:pt x="173" y="51"/>
                  </a:moveTo>
                  <a:lnTo>
                    <a:pt x="182" y="51"/>
                  </a:lnTo>
                  <a:lnTo>
                    <a:pt x="182" y="61"/>
                  </a:lnTo>
                  <a:lnTo>
                    <a:pt x="173" y="61"/>
                  </a:lnTo>
                  <a:lnTo>
                    <a:pt x="173" y="51"/>
                  </a:lnTo>
                  <a:close/>
                  <a:moveTo>
                    <a:pt x="173" y="72"/>
                  </a:moveTo>
                  <a:lnTo>
                    <a:pt x="182" y="72"/>
                  </a:lnTo>
                  <a:lnTo>
                    <a:pt x="182" y="81"/>
                  </a:lnTo>
                  <a:lnTo>
                    <a:pt x="173" y="81"/>
                  </a:lnTo>
                  <a:lnTo>
                    <a:pt x="173" y="72"/>
                  </a:lnTo>
                  <a:close/>
                  <a:moveTo>
                    <a:pt x="173" y="91"/>
                  </a:moveTo>
                  <a:lnTo>
                    <a:pt x="182" y="91"/>
                  </a:lnTo>
                  <a:lnTo>
                    <a:pt x="182" y="100"/>
                  </a:lnTo>
                  <a:lnTo>
                    <a:pt x="173" y="100"/>
                  </a:lnTo>
                  <a:lnTo>
                    <a:pt x="173" y="91"/>
                  </a:lnTo>
                  <a:close/>
                  <a:moveTo>
                    <a:pt x="173" y="111"/>
                  </a:moveTo>
                  <a:lnTo>
                    <a:pt x="182" y="111"/>
                  </a:lnTo>
                  <a:lnTo>
                    <a:pt x="182" y="121"/>
                  </a:lnTo>
                  <a:lnTo>
                    <a:pt x="173" y="121"/>
                  </a:lnTo>
                  <a:lnTo>
                    <a:pt x="173" y="111"/>
                  </a:lnTo>
                  <a:close/>
                  <a:moveTo>
                    <a:pt x="173" y="132"/>
                  </a:moveTo>
                  <a:lnTo>
                    <a:pt x="182" y="132"/>
                  </a:lnTo>
                  <a:lnTo>
                    <a:pt x="182" y="142"/>
                  </a:lnTo>
                  <a:lnTo>
                    <a:pt x="173" y="142"/>
                  </a:lnTo>
                  <a:lnTo>
                    <a:pt x="173" y="132"/>
                  </a:lnTo>
                  <a:close/>
                  <a:moveTo>
                    <a:pt x="173" y="152"/>
                  </a:moveTo>
                  <a:lnTo>
                    <a:pt x="182" y="152"/>
                  </a:lnTo>
                  <a:lnTo>
                    <a:pt x="182" y="162"/>
                  </a:lnTo>
                  <a:lnTo>
                    <a:pt x="173" y="162"/>
                  </a:lnTo>
                  <a:lnTo>
                    <a:pt x="173" y="152"/>
                  </a:lnTo>
                  <a:close/>
                  <a:moveTo>
                    <a:pt x="173" y="172"/>
                  </a:moveTo>
                  <a:lnTo>
                    <a:pt x="182" y="172"/>
                  </a:lnTo>
                  <a:lnTo>
                    <a:pt x="182" y="181"/>
                  </a:lnTo>
                  <a:lnTo>
                    <a:pt x="173" y="181"/>
                  </a:lnTo>
                  <a:lnTo>
                    <a:pt x="173" y="172"/>
                  </a:lnTo>
                  <a:close/>
                  <a:moveTo>
                    <a:pt x="173" y="192"/>
                  </a:moveTo>
                  <a:lnTo>
                    <a:pt x="182" y="192"/>
                  </a:lnTo>
                  <a:lnTo>
                    <a:pt x="182" y="202"/>
                  </a:lnTo>
                  <a:lnTo>
                    <a:pt x="173" y="202"/>
                  </a:lnTo>
                  <a:lnTo>
                    <a:pt x="173" y="192"/>
                  </a:lnTo>
                  <a:close/>
                  <a:moveTo>
                    <a:pt x="173" y="213"/>
                  </a:moveTo>
                  <a:lnTo>
                    <a:pt x="182" y="213"/>
                  </a:lnTo>
                  <a:lnTo>
                    <a:pt x="182" y="222"/>
                  </a:lnTo>
                  <a:lnTo>
                    <a:pt x="173" y="222"/>
                  </a:lnTo>
                  <a:lnTo>
                    <a:pt x="173" y="213"/>
                  </a:lnTo>
                  <a:close/>
                  <a:moveTo>
                    <a:pt x="173" y="233"/>
                  </a:moveTo>
                  <a:lnTo>
                    <a:pt x="182" y="233"/>
                  </a:lnTo>
                  <a:lnTo>
                    <a:pt x="182" y="243"/>
                  </a:lnTo>
                  <a:lnTo>
                    <a:pt x="173" y="243"/>
                  </a:lnTo>
                  <a:lnTo>
                    <a:pt x="173" y="233"/>
                  </a:lnTo>
                  <a:close/>
                  <a:moveTo>
                    <a:pt x="173" y="253"/>
                  </a:moveTo>
                  <a:lnTo>
                    <a:pt x="182" y="253"/>
                  </a:lnTo>
                  <a:lnTo>
                    <a:pt x="182" y="262"/>
                  </a:lnTo>
                  <a:lnTo>
                    <a:pt x="173" y="262"/>
                  </a:lnTo>
                  <a:lnTo>
                    <a:pt x="173" y="253"/>
                  </a:lnTo>
                  <a:close/>
                  <a:moveTo>
                    <a:pt x="173" y="273"/>
                  </a:moveTo>
                  <a:lnTo>
                    <a:pt x="182" y="273"/>
                  </a:lnTo>
                  <a:lnTo>
                    <a:pt x="182" y="283"/>
                  </a:lnTo>
                  <a:lnTo>
                    <a:pt x="173" y="283"/>
                  </a:lnTo>
                  <a:lnTo>
                    <a:pt x="173" y="273"/>
                  </a:lnTo>
                  <a:close/>
                  <a:moveTo>
                    <a:pt x="173" y="294"/>
                  </a:moveTo>
                  <a:lnTo>
                    <a:pt x="182" y="294"/>
                  </a:lnTo>
                  <a:lnTo>
                    <a:pt x="182" y="303"/>
                  </a:lnTo>
                  <a:lnTo>
                    <a:pt x="173" y="303"/>
                  </a:lnTo>
                  <a:lnTo>
                    <a:pt x="173" y="294"/>
                  </a:lnTo>
                  <a:close/>
                  <a:moveTo>
                    <a:pt x="173" y="314"/>
                  </a:moveTo>
                  <a:lnTo>
                    <a:pt x="182" y="314"/>
                  </a:lnTo>
                  <a:lnTo>
                    <a:pt x="182" y="324"/>
                  </a:lnTo>
                  <a:lnTo>
                    <a:pt x="173" y="324"/>
                  </a:lnTo>
                  <a:lnTo>
                    <a:pt x="173" y="314"/>
                  </a:lnTo>
                  <a:close/>
                  <a:moveTo>
                    <a:pt x="173" y="333"/>
                  </a:moveTo>
                  <a:lnTo>
                    <a:pt x="182" y="333"/>
                  </a:lnTo>
                  <a:lnTo>
                    <a:pt x="182" y="343"/>
                  </a:lnTo>
                  <a:lnTo>
                    <a:pt x="173" y="343"/>
                  </a:lnTo>
                  <a:lnTo>
                    <a:pt x="173" y="333"/>
                  </a:lnTo>
                  <a:close/>
                  <a:moveTo>
                    <a:pt x="173" y="354"/>
                  </a:moveTo>
                  <a:lnTo>
                    <a:pt x="182" y="354"/>
                  </a:lnTo>
                  <a:lnTo>
                    <a:pt x="182" y="364"/>
                  </a:lnTo>
                  <a:lnTo>
                    <a:pt x="173" y="364"/>
                  </a:lnTo>
                  <a:lnTo>
                    <a:pt x="173" y="354"/>
                  </a:lnTo>
                  <a:close/>
                  <a:moveTo>
                    <a:pt x="173" y="375"/>
                  </a:moveTo>
                  <a:lnTo>
                    <a:pt x="182" y="375"/>
                  </a:lnTo>
                  <a:lnTo>
                    <a:pt x="182" y="384"/>
                  </a:lnTo>
                  <a:lnTo>
                    <a:pt x="173" y="384"/>
                  </a:lnTo>
                  <a:lnTo>
                    <a:pt x="173" y="375"/>
                  </a:lnTo>
                  <a:close/>
                  <a:moveTo>
                    <a:pt x="173" y="395"/>
                  </a:moveTo>
                  <a:lnTo>
                    <a:pt x="182" y="395"/>
                  </a:lnTo>
                  <a:lnTo>
                    <a:pt x="182" y="405"/>
                  </a:lnTo>
                  <a:lnTo>
                    <a:pt x="173" y="405"/>
                  </a:lnTo>
                  <a:lnTo>
                    <a:pt x="173" y="395"/>
                  </a:lnTo>
                  <a:close/>
                  <a:moveTo>
                    <a:pt x="173" y="414"/>
                  </a:moveTo>
                  <a:lnTo>
                    <a:pt x="182" y="414"/>
                  </a:lnTo>
                  <a:lnTo>
                    <a:pt x="182" y="424"/>
                  </a:lnTo>
                  <a:lnTo>
                    <a:pt x="173" y="424"/>
                  </a:lnTo>
                  <a:lnTo>
                    <a:pt x="173" y="414"/>
                  </a:lnTo>
                  <a:close/>
                  <a:moveTo>
                    <a:pt x="173" y="435"/>
                  </a:moveTo>
                  <a:lnTo>
                    <a:pt x="182" y="435"/>
                  </a:lnTo>
                  <a:lnTo>
                    <a:pt x="182" y="444"/>
                  </a:lnTo>
                  <a:lnTo>
                    <a:pt x="173" y="444"/>
                  </a:lnTo>
                  <a:lnTo>
                    <a:pt x="173" y="435"/>
                  </a:lnTo>
                  <a:close/>
                  <a:moveTo>
                    <a:pt x="182" y="455"/>
                  </a:moveTo>
                  <a:lnTo>
                    <a:pt x="182" y="465"/>
                  </a:lnTo>
                  <a:lnTo>
                    <a:pt x="173" y="465"/>
                  </a:lnTo>
                  <a:lnTo>
                    <a:pt x="173" y="455"/>
                  </a:lnTo>
                  <a:lnTo>
                    <a:pt x="182" y="455"/>
                  </a:lnTo>
                  <a:close/>
                  <a:moveTo>
                    <a:pt x="152" y="30"/>
                  </a:moveTo>
                  <a:lnTo>
                    <a:pt x="162" y="30"/>
                  </a:lnTo>
                  <a:lnTo>
                    <a:pt x="162" y="40"/>
                  </a:lnTo>
                  <a:lnTo>
                    <a:pt x="152" y="40"/>
                  </a:lnTo>
                  <a:lnTo>
                    <a:pt x="152" y="30"/>
                  </a:lnTo>
                  <a:close/>
                  <a:moveTo>
                    <a:pt x="152" y="51"/>
                  </a:moveTo>
                  <a:lnTo>
                    <a:pt x="162" y="51"/>
                  </a:lnTo>
                  <a:lnTo>
                    <a:pt x="162" y="61"/>
                  </a:lnTo>
                  <a:lnTo>
                    <a:pt x="152" y="61"/>
                  </a:lnTo>
                  <a:lnTo>
                    <a:pt x="152" y="51"/>
                  </a:lnTo>
                  <a:close/>
                  <a:moveTo>
                    <a:pt x="152" y="72"/>
                  </a:moveTo>
                  <a:lnTo>
                    <a:pt x="162" y="72"/>
                  </a:lnTo>
                  <a:lnTo>
                    <a:pt x="162" y="81"/>
                  </a:lnTo>
                  <a:lnTo>
                    <a:pt x="152" y="81"/>
                  </a:lnTo>
                  <a:lnTo>
                    <a:pt x="152" y="72"/>
                  </a:lnTo>
                  <a:close/>
                  <a:moveTo>
                    <a:pt x="152" y="91"/>
                  </a:moveTo>
                  <a:lnTo>
                    <a:pt x="162" y="91"/>
                  </a:lnTo>
                  <a:lnTo>
                    <a:pt x="162" y="100"/>
                  </a:lnTo>
                  <a:lnTo>
                    <a:pt x="152" y="100"/>
                  </a:lnTo>
                  <a:lnTo>
                    <a:pt x="152" y="91"/>
                  </a:lnTo>
                  <a:close/>
                  <a:moveTo>
                    <a:pt x="152" y="111"/>
                  </a:moveTo>
                  <a:lnTo>
                    <a:pt x="162" y="111"/>
                  </a:lnTo>
                  <a:lnTo>
                    <a:pt x="162" y="121"/>
                  </a:lnTo>
                  <a:lnTo>
                    <a:pt x="152" y="121"/>
                  </a:lnTo>
                  <a:lnTo>
                    <a:pt x="152" y="111"/>
                  </a:lnTo>
                  <a:close/>
                  <a:moveTo>
                    <a:pt x="152" y="132"/>
                  </a:moveTo>
                  <a:lnTo>
                    <a:pt x="162" y="132"/>
                  </a:lnTo>
                  <a:lnTo>
                    <a:pt x="162" y="142"/>
                  </a:lnTo>
                  <a:lnTo>
                    <a:pt x="152" y="142"/>
                  </a:lnTo>
                  <a:lnTo>
                    <a:pt x="152" y="132"/>
                  </a:lnTo>
                  <a:close/>
                  <a:moveTo>
                    <a:pt x="152" y="152"/>
                  </a:moveTo>
                  <a:lnTo>
                    <a:pt x="162" y="152"/>
                  </a:lnTo>
                  <a:lnTo>
                    <a:pt x="162" y="162"/>
                  </a:lnTo>
                  <a:lnTo>
                    <a:pt x="152" y="162"/>
                  </a:lnTo>
                  <a:lnTo>
                    <a:pt x="152" y="152"/>
                  </a:lnTo>
                  <a:close/>
                  <a:moveTo>
                    <a:pt x="152" y="172"/>
                  </a:moveTo>
                  <a:lnTo>
                    <a:pt x="162" y="172"/>
                  </a:lnTo>
                  <a:lnTo>
                    <a:pt x="162" y="181"/>
                  </a:lnTo>
                  <a:lnTo>
                    <a:pt x="152" y="181"/>
                  </a:lnTo>
                  <a:lnTo>
                    <a:pt x="152" y="172"/>
                  </a:lnTo>
                  <a:close/>
                  <a:moveTo>
                    <a:pt x="152" y="192"/>
                  </a:moveTo>
                  <a:lnTo>
                    <a:pt x="162" y="192"/>
                  </a:lnTo>
                  <a:lnTo>
                    <a:pt x="162" y="202"/>
                  </a:lnTo>
                  <a:lnTo>
                    <a:pt x="152" y="202"/>
                  </a:lnTo>
                  <a:lnTo>
                    <a:pt x="152" y="192"/>
                  </a:lnTo>
                  <a:close/>
                  <a:moveTo>
                    <a:pt x="152" y="213"/>
                  </a:moveTo>
                  <a:lnTo>
                    <a:pt x="162" y="213"/>
                  </a:lnTo>
                  <a:lnTo>
                    <a:pt x="162" y="222"/>
                  </a:lnTo>
                  <a:lnTo>
                    <a:pt x="152" y="222"/>
                  </a:lnTo>
                  <a:lnTo>
                    <a:pt x="152" y="213"/>
                  </a:lnTo>
                  <a:close/>
                  <a:moveTo>
                    <a:pt x="152" y="233"/>
                  </a:moveTo>
                  <a:lnTo>
                    <a:pt x="162" y="233"/>
                  </a:lnTo>
                  <a:lnTo>
                    <a:pt x="162" y="243"/>
                  </a:lnTo>
                  <a:lnTo>
                    <a:pt x="152" y="243"/>
                  </a:lnTo>
                  <a:lnTo>
                    <a:pt x="152" y="233"/>
                  </a:lnTo>
                  <a:close/>
                  <a:moveTo>
                    <a:pt x="152" y="253"/>
                  </a:moveTo>
                  <a:lnTo>
                    <a:pt x="162" y="253"/>
                  </a:lnTo>
                  <a:lnTo>
                    <a:pt x="162" y="262"/>
                  </a:lnTo>
                  <a:lnTo>
                    <a:pt x="152" y="262"/>
                  </a:lnTo>
                  <a:lnTo>
                    <a:pt x="152" y="253"/>
                  </a:lnTo>
                  <a:close/>
                  <a:moveTo>
                    <a:pt x="152" y="273"/>
                  </a:moveTo>
                  <a:lnTo>
                    <a:pt x="162" y="273"/>
                  </a:lnTo>
                  <a:lnTo>
                    <a:pt x="162" y="283"/>
                  </a:lnTo>
                  <a:lnTo>
                    <a:pt x="152" y="283"/>
                  </a:lnTo>
                  <a:lnTo>
                    <a:pt x="152" y="273"/>
                  </a:lnTo>
                  <a:close/>
                  <a:moveTo>
                    <a:pt x="152" y="294"/>
                  </a:moveTo>
                  <a:lnTo>
                    <a:pt x="162" y="294"/>
                  </a:lnTo>
                  <a:lnTo>
                    <a:pt x="162" y="303"/>
                  </a:lnTo>
                  <a:lnTo>
                    <a:pt x="152" y="303"/>
                  </a:lnTo>
                  <a:lnTo>
                    <a:pt x="152" y="294"/>
                  </a:lnTo>
                  <a:close/>
                  <a:moveTo>
                    <a:pt x="152" y="314"/>
                  </a:moveTo>
                  <a:lnTo>
                    <a:pt x="162" y="314"/>
                  </a:lnTo>
                  <a:lnTo>
                    <a:pt x="162" y="324"/>
                  </a:lnTo>
                  <a:lnTo>
                    <a:pt x="152" y="324"/>
                  </a:lnTo>
                  <a:lnTo>
                    <a:pt x="152" y="314"/>
                  </a:lnTo>
                  <a:close/>
                  <a:moveTo>
                    <a:pt x="152" y="333"/>
                  </a:moveTo>
                  <a:lnTo>
                    <a:pt x="162" y="333"/>
                  </a:lnTo>
                  <a:lnTo>
                    <a:pt x="162" y="343"/>
                  </a:lnTo>
                  <a:lnTo>
                    <a:pt x="152" y="343"/>
                  </a:lnTo>
                  <a:lnTo>
                    <a:pt x="152" y="333"/>
                  </a:lnTo>
                  <a:close/>
                  <a:moveTo>
                    <a:pt x="152" y="354"/>
                  </a:moveTo>
                  <a:lnTo>
                    <a:pt x="162" y="354"/>
                  </a:lnTo>
                  <a:lnTo>
                    <a:pt x="162" y="364"/>
                  </a:lnTo>
                  <a:lnTo>
                    <a:pt x="152" y="364"/>
                  </a:lnTo>
                  <a:lnTo>
                    <a:pt x="152" y="354"/>
                  </a:lnTo>
                  <a:close/>
                  <a:moveTo>
                    <a:pt x="152" y="375"/>
                  </a:moveTo>
                  <a:lnTo>
                    <a:pt x="162" y="375"/>
                  </a:lnTo>
                  <a:lnTo>
                    <a:pt x="162" y="384"/>
                  </a:lnTo>
                  <a:lnTo>
                    <a:pt x="152" y="384"/>
                  </a:lnTo>
                  <a:lnTo>
                    <a:pt x="152" y="375"/>
                  </a:lnTo>
                  <a:close/>
                  <a:moveTo>
                    <a:pt x="152" y="395"/>
                  </a:moveTo>
                  <a:lnTo>
                    <a:pt x="162" y="395"/>
                  </a:lnTo>
                  <a:lnTo>
                    <a:pt x="162" y="405"/>
                  </a:lnTo>
                  <a:lnTo>
                    <a:pt x="152" y="405"/>
                  </a:lnTo>
                  <a:lnTo>
                    <a:pt x="152" y="395"/>
                  </a:lnTo>
                  <a:close/>
                  <a:moveTo>
                    <a:pt x="152" y="414"/>
                  </a:moveTo>
                  <a:lnTo>
                    <a:pt x="162" y="414"/>
                  </a:lnTo>
                  <a:lnTo>
                    <a:pt x="162" y="424"/>
                  </a:lnTo>
                  <a:lnTo>
                    <a:pt x="152" y="424"/>
                  </a:lnTo>
                  <a:lnTo>
                    <a:pt x="152" y="414"/>
                  </a:lnTo>
                  <a:close/>
                  <a:moveTo>
                    <a:pt x="152" y="435"/>
                  </a:moveTo>
                  <a:lnTo>
                    <a:pt x="162" y="435"/>
                  </a:lnTo>
                  <a:lnTo>
                    <a:pt x="162" y="444"/>
                  </a:lnTo>
                  <a:lnTo>
                    <a:pt x="152" y="444"/>
                  </a:lnTo>
                  <a:lnTo>
                    <a:pt x="152" y="435"/>
                  </a:lnTo>
                  <a:close/>
                  <a:moveTo>
                    <a:pt x="162" y="455"/>
                  </a:moveTo>
                  <a:lnTo>
                    <a:pt x="162" y="465"/>
                  </a:lnTo>
                  <a:lnTo>
                    <a:pt x="152" y="465"/>
                  </a:lnTo>
                  <a:lnTo>
                    <a:pt x="152" y="455"/>
                  </a:lnTo>
                  <a:lnTo>
                    <a:pt x="162" y="455"/>
                  </a:lnTo>
                  <a:close/>
                  <a:moveTo>
                    <a:pt x="132" y="30"/>
                  </a:moveTo>
                  <a:lnTo>
                    <a:pt x="141" y="30"/>
                  </a:lnTo>
                  <a:lnTo>
                    <a:pt x="141" y="40"/>
                  </a:lnTo>
                  <a:lnTo>
                    <a:pt x="132" y="40"/>
                  </a:lnTo>
                  <a:lnTo>
                    <a:pt x="132" y="30"/>
                  </a:lnTo>
                  <a:close/>
                  <a:moveTo>
                    <a:pt x="132" y="51"/>
                  </a:moveTo>
                  <a:lnTo>
                    <a:pt x="141" y="51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32" y="51"/>
                  </a:lnTo>
                  <a:close/>
                  <a:moveTo>
                    <a:pt x="132" y="72"/>
                  </a:moveTo>
                  <a:lnTo>
                    <a:pt x="141" y="72"/>
                  </a:lnTo>
                  <a:lnTo>
                    <a:pt x="141" y="81"/>
                  </a:lnTo>
                  <a:lnTo>
                    <a:pt x="132" y="81"/>
                  </a:lnTo>
                  <a:lnTo>
                    <a:pt x="132" y="72"/>
                  </a:lnTo>
                  <a:close/>
                  <a:moveTo>
                    <a:pt x="132" y="91"/>
                  </a:moveTo>
                  <a:lnTo>
                    <a:pt x="141" y="91"/>
                  </a:lnTo>
                  <a:lnTo>
                    <a:pt x="141" y="100"/>
                  </a:lnTo>
                  <a:lnTo>
                    <a:pt x="132" y="100"/>
                  </a:lnTo>
                  <a:lnTo>
                    <a:pt x="132" y="91"/>
                  </a:lnTo>
                  <a:close/>
                  <a:moveTo>
                    <a:pt x="132" y="111"/>
                  </a:moveTo>
                  <a:lnTo>
                    <a:pt x="141" y="111"/>
                  </a:lnTo>
                  <a:lnTo>
                    <a:pt x="141" y="121"/>
                  </a:lnTo>
                  <a:lnTo>
                    <a:pt x="132" y="121"/>
                  </a:lnTo>
                  <a:lnTo>
                    <a:pt x="132" y="111"/>
                  </a:lnTo>
                  <a:close/>
                  <a:moveTo>
                    <a:pt x="132" y="132"/>
                  </a:moveTo>
                  <a:lnTo>
                    <a:pt x="141" y="132"/>
                  </a:lnTo>
                  <a:lnTo>
                    <a:pt x="141" y="142"/>
                  </a:lnTo>
                  <a:lnTo>
                    <a:pt x="132" y="142"/>
                  </a:lnTo>
                  <a:lnTo>
                    <a:pt x="132" y="132"/>
                  </a:lnTo>
                  <a:close/>
                  <a:moveTo>
                    <a:pt x="132" y="152"/>
                  </a:moveTo>
                  <a:lnTo>
                    <a:pt x="141" y="152"/>
                  </a:lnTo>
                  <a:lnTo>
                    <a:pt x="141" y="162"/>
                  </a:lnTo>
                  <a:lnTo>
                    <a:pt x="132" y="162"/>
                  </a:lnTo>
                  <a:lnTo>
                    <a:pt x="132" y="152"/>
                  </a:lnTo>
                  <a:close/>
                  <a:moveTo>
                    <a:pt x="132" y="172"/>
                  </a:moveTo>
                  <a:lnTo>
                    <a:pt x="141" y="172"/>
                  </a:lnTo>
                  <a:lnTo>
                    <a:pt x="141" y="181"/>
                  </a:lnTo>
                  <a:lnTo>
                    <a:pt x="132" y="181"/>
                  </a:lnTo>
                  <a:lnTo>
                    <a:pt x="132" y="172"/>
                  </a:lnTo>
                  <a:close/>
                  <a:moveTo>
                    <a:pt x="132" y="192"/>
                  </a:moveTo>
                  <a:lnTo>
                    <a:pt x="141" y="192"/>
                  </a:lnTo>
                  <a:lnTo>
                    <a:pt x="141" y="202"/>
                  </a:lnTo>
                  <a:lnTo>
                    <a:pt x="132" y="202"/>
                  </a:lnTo>
                  <a:lnTo>
                    <a:pt x="132" y="192"/>
                  </a:lnTo>
                  <a:close/>
                  <a:moveTo>
                    <a:pt x="132" y="213"/>
                  </a:moveTo>
                  <a:lnTo>
                    <a:pt x="141" y="213"/>
                  </a:lnTo>
                  <a:lnTo>
                    <a:pt x="141" y="222"/>
                  </a:lnTo>
                  <a:lnTo>
                    <a:pt x="132" y="222"/>
                  </a:lnTo>
                  <a:lnTo>
                    <a:pt x="132" y="213"/>
                  </a:lnTo>
                  <a:close/>
                  <a:moveTo>
                    <a:pt x="132" y="233"/>
                  </a:moveTo>
                  <a:lnTo>
                    <a:pt x="141" y="233"/>
                  </a:lnTo>
                  <a:lnTo>
                    <a:pt x="141" y="243"/>
                  </a:lnTo>
                  <a:lnTo>
                    <a:pt x="132" y="243"/>
                  </a:lnTo>
                  <a:lnTo>
                    <a:pt x="132" y="233"/>
                  </a:lnTo>
                  <a:close/>
                  <a:moveTo>
                    <a:pt x="132" y="253"/>
                  </a:moveTo>
                  <a:lnTo>
                    <a:pt x="141" y="253"/>
                  </a:lnTo>
                  <a:lnTo>
                    <a:pt x="141" y="262"/>
                  </a:lnTo>
                  <a:lnTo>
                    <a:pt x="132" y="262"/>
                  </a:lnTo>
                  <a:lnTo>
                    <a:pt x="132" y="253"/>
                  </a:lnTo>
                  <a:close/>
                  <a:moveTo>
                    <a:pt x="132" y="273"/>
                  </a:moveTo>
                  <a:lnTo>
                    <a:pt x="141" y="273"/>
                  </a:lnTo>
                  <a:lnTo>
                    <a:pt x="141" y="283"/>
                  </a:lnTo>
                  <a:lnTo>
                    <a:pt x="132" y="283"/>
                  </a:lnTo>
                  <a:lnTo>
                    <a:pt x="132" y="273"/>
                  </a:lnTo>
                  <a:close/>
                  <a:moveTo>
                    <a:pt x="132" y="294"/>
                  </a:moveTo>
                  <a:lnTo>
                    <a:pt x="141" y="294"/>
                  </a:lnTo>
                  <a:lnTo>
                    <a:pt x="141" y="303"/>
                  </a:lnTo>
                  <a:lnTo>
                    <a:pt x="132" y="303"/>
                  </a:lnTo>
                  <a:lnTo>
                    <a:pt x="132" y="294"/>
                  </a:lnTo>
                  <a:close/>
                  <a:moveTo>
                    <a:pt x="132" y="314"/>
                  </a:moveTo>
                  <a:lnTo>
                    <a:pt x="141" y="314"/>
                  </a:lnTo>
                  <a:lnTo>
                    <a:pt x="141" y="324"/>
                  </a:lnTo>
                  <a:lnTo>
                    <a:pt x="132" y="324"/>
                  </a:lnTo>
                  <a:lnTo>
                    <a:pt x="132" y="314"/>
                  </a:lnTo>
                  <a:close/>
                  <a:moveTo>
                    <a:pt x="132" y="333"/>
                  </a:moveTo>
                  <a:lnTo>
                    <a:pt x="141" y="333"/>
                  </a:lnTo>
                  <a:lnTo>
                    <a:pt x="141" y="343"/>
                  </a:lnTo>
                  <a:lnTo>
                    <a:pt x="132" y="343"/>
                  </a:lnTo>
                  <a:lnTo>
                    <a:pt x="132" y="333"/>
                  </a:lnTo>
                  <a:close/>
                  <a:moveTo>
                    <a:pt x="132" y="354"/>
                  </a:moveTo>
                  <a:lnTo>
                    <a:pt x="141" y="354"/>
                  </a:lnTo>
                  <a:lnTo>
                    <a:pt x="141" y="364"/>
                  </a:lnTo>
                  <a:lnTo>
                    <a:pt x="132" y="364"/>
                  </a:lnTo>
                  <a:lnTo>
                    <a:pt x="132" y="354"/>
                  </a:lnTo>
                  <a:close/>
                  <a:moveTo>
                    <a:pt x="132" y="375"/>
                  </a:moveTo>
                  <a:lnTo>
                    <a:pt x="141" y="375"/>
                  </a:lnTo>
                  <a:lnTo>
                    <a:pt x="141" y="384"/>
                  </a:lnTo>
                  <a:lnTo>
                    <a:pt x="132" y="384"/>
                  </a:lnTo>
                  <a:lnTo>
                    <a:pt x="132" y="375"/>
                  </a:lnTo>
                  <a:close/>
                  <a:moveTo>
                    <a:pt x="132" y="395"/>
                  </a:moveTo>
                  <a:lnTo>
                    <a:pt x="141" y="395"/>
                  </a:lnTo>
                  <a:lnTo>
                    <a:pt x="141" y="405"/>
                  </a:lnTo>
                  <a:lnTo>
                    <a:pt x="132" y="405"/>
                  </a:lnTo>
                  <a:lnTo>
                    <a:pt x="132" y="395"/>
                  </a:lnTo>
                  <a:close/>
                  <a:moveTo>
                    <a:pt x="132" y="414"/>
                  </a:moveTo>
                  <a:lnTo>
                    <a:pt x="141" y="414"/>
                  </a:lnTo>
                  <a:lnTo>
                    <a:pt x="141" y="424"/>
                  </a:lnTo>
                  <a:lnTo>
                    <a:pt x="132" y="424"/>
                  </a:lnTo>
                  <a:lnTo>
                    <a:pt x="132" y="414"/>
                  </a:lnTo>
                  <a:close/>
                  <a:moveTo>
                    <a:pt x="132" y="435"/>
                  </a:moveTo>
                  <a:lnTo>
                    <a:pt x="141" y="435"/>
                  </a:lnTo>
                  <a:lnTo>
                    <a:pt x="141" y="444"/>
                  </a:lnTo>
                  <a:lnTo>
                    <a:pt x="132" y="444"/>
                  </a:lnTo>
                  <a:lnTo>
                    <a:pt x="132" y="435"/>
                  </a:lnTo>
                  <a:close/>
                  <a:moveTo>
                    <a:pt x="141" y="455"/>
                  </a:moveTo>
                  <a:lnTo>
                    <a:pt x="141" y="465"/>
                  </a:lnTo>
                  <a:lnTo>
                    <a:pt x="132" y="465"/>
                  </a:lnTo>
                  <a:lnTo>
                    <a:pt x="132" y="455"/>
                  </a:lnTo>
                  <a:lnTo>
                    <a:pt x="141" y="455"/>
                  </a:lnTo>
                  <a:close/>
                  <a:moveTo>
                    <a:pt x="112" y="30"/>
                  </a:moveTo>
                  <a:lnTo>
                    <a:pt x="122" y="30"/>
                  </a:lnTo>
                  <a:lnTo>
                    <a:pt x="122" y="40"/>
                  </a:lnTo>
                  <a:lnTo>
                    <a:pt x="112" y="40"/>
                  </a:lnTo>
                  <a:lnTo>
                    <a:pt x="112" y="30"/>
                  </a:lnTo>
                  <a:close/>
                  <a:moveTo>
                    <a:pt x="112" y="51"/>
                  </a:moveTo>
                  <a:lnTo>
                    <a:pt x="122" y="51"/>
                  </a:lnTo>
                  <a:lnTo>
                    <a:pt x="122" y="61"/>
                  </a:lnTo>
                  <a:lnTo>
                    <a:pt x="112" y="61"/>
                  </a:lnTo>
                  <a:lnTo>
                    <a:pt x="112" y="51"/>
                  </a:lnTo>
                  <a:close/>
                  <a:moveTo>
                    <a:pt x="112" y="72"/>
                  </a:moveTo>
                  <a:lnTo>
                    <a:pt x="122" y="72"/>
                  </a:lnTo>
                  <a:lnTo>
                    <a:pt x="122" y="81"/>
                  </a:lnTo>
                  <a:lnTo>
                    <a:pt x="112" y="81"/>
                  </a:lnTo>
                  <a:lnTo>
                    <a:pt x="112" y="72"/>
                  </a:lnTo>
                  <a:close/>
                  <a:moveTo>
                    <a:pt x="112" y="91"/>
                  </a:moveTo>
                  <a:lnTo>
                    <a:pt x="122" y="91"/>
                  </a:lnTo>
                  <a:lnTo>
                    <a:pt x="122" y="100"/>
                  </a:lnTo>
                  <a:lnTo>
                    <a:pt x="112" y="100"/>
                  </a:lnTo>
                  <a:lnTo>
                    <a:pt x="112" y="91"/>
                  </a:lnTo>
                  <a:close/>
                  <a:moveTo>
                    <a:pt x="112" y="111"/>
                  </a:moveTo>
                  <a:lnTo>
                    <a:pt x="122" y="111"/>
                  </a:lnTo>
                  <a:lnTo>
                    <a:pt x="122" y="121"/>
                  </a:lnTo>
                  <a:lnTo>
                    <a:pt x="112" y="121"/>
                  </a:lnTo>
                  <a:lnTo>
                    <a:pt x="112" y="111"/>
                  </a:lnTo>
                  <a:close/>
                  <a:moveTo>
                    <a:pt x="112" y="132"/>
                  </a:moveTo>
                  <a:lnTo>
                    <a:pt x="122" y="132"/>
                  </a:lnTo>
                  <a:lnTo>
                    <a:pt x="122" y="142"/>
                  </a:lnTo>
                  <a:lnTo>
                    <a:pt x="112" y="142"/>
                  </a:lnTo>
                  <a:lnTo>
                    <a:pt x="112" y="132"/>
                  </a:lnTo>
                  <a:close/>
                  <a:moveTo>
                    <a:pt x="112" y="152"/>
                  </a:moveTo>
                  <a:lnTo>
                    <a:pt x="122" y="152"/>
                  </a:lnTo>
                  <a:lnTo>
                    <a:pt x="122" y="162"/>
                  </a:lnTo>
                  <a:lnTo>
                    <a:pt x="112" y="162"/>
                  </a:lnTo>
                  <a:lnTo>
                    <a:pt x="112" y="152"/>
                  </a:lnTo>
                  <a:close/>
                  <a:moveTo>
                    <a:pt x="112" y="172"/>
                  </a:moveTo>
                  <a:lnTo>
                    <a:pt x="122" y="172"/>
                  </a:lnTo>
                  <a:lnTo>
                    <a:pt x="122" y="181"/>
                  </a:lnTo>
                  <a:lnTo>
                    <a:pt x="112" y="181"/>
                  </a:lnTo>
                  <a:lnTo>
                    <a:pt x="112" y="172"/>
                  </a:lnTo>
                  <a:close/>
                  <a:moveTo>
                    <a:pt x="112" y="192"/>
                  </a:moveTo>
                  <a:lnTo>
                    <a:pt x="122" y="192"/>
                  </a:lnTo>
                  <a:lnTo>
                    <a:pt x="122" y="202"/>
                  </a:lnTo>
                  <a:lnTo>
                    <a:pt x="112" y="202"/>
                  </a:lnTo>
                  <a:lnTo>
                    <a:pt x="112" y="192"/>
                  </a:lnTo>
                  <a:close/>
                  <a:moveTo>
                    <a:pt x="112" y="213"/>
                  </a:moveTo>
                  <a:lnTo>
                    <a:pt x="122" y="213"/>
                  </a:lnTo>
                  <a:lnTo>
                    <a:pt x="122" y="222"/>
                  </a:lnTo>
                  <a:lnTo>
                    <a:pt x="112" y="222"/>
                  </a:lnTo>
                  <a:lnTo>
                    <a:pt x="112" y="213"/>
                  </a:lnTo>
                  <a:close/>
                  <a:moveTo>
                    <a:pt x="112" y="233"/>
                  </a:moveTo>
                  <a:lnTo>
                    <a:pt x="122" y="233"/>
                  </a:lnTo>
                  <a:lnTo>
                    <a:pt x="122" y="243"/>
                  </a:lnTo>
                  <a:lnTo>
                    <a:pt x="112" y="243"/>
                  </a:lnTo>
                  <a:lnTo>
                    <a:pt x="112" y="233"/>
                  </a:lnTo>
                  <a:close/>
                  <a:moveTo>
                    <a:pt x="112" y="253"/>
                  </a:moveTo>
                  <a:lnTo>
                    <a:pt x="122" y="253"/>
                  </a:lnTo>
                  <a:lnTo>
                    <a:pt x="122" y="262"/>
                  </a:lnTo>
                  <a:lnTo>
                    <a:pt x="112" y="262"/>
                  </a:lnTo>
                  <a:lnTo>
                    <a:pt x="112" y="253"/>
                  </a:lnTo>
                  <a:close/>
                  <a:moveTo>
                    <a:pt x="112" y="273"/>
                  </a:moveTo>
                  <a:lnTo>
                    <a:pt x="122" y="273"/>
                  </a:lnTo>
                  <a:lnTo>
                    <a:pt x="122" y="283"/>
                  </a:lnTo>
                  <a:lnTo>
                    <a:pt x="112" y="283"/>
                  </a:lnTo>
                  <a:lnTo>
                    <a:pt x="112" y="273"/>
                  </a:lnTo>
                  <a:close/>
                  <a:moveTo>
                    <a:pt x="112" y="294"/>
                  </a:moveTo>
                  <a:lnTo>
                    <a:pt x="122" y="294"/>
                  </a:lnTo>
                  <a:lnTo>
                    <a:pt x="122" y="303"/>
                  </a:lnTo>
                  <a:lnTo>
                    <a:pt x="112" y="303"/>
                  </a:lnTo>
                  <a:lnTo>
                    <a:pt x="112" y="294"/>
                  </a:lnTo>
                  <a:close/>
                  <a:moveTo>
                    <a:pt x="112" y="314"/>
                  </a:moveTo>
                  <a:lnTo>
                    <a:pt x="122" y="314"/>
                  </a:lnTo>
                  <a:lnTo>
                    <a:pt x="122" y="324"/>
                  </a:lnTo>
                  <a:lnTo>
                    <a:pt x="112" y="324"/>
                  </a:lnTo>
                  <a:lnTo>
                    <a:pt x="112" y="314"/>
                  </a:lnTo>
                  <a:close/>
                  <a:moveTo>
                    <a:pt x="112" y="333"/>
                  </a:moveTo>
                  <a:lnTo>
                    <a:pt x="122" y="333"/>
                  </a:lnTo>
                  <a:lnTo>
                    <a:pt x="122" y="343"/>
                  </a:lnTo>
                  <a:lnTo>
                    <a:pt x="112" y="343"/>
                  </a:lnTo>
                  <a:lnTo>
                    <a:pt x="112" y="333"/>
                  </a:lnTo>
                  <a:close/>
                  <a:moveTo>
                    <a:pt x="112" y="354"/>
                  </a:moveTo>
                  <a:lnTo>
                    <a:pt x="122" y="354"/>
                  </a:lnTo>
                  <a:lnTo>
                    <a:pt x="122" y="364"/>
                  </a:lnTo>
                  <a:lnTo>
                    <a:pt x="112" y="364"/>
                  </a:lnTo>
                  <a:lnTo>
                    <a:pt x="112" y="354"/>
                  </a:lnTo>
                  <a:close/>
                  <a:moveTo>
                    <a:pt x="112" y="375"/>
                  </a:moveTo>
                  <a:lnTo>
                    <a:pt x="122" y="375"/>
                  </a:lnTo>
                  <a:lnTo>
                    <a:pt x="122" y="384"/>
                  </a:lnTo>
                  <a:lnTo>
                    <a:pt x="112" y="384"/>
                  </a:lnTo>
                  <a:lnTo>
                    <a:pt x="112" y="375"/>
                  </a:lnTo>
                  <a:close/>
                  <a:moveTo>
                    <a:pt x="112" y="395"/>
                  </a:moveTo>
                  <a:lnTo>
                    <a:pt x="122" y="395"/>
                  </a:lnTo>
                  <a:lnTo>
                    <a:pt x="122" y="405"/>
                  </a:lnTo>
                  <a:lnTo>
                    <a:pt x="112" y="405"/>
                  </a:lnTo>
                  <a:lnTo>
                    <a:pt x="112" y="395"/>
                  </a:lnTo>
                  <a:close/>
                  <a:moveTo>
                    <a:pt x="112" y="414"/>
                  </a:moveTo>
                  <a:lnTo>
                    <a:pt x="122" y="414"/>
                  </a:lnTo>
                  <a:lnTo>
                    <a:pt x="122" y="424"/>
                  </a:lnTo>
                  <a:lnTo>
                    <a:pt x="112" y="424"/>
                  </a:lnTo>
                  <a:lnTo>
                    <a:pt x="112" y="414"/>
                  </a:lnTo>
                  <a:close/>
                  <a:moveTo>
                    <a:pt x="112" y="435"/>
                  </a:moveTo>
                  <a:lnTo>
                    <a:pt x="122" y="435"/>
                  </a:lnTo>
                  <a:lnTo>
                    <a:pt x="122" y="444"/>
                  </a:lnTo>
                  <a:lnTo>
                    <a:pt x="112" y="444"/>
                  </a:lnTo>
                  <a:lnTo>
                    <a:pt x="112" y="435"/>
                  </a:lnTo>
                  <a:close/>
                  <a:moveTo>
                    <a:pt x="122" y="455"/>
                  </a:moveTo>
                  <a:lnTo>
                    <a:pt x="122" y="465"/>
                  </a:lnTo>
                  <a:lnTo>
                    <a:pt x="112" y="465"/>
                  </a:lnTo>
                  <a:lnTo>
                    <a:pt x="112" y="455"/>
                  </a:lnTo>
                  <a:lnTo>
                    <a:pt x="122" y="455"/>
                  </a:lnTo>
                  <a:close/>
                  <a:moveTo>
                    <a:pt x="92" y="30"/>
                  </a:moveTo>
                  <a:lnTo>
                    <a:pt x="101" y="30"/>
                  </a:lnTo>
                  <a:lnTo>
                    <a:pt x="101" y="40"/>
                  </a:lnTo>
                  <a:lnTo>
                    <a:pt x="92" y="40"/>
                  </a:lnTo>
                  <a:lnTo>
                    <a:pt x="92" y="30"/>
                  </a:lnTo>
                  <a:close/>
                  <a:moveTo>
                    <a:pt x="92" y="51"/>
                  </a:moveTo>
                  <a:lnTo>
                    <a:pt x="101" y="51"/>
                  </a:lnTo>
                  <a:lnTo>
                    <a:pt x="101" y="61"/>
                  </a:lnTo>
                  <a:lnTo>
                    <a:pt x="92" y="61"/>
                  </a:lnTo>
                  <a:lnTo>
                    <a:pt x="92" y="51"/>
                  </a:lnTo>
                  <a:close/>
                  <a:moveTo>
                    <a:pt x="92" y="72"/>
                  </a:moveTo>
                  <a:lnTo>
                    <a:pt x="101" y="72"/>
                  </a:lnTo>
                  <a:lnTo>
                    <a:pt x="101" y="81"/>
                  </a:lnTo>
                  <a:lnTo>
                    <a:pt x="92" y="81"/>
                  </a:lnTo>
                  <a:lnTo>
                    <a:pt x="92" y="72"/>
                  </a:lnTo>
                  <a:close/>
                  <a:moveTo>
                    <a:pt x="92" y="91"/>
                  </a:moveTo>
                  <a:lnTo>
                    <a:pt x="101" y="91"/>
                  </a:lnTo>
                  <a:lnTo>
                    <a:pt x="101" y="100"/>
                  </a:lnTo>
                  <a:lnTo>
                    <a:pt x="92" y="100"/>
                  </a:lnTo>
                  <a:lnTo>
                    <a:pt x="92" y="91"/>
                  </a:lnTo>
                  <a:close/>
                  <a:moveTo>
                    <a:pt x="92" y="111"/>
                  </a:moveTo>
                  <a:lnTo>
                    <a:pt x="101" y="111"/>
                  </a:lnTo>
                  <a:lnTo>
                    <a:pt x="101" y="121"/>
                  </a:lnTo>
                  <a:lnTo>
                    <a:pt x="92" y="121"/>
                  </a:lnTo>
                  <a:lnTo>
                    <a:pt x="92" y="111"/>
                  </a:lnTo>
                  <a:close/>
                  <a:moveTo>
                    <a:pt x="92" y="132"/>
                  </a:moveTo>
                  <a:lnTo>
                    <a:pt x="101" y="132"/>
                  </a:lnTo>
                  <a:lnTo>
                    <a:pt x="101" y="142"/>
                  </a:lnTo>
                  <a:lnTo>
                    <a:pt x="92" y="142"/>
                  </a:lnTo>
                  <a:lnTo>
                    <a:pt x="92" y="132"/>
                  </a:lnTo>
                  <a:close/>
                  <a:moveTo>
                    <a:pt x="92" y="152"/>
                  </a:moveTo>
                  <a:lnTo>
                    <a:pt x="101" y="152"/>
                  </a:lnTo>
                  <a:lnTo>
                    <a:pt x="101" y="162"/>
                  </a:lnTo>
                  <a:lnTo>
                    <a:pt x="92" y="162"/>
                  </a:lnTo>
                  <a:lnTo>
                    <a:pt x="92" y="152"/>
                  </a:lnTo>
                  <a:close/>
                  <a:moveTo>
                    <a:pt x="92" y="172"/>
                  </a:moveTo>
                  <a:lnTo>
                    <a:pt x="101" y="172"/>
                  </a:lnTo>
                  <a:lnTo>
                    <a:pt x="101" y="181"/>
                  </a:lnTo>
                  <a:lnTo>
                    <a:pt x="92" y="181"/>
                  </a:lnTo>
                  <a:lnTo>
                    <a:pt x="92" y="172"/>
                  </a:lnTo>
                  <a:close/>
                  <a:moveTo>
                    <a:pt x="92" y="192"/>
                  </a:moveTo>
                  <a:lnTo>
                    <a:pt x="101" y="192"/>
                  </a:lnTo>
                  <a:lnTo>
                    <a:pt x="101" y="202"/>
                  </a:lnTo>
                  <a:lnTo>
                    <a:pt x="92" y="202"/>
                  </a:lnTo>
                  <a:lnTo>
                    <a:pt x="92" y="192"/>
                  </a:lnTo>
                  <a:close/>
                  <a:moveTo>
                    <a:pt x="92" y="213"/>
                  </a:moveTo>
                  <a:lnTo>
                    <a:pt x="101" y="213"/>
                  </a:lnTo>
                  <a:lnTo>
                    <a:pt x="101" y="222"/>
                  </a:lnTo>
                  <a:lnTo>
                    <a:pt x="92" y="222"/>
                  </a:lnTo>
                  <a:lnTo>
                    <a:pt x="92" y="213"/>
                  </a:lnTo>
                  <a:close/>
                  <a:moveTo>
                    <a:pt x="92" y="233"/>
                  </a:moveTo>
                  <a:lnTo>
                    <a:pt x="101" y="233"/>
                  </a:lnTo>
                  <a:lnTo>
                    <a:pt x="101" y="243"/>
                  </a:lnTo>
                  <a:lnTo>
                    <a:pt x="92" y="243"/>
                  </a:lnTo>
                  <a:lnTo>
                    <a:pt x="92" y="233"/>
                  </a:lnTo>
                  <a:close/>
                  <a:moveTo>
                    <a:pt x="92" y="253"/>
                  </a:moveTo>
                  <a:lnTo>
                    <a:pt x="101" y="253"/>
                  </a:lnTo>
                  <a:lnTo>
                    <a:pt x="101" y="262"/>
                  </a:lnTo>
                  <a:lnTo>
                    <a:pt x="92" y="262"/>
                  </a:lnTo>
                  <a:lnTo>
                    <a:pt x="92" y="253"/>
                  </a:lnTo>
                  <a:close/>
                  <a:moveTo>
                    <a:pt x="92" y="273"/>
                  </a:moveTo>
                  <a:lnTo>
                    <a:pt x="101" y="273"/>
                  </a:lnTo>
                  <a:lnTo>
                    <a:pt x="101" y="283"/>
                  </a:lnTo>
                  <a:lnTo>
                    <a:pt x="92" y="283"/>
                  </a:lnTo>
                  <a:lnTo>
                    <a:pt x="92" y="273"/>
                  </a:lnTo>
                  <a:close/>
                  <a:moveTo>
                    <a:pt x="92" y="294"/>
                  </a:moveTo>
                  <a:lnTo>
                    <a:pt x="101" y="294"/>
                  </a:lnTo>
                  <a:lnTo>
                    <a:pt x="101" y="303"/>
                  </a:lnTo>
                  <a:lnTo>
                    <a:pt x="92" y="303"/>
                  </a:lnTo>
                  <a:lnTo>
                    <a:pt x="92" y="294"/>
                  </a:lnTo>
                  <a:close/>
                  <a:moveTo>
                    <a:pt x="92" y="314"/>
                  </a:moveTo>
                  <a:lnTo>
                    <a:pt x="101" y="314"/>
                  </a:lnTo>
                  <a:lnTo>
                    <a:pt x="101" y="324"/>
                  </a:lnTo>
                  <a:lnTo>
                    <a:pt x="92" y="324"/>
                  </a:lnTo>
                  <a:lnTo>
                    <a:pt x="92" y="314"/>
                  </a:lnTo>
                  <a:close/>
                  <a:moveTo>
                    <a:pt x="92" y="333"/>
                  </a:moveTo>
                  <a:lnTo>
                    <a:pt x="101" y="333"/>
                  </a:lnTo>
                  <a:lnTo>
                    <a:pt x="101" y="343"/>
                  </a:lnTo>
                  <a:lnTo>
                    <a:pt x="92" y="343"/>
                  </a:lnTo>
                  <a:lnTo>
                    <a:pt x="92" y="333"/>
                  </a:lnTo>
                  <a:close/>
                  <a:moveTo>
                    <a:pt x="92" y="354"/>
                  </a:moveTo>
                  <a:lnTo>
                    <a:pt x="101" y="354"/>
                  </a:lnTo>
                  <a:lnTo>
                    <a:pt x="101" y="364"/>
                  </a:lnTo>
                  <a:lnTo>
                    <a:pt x="92" y="364"/>
                  </a:lnTo>
                  <a:lnTo>
                    <a:pt x="92" y="354"/>
                  </a:lnTo>
                  <a:close/>
                  <a:moveTo>
                    <a:pt x="92" y="375"/>
                  </a:moveTo>
                  <a:lnTo>
                    <a:pt x="101" y="375"/>
                  </a:lnTo>
                  <a:lnTo>
                    <a:pt x="101" y="384"/>
                  </a:lnTo>
                  <a:lnTo>
                    <a:pt x="92" y="384"/>
                  </a:lnTo>
                  <a:lnTo>
                    <a:pt x="92" y="375"/>
                  </a:lnTo>
                  <a:close/>
                  <a:moveTo>
                    <a:pt x="92" y="395"/>
                  </a:moveTo>
                  <a:lnTo>
                    <a:pt x="101" y="395"/>
                  </a:lnTo>
                  <a:lnTo>
                    <a:pt x="101" y="405"/>
                  </a:lnTo>
                  <a:lnTo>
                    <a:pt x="92" y="405"/>
                  </a:lnTo>
                  <a:lnTo>
                    <a:pt x="92" y="395"/>
                  </a:lnTo>
                  <a:close/>
                  <a:moveTo>
                    <a:pt x="92" y="414"/>
                  </a:moveTo>
                  <a:lnTo>
                    <a:pt x="101" y="414"/>
                  </a:lnTo>
                  <a:lnTo>
                    <a:pt x="101" y="424"/>
                  </a:lnTo>
                  <a:lnTo>
                    <a:pt x="92" y="424"/>
                  </a:lnTo>
                  <a:lnTo>
                    <a:pt x="92" y="414"/>
                  </a:lnTo>
                  <a:close/>
                  <a:moveTo>
                    <a:pt x="92" y="435"/>
                  </a:moveTo>
                  <a:lnTo>
                    <a:pt x="101" y="435"/>
                  </a:lnTo>
                  <a:lnTo>
                    <a:pt x="101" y="444"/>
                  </a:lnTo>
                  <a:lnTo>
                    <a:pt x="92" y="444"/>
                  </a:lnTo>
                  <a:lnTo>
                    <a:pt x="92" y="435"/>
                  </a:lnTo>
                  <a:close/>
                  <a:moveTo>
                    <a:pt x="101" y="455"/>
                  </a:moveTo>
                  <a:lnTo>
                    <a:pt x="101" y="465"/>
                  </a:lnTo>
                  <a:lnTo>
                    <a:pt x="92" y="465"/>
                  </a:lnTo>
                  <a:lnTo>
                    <a:pt x="92" y="455"/>
                  </a:lnTo>
                  <a:lnTo>
                    <a:pt x="101" y="455"/>
                  </a:lnTo>
                  <a:close/>
                  <a:moveTo>
                    <a:pt x="71" y="30"/>
                  </a:moveTo>
                  <a:lnTo>
                    <a:pt x="81" y="30"/>
                  </a:lnTo>
                  <a:lnTo>
                    <a:pt x="81" y="40"/>
                  </a:lnTo>
                  <a:lnTo>
                    <a:pt x="71" y="40"/>
                  </a:lnTo>
                  <a:lnTo>
                    <a:pt x="71" y="30"/>
                  </a:lnTo>
                  <a:close/>
                  <a:moveTo>
                    <a:pt x="71" y="51"/>
                  </a:moveTo>
                  <a:lnTo>
                    <a:pt x="81" y="51"/>
                  </a:lnTo>
                  <a:lnTo>
                    <a:pt x="81" y="61"/>
                  </a:lnTo>
                  <a:lnTo>
                    <a:pt x="71" y="61"/>
                  </a:lnTo>
                  <a:lnTo>
                    <a:pt x="71" y="51"/>
                  </a:lnTo>
                  <a:close/>
                  <a:moveTo>
                    <a:pt x="71" y="72"/>
                  </a:moveTo>
                  <a:lnTo>
                    <a:pt x="81" y="72"/>
                  </a:lnTo>
                  <a:lnTo>
                    <a:pt x="81" y="81"/>
                  </a:lnTo>
                  <a:lnTo>
                    <a:pt x="71" y="81"/>
                  </a:lnTo>
                  <a:lnTo>
                    <a:pt x="71" y="72"/>
                  </a:lnTo>
                  <a:close/>
                  <a:moveTo>
                    <a:pt x="71" y="91"/>
                  </a:moveTo>
                  <a:lnTo>
                    <a:pt x="81" y="91"/>
                  </a:lnTo>
                  <a:lnTo>
                    <a:pt x="81" y="100"/>
                  </a:lnTo>
                  <a:lnTo>
                    <a:pt x="71" y="100"/>
                  </a:lnTo>
                  <a:lnTo>
                    <a:pt x="71" y="91"/>
                  </a:lnTo>
                  <a:close/>
                  <a:moveTo>
                    <a:pt x="71" y="111"/>
                  </a:moveTo>
                  <a:lnTo>
                    <a:pt x="81" y="111"/>
                  </a:lnTo>
                  <a:lnTo>
                    <a:pt x="81" y="121"/>
                  </a:lnTo>
                  <a:lnTo>
                    <a:pt x="71" y="121"/>
                  </a:lnTo>
                  <a:lnTo>
                    <a:pt x="71" y="111"/>
                  </a:lnTo>
                  <a:close/>
                  <a:moveTo>
                    <a:pt x="71" y="132"/>
                  </a:moveTo>
                  <a:lnTo>
                    <a:pt x="81" y="132"/>
                  </a:lnTo>
                  <a:lnTo>
                    <a:pt x="81" y="142"/>
                  </a:lnTo>
                  <a:lnTo>
                    <a:pt x="71" y="142"/>
                  </a:lnTo>
                  <a:lnTo>
                    <a:pt x="71" y="132"/>
                  </a:lnTo>
                  <a:close/>
                  <a:moveTo>
                    <a:pt x="71" y="152"/>
                  </a:moveTo>
                  <a:lnTo>
                    <a:pt x="81" y="152"/>
                  </a:lnTo>
                  <a:lnTo>
                    <a:pt x="81" y="162"/>
                  </a:lnTo>
                  <a:lnTo>
                    <a:pt x="71" y="162"/>
                  </a:lnTo>
                  <a:lnTo>
                    <a:pt x="71" y="152"/>
                  </a:lnTo>
                  <a:close/>
                  <a:moveTo>
                    <a:pt x="71" y="172"/>
                  </a:moveTo>
                  <a:lnTo>
                    <a:pt x="81" y="172"/>
                  </a:lnTo>
                  <a:lnTo>
                    <a:pt x="81" y="181"/>
                  </a:lnTo>
                  <a:lnTo>
                    <a:pt x="71" y="181"/>
                  </a:lnTo>
                  <a:lnTo>
                    <a:pt x="71" y="172"/>
                  </a:lnTo>
                  <a:close/>
                  <a:moveTo>
                    <a:pt x="71" y="192"/>
                  </a:moveTo>
                  <a:lnTo>
                    <a:pt x="81" y="192"/>
                  </a:lnTo>
                  <a:lnTo>
                    <a:pt x="81" y="202"/>
                  </a:lnTo>
                  <a:lnTo>
                    <a:pt x="71" y="202"/>
                  </a:lnTo>
                  <a:lnTo>
                    <a:pt x="71" y="192"/>
                  </a:lnTo>
                  <a:close/>
                  <a:moveTo>
                    <a:pt x="71" y="213"/>
                  </a:moveTo>
                  <a:lnTo>
                    <a:pt x="81" y="213"/>
                  </a:lnTo>
                  <a:lnTo>
                    <a:pt x="81" y="222"/>
                  </a:lnTo>
                  <a:lnTo>
                    <a:pt x="71" y="222"/>
                  </a:lnTo>
                  <a:lnTo>
                    <a:pt x="71" y="213"/>
                  </a:lnTo>
                  <a:close/>
                  <a:moveTo>
                    <a:pt x="71" y="233"/>
                  </a:moveTo>
                  <a:lnTo>
                    <a:pt x="81" y="233"/>
                  </a:lnTo>
                  <a:lnTo>
                    <a:pt x="81" y="243"/>
                  </a:lnTo>
                  <a:lnTo>
                    <a:pt x="71" y="243"/>
                  </a:lnTo>
                  <a:lnTo>
                    <a:pt x="71" y="233"/>
                  </a:lnTo>
                  <a:close/>
                  <a:moveTo>
                    <a:pt x="71" y="253"/>
                  </a:moveTo>
                  <a:lnTo>
                    <a:pt x="81" y="253"/>
                  </a:lnTo>
                  <a:lnTo>
                    <a:pt x="81" y="262"/>
                  </a:lnTo>
                  <a:lnTo>
                    <a:pt x="71" y="262"/>
                  </a:lnTo>
                  <a:lnTo>
                    <a:pt x="71" y="253"/>
                  </a:lnTo>
                  <a:close/>
                  <a:moveTo>
                    <a:pt x="71" y="273"/>
                  </a:moveTo>
                  <a:lnTo>
                    <a:pt x="81" y="273"/>
                  </a:lnTo>
                  <a:lnTo>
                    <a:pt x="81" y="283"/>
                  </a:lnTo>
                  <a:lnTo>
                    <a:pt x="71" y="283"/>
                  </a:lnTo>
                  <a:lnTo>
                    <a:pt x="71" y="273"/>
                  </a:lnTo>
                  <a:close/>
                  <a:moveTo>
                    <a:pt x="71" y="294"/>
                  </a:moveTo>
                  <a:lnTo>
                    <a:pt x="81" y="294"/>
                  </a:lnTo>
                  <a:lnTo>
                    <a:pt x="81" y="303"/>
                  </a:lnTo>
                  <a:lnTo>
                    <a:pt x="71" y="303"/>
                  </a:lnTo>
                  <a:lnTo>
                    <a:pt x="71" y="294"/>
                  </a:lnTo>
                  <a:close/>
                  <a:moveTo>
                    <a:pt x="71" y="314"/>
                  </a:moveTo>
                  <a:lnTo>
                    <a:pt x="81" y="314"/>
                  </a:lnTo>
                  <a:lnTo>
                    <a:pt x="81" y="324"/>
                  </a:lnTo>
                  <a:lnTo>
                    <a:pt x="71" y="324"/>
                  </a:lnTo>
                  <a:lnTo>
                    <a:pt x="71" y="314"/>
                  </a:lnTo>
                  <a:close/>
                  <a:moveTo>
                    <a:pt x="71" y="333"/>
                  </a:moveTo>
                  <a:lnTo>
                    <a:pt x="81" y="333"/>
                  </a:lnTo>
                  <a:lnTo>
                    <a:pt x="81" y="343"/>
                  </a:lnTo>
                  <a:lnTo>
                    <a:pt x="71" y="343"/>
                  </a:lnTo>
                  <a:lnTo>
                    <a:pt x="71" y="333"/>
                  </a:lnTo>
                  <a:close/>
                  <a:moveTo>
                    <a:pt x="71" y="354"/>
                  </a:moveTo>
                  <a:lnTo>
                    <a:pt x="81" y="354"/>
                  </a:lnTo>
                  <a:lnTo>
                    <a:pt x="81" y="364"/>
                  </a:lnTo>
                  <a:lnTo>
                    <a:pt x="71" y="364"/>
                  </a:lnTo>
                  <a:lnTo>
                    <a:pt x="71" y="354"/>
                  </a:lnTo>
                  <a:close/>
                  <a:moveTo>
                    <a:pt x="71" y="375"/>
                  </a:moveTo>
                  <a:lnTo>
                    <a:pt x="81" y="375"/>
                  </a:lnTo>
                  <a:lnTo>
                    <a:pt x="81" y="384"/>
                  </a:lnTo>
                  <a:lnTo>
                    <a:pt x="71" y="384"/>
                  </a:lnTo>
                  <a:lnTo>
                    <a:pt x="71" y="375"/>
                  </a:lnTo>
                  <a:close/>
                  <a:moveTo>
                    <a:pt x="71" y="395"/>
                  </a:moveTo>
                  <a:lnTo>
                    <a:pt x="81" y="395"/>
                  </a:lnTo>
                  <a:lnTo>
                    <a:pt x="81" y="405"/>
                  </a:lnTo>
                  <a:lnTo>
                    <a:pt x="71" y="405"/>
                  </a:lnTo>
                  <a:lnTo>
                    <a:pt x="71" y="395"/>
                  </a:lnTo>
                  <a:close/>
                  <a:moveTo>
                    <a:pt x="71" y="414"/>
                  </a:moveTo>
                  <a:lnTo>
                    <a:pt x="81" y="414"/>
                  </a:lnTo>
                  <a:lnTo>
                    <a:pt x="81" y="424"/>
                  </a:lnTo>
                  <a:lnTo>
                    <a:pt x="71" y="424"/>
                  </a:lnTo>
                  <a:lnTo>
                    <a:pt x="71" y="414"/>
                  </a:lnTo>
                  <a:close/>
                  <a:moveTo>
                    <a:pt x="71" y="435"/>
                  </a:moveTo>
                  <a:lnTo>
                    <a:pt x="81" y="435"/>
                  </a:lnTo>
                  <a:lnTo>
                    <a:pt x="81" y="444"/>
                  </a:lnTo>
                  <a:lnTo>
                    <a:pt x="71" y="444"/>
                  </a:lnTo>
                  <a:lnTo>
                    <a:pt x="71" y="435"/>
                  </a:lnTo>
                  <a:close/>
                  <a:moveTo>
                    <a:pt x="81" y="455"/>
                  </a:moveTo>
                  <a:lnTo>
                    <a:pt x="81" y="465"/>
                  </a:lnTo>
                  <a:lnTo>
                    <a:pt x="71" y="465"/>
                  </a:lnTo>
                  <a:lnTo>
                    <a:pt x="71" y="455"/>
                  </a:lnTo>
                  <a:lnTo>
                    <a:pt x="81" y="455"/>
                  </a:lnTo>
                  <a:close/>
                  <a:moveTo>
                    <a:pt x="51" y="30"/>
                  </a:moveTo>
                  <a:lnTo>
                    <a:pt x="60" y="30"/>
                  </a:lnTo>
                  <a:lnTo>
                    <a:pt x="60" y="40"/>
                  </a:lnTo>
                  <a:lnTo>
                    <a:pt x="51" y="40"/>
                  </a:lnTo>
                  <a:lnTo>
                    <a:pt x="51" y="30"/>
                  </a:lnTo>
                  <a:close/>
                  <a:moveTo>
                    <a:pt x="51" y="51"/>
                  </a:moveTo>
                  <a:lnTo>
                    <a:pt x="60" y="51"/>
                  </a:lnTo>
                  <a:lnTo>
                    <a:pt x="60" y="61"/>
                  </a:lnTo>
                  <a:lnTo>
                    <a:pt x="51" y="61"/>
                  </a:lnTo>
                  <a:lnTo>
                    <a:pt x="51" y="51"/>
                  </a:lnTo>
                  <a:close/>
                  <a:moveTo>
                    <a:pt x="51" y="72"/>
                  </a:moveTo>
                  <a:lnTo>
                    <a:pt x="60" y="72"/>
                  </a:lnTo>
                  <a:lnTo>
                    <a:pt x="60" y="81"/>
                  </a:lnTo>
                  <a:lnTo>
                    <a:pt x="51" y="81"/>
                  </a:lnTo>
                  <a:lnTo>
                    <a:pt x="51" y="72"/>
                  </a:lnTo>
                  <a:close/>
                  <a:moveTo>
                    <a:pt x="51" y="91"/>
                  </a:moveTo>
                  <a:lnTo>
                    <a:pt x="60" y="91"/>
                  </a:lnTo>
                  <a:lnTo>
                    <a:pt x="60" y="100"/>
                  </a:lnTo>
                  <a:lnTo>
                    <a:pt x="51" y="100"/>
                  </a:lnTo>
                  <a:lnTo>
                    <a:pt x="51" y="91"/>
                  </a:lnTo>
                  <a:close/>
                  <a:moveTo>
                    <a:pt x="51" y="111"/>
                  </a:moveTo>
                  <a:lnTo>
                    <a:pt x="60" y="111"/>
                  </a:lnTo>
                  <a:lnTo>
                    <a:pt x="60" y="121"/>
                  </a:lnTo>
                  <a:lnTo>
                    <a:pt x="51" y="121"/>
                  </a:lnTo>
                  <a:lnTo>
                    <a:pt x="51" y="111"/>
                  </a:lnTo>
                  <a:close/>
                  <a:moveTo>
                    <a:pt x="51" y="132"/>
                  </a:moveTo>
                  <a:lnTo>
                    <a:pt x="60" y="132"/>
                  </a:lnTo>
                  <a:lnTo>
                    <a:pt x="60" y="142"/>
                  </a:lnTo>
                  <a:lnTo>
                    <a:pt x="51" y="142"/>
                  </a:lnTo>
                  <a:lnTo>
                    <a:pt x="51" y="132"/>
                  </a:lnTo>
                  <a:close/>
                  <a:moveTo>
                    <a:pt x="51" y="152"/>
                  </a:moveTo>
                  <a:lnTo>
                    <a:pt x="60" y="152"/>
                  </a:lnTo>
                  <a:lnTo>
                    <a:pt x="60" y="162"/>
                  </a:lnTo>
                  <a:lnTo>
                    <a:pt x="51" y="162"/>
                  </a:lnTo>
                  <a:lnTo>
                    <a:pt x="51" y="152"/>
                  </a:lnTo>
                  <a:close/>
                  <a:moveTo>
                    <a:pt x="51" y="172"/>
                  </a:moveTo>
                  <a:lnTo>
                    <a:pt x="60" y="172"/>
                  </a:lnTo>
                  <a:lnTo>
                    <a:pt x="60" y="181"/>
                  </a:lnTo>
                  <a:lnTo>
                    <a:pt x="51" y="181"/>
                  </a:lnTo>
                  <a:lnTo>
                    <a:pt x="51" y="172"/>
                  </a:lnTo>
                  <a:close/>
                  <a:moveTo>
                    <a:pt x="51" y="192"/>
                  </a:moveTo>
                  <a:lnTo>
                    <a:pt x="60" y="192"/>
                  </a:lnTo>
                  <a:lnTo>
                    <a:pt x="60" y="202"/>
                  </a:lnTo>
                  <a:lnTo>
                    <a:pt x="51" y="202"/>
                  </a:lnTo>
                  <a:lnTo>
                    <a:pt x="51" y="192"/>
                  </a:lnTo>
                  <a:close/>
                  <a:moveTo>
                    <a:pt x="51" y="213"/>
                  </a:moveTo>
                  <a:lnTo>
                    <a:pt x="60" y="213"/>
                  </a:lnTo>
                  <a:lnTo>
                    <a:pt x="60" y="222"/>
                  </a:lnTo>
                  <a:lnTo>
                    <a:pt x="51" y="222"/>
                  </a:lnTo>
                  <a:lnTo>
                    <a:pt x="51" y="213"/>
                  </a:lnTo>
                  <a:close/>
                  <a:moveTo>
                    <a:pt x="51" y="233"/>
                  </a:moveTo>
                  <a:lnTo>
                    <a:pt x="60" y="233"/>
                  </a:lnTo>
                  <a:lnTo>
                    <a:pt x="60" y="243"/>
                  </a:lnTo>
                  <a:lnTo>
                    <a:pt x="51" y="243"/>
                  </a:lnTo>
                  <a:lnTo>
                    <a:pt x="51" y="233"/>
                  </a:lnTo>
                  <a:close/>
                  <a:moveTo>
                    <a:pt x="51" y="253"/>
                  </a:moveTo>
                  <a:lnTo>
                    <a:pt x="60" y="253"/>
                  </a:lnTo>
                  <a:lnTo>
                    <a:pt x="60" y="262"/>
                  </a:lnTo>
                  <a:lnTo>
                    <a:pt x="51" y="262"/>
                  </a:lnTo>
                  <a:lnTo>
                    <a:pt x="51" y="253"/>
                  </a:lnTo>
                  <a:close/>
                  <a:moveTo>
                    <a:pt x="51" y="273"/>
                  </a:moveTo>
                  <a:lnTo>
                    <a:pt x="60" y="273"/>
                  </a:lnTo>
                  <a:lnTo>
                    <a:pt x="60" y="283"/>
                  </a:lnTo>
                  <a:lnTo>
                    <a:pt x="51" y="283"/>
                  </a:lnTo>
                  <a:lnTo>
                    <a:pt x="51" y="273"/>
                  </a:lnTo>
                  <a:close/>
                  <a:moveTo>
                    <a:pt x="51" y="294"/>
                  </a:moveTo>
                  <a:lnTo>
                    <a:pt x="60" y="294"/>
                  </a:lnTo>
                  <a:lnTo>
                    <a:pt x="60" y="303"/>
                  </a:lnTo>
                  <a:lnTo>
                    <a:pt x="51" y="303"/>
                  </a:lnTo>
                  <a:lnTo>
                    <a:pt x="51" y="294"/>
                  </a:lnTo>
                  <a:close/>
                  <a:moveTo>
                    <a:pt x="51" y="314"/>
                  </a:moveTo>
                  <a:lnTo>
                    <a:pt x="60" y="314"/>
                  </a:lnTo>
                  <a:lnTo>
                    <a:pt x="60" y="324"/>
                  </a:lnTo>
                  <a:lnTo>
                    <a:pt x="51" y="324"/>
                  </a:lnTo>
                  <a:lnTo>
                    <a:pt x="51" y="314"/>
                  </a:lnTo>
                  <a:close/>
                  <a:moveTo>
                    <a:pt x="51" y="333"/>
                  </a:moveTo>
                  <a:lnTo>
                    <a:pt x="60" y="333"/>
                  </a:lnTo>
                  <a:lnTo>
                    <a:pt x="60" y="343"/>
                  </a:lnTo>
                  <a:lnTo>
                    <a:pt x="51" y="343"/>
                  </a:lnTo>
                  <a:lnTo>
                    <a:pt x="51" y="333"/>
                  </a:lnTo>
                  <a:close/>
                  <a:moveTo>
                    <a:pt x="51" y="354"/>
                  </a:moveTo>
                  <a:lnTo>
                    <a:pt x="60" y="354"/>
                  </a:lnTo>
                  <a:lnTo>
                    <a:pt x="60" y="364"/>
                  </a:lnTo>
                  <a:lnTo>
                    <a:pt x="51" y="364"/>
                  </a:lnTo>
                  <a:lnTo>
                    <a:pt x="51" y="354"/>
                  </a:lnTo>
                  <a:close/>
                  <a:moveTo>
                    <a:pt x="51" y="375"/>
                  </a:moveTo>
                  <a:lnTo>
                    <a:pt x="60" y="375"/>
                  </a:lnTo>
                  <a:lnTo>
                    <a:pt x="60" y="384"/>
                  </a:lnTo>
                  <a:lnTo>
                    <a:pt x="51" y="384"/>
                  </a:lnTo>
                  <a:lnTo>
                    <a:pt x="51" y="375"/>
                  </a:lnTo>
                  <a:close/>
                  <a:moveTo>
                    <a:pt x="51" y="395"/>
                  </a:moveTo>
                  <a:lnTo>
                    <a:pt x="60" y="395"/>
                  </a:lnTo>
                  <a:lnTo>
                    <a:pt x="60" y="405"/>
                  </a:lnTo>
                  <a:lnTo>
                    <a:pt x="51" y="405"/>
                  </a:lnTo>
                  <a:lnTo>
                    <a:pt x="51" y="395"/>
                  </a:lnTo>
                  <a:close/>
                  <a:moveTo>
                    <a:pt x="51" y="414"/>
                  </a:moveTo>
                  <a:lnTo>
                    <a:pt x="60" y="414"/>
                  </a:lnTo>
                  <a:lnTo>
                    <a:pt x="60" y="424"/>
                  </a:lnTo>
                  <a:lnTo>
                    <a:pt x="51" y="424"/>
                  </a:lnTo>
                  <a:lnTo>
                    <a:pt x="51" y="414"/>
                  </a:lnTo>
                  <a:close/>
                  <a:moveTo>
                    <a:pt x="51" y="435"/>
                  </a:moveTo>
                  <a:lnTo>
                    <a:pt x="60" y="435"/>
                  </a:lnTo>
                  <a:lnTo>
                    <a:pt x="60" y="444"/>
                  </a:lnTo>
                  <a:lnTo>
                    <a:pt x="51" y="444"/>
                  </a:lnTo>
                  <a:lnTo>
                    <a:pt x="51" y="435"/>
                  </a:lnTo>
                  <a:close/>
                  <a:moveTo>
                    <a:pt x="60" y="455"/>
                  </a:moveTo>
                  <a:lnTo>
                    <a:pt x="60" y="465"/>
                  </a:lnTo>
                  <a:lnTo>
                    <a:pt x="51" y="465"/>
                  </a:lnTo>
                  <a:lnTo>
                    <a:pt x="51" y="455"/>
                  </a:lnTo>
                  <a:lnTo>
                    <a:pt x="60" y="455"/>
                  </a:lnTo>
                  <a:close/>
                  <a:moveTo>
                    <a:pt x="31" y="30"/>
                  </a:moveTo>
                  <a:lnTo>
                    <a:pt x="41" y="30"/>
                  </a:lnTo>
                  <a:lnTo>
                    <a:pt x="41" y="40"/>
                  </a:lnTo>
                  <a:lnTo>
                    <a:pt x="31" y="40"/>
                  </a:lnTo>
                  <a:lnTo>
                    <a:pt x="31" y="30"/>
                  </a:lnTo>
                  <a:close/>
                  <a:moveTo>
                    <a:pt x="31" y="51"/>
                  </a:moveTo>
                  <a:lnTo>
                    <a:pt x="41" y="51"/>
                  </a:lnTo>
                  <a:lnTo>
                    <a:pt x="41" y="61"/>
                  </a:lnTo>
                  <a:lnTo>
                    <a:pt x="31" y="61"/>
                  </a:lnTo>
                  <a:lnTo>
                    <a:pt x="31" y="51"/>
                  </a:lnTo>
                  <a:close/>
                  <a:moveTo>
                    <a:pt x="31" y="72"/>
                  </a:moveTo>
                  <a:lnTo>
                    <a:pt x="41" y="72"/>
                  </a:lnTo>
                  <a:lnTo>
                    <a:pt x="41" y="81"/>
                  </a:lnTo>
                  <a:lnTo>
                    <a:pt x="31" y="81"/>
                  </a:lnTo>
                  <a:lnTo>
                    <a:pt x="31" y="72"/>
                  </a:lnTo>
                  <a:close/>
                  <a:moveTo>
                    <a:pt x="31" y="91"/>
                  </a:moveTo>
                  <a:lnTo>
                    <a:pt x="41" y="91"/>
                  </a:lnTo>
                  <a:lnTo>
                    <a:pt x="41" y="100"/>
                  </a:lnTo>
                  <a:lnTo>
                    <a:pt x="31" y="100"/>
                  </a:lnTo>
                  <a:lnTo>
                    <a:pt x="31" y="91"/>
                  </a:lnTo>
                  <a:close/>
                  <a:moveTo>
                    <a:pt x="31" y="111"/>
                  </a:moveTo>
                  <a:lnTo>
                    <a:pt x="41" y="111"/>
                  </a:lnTo>
                  <a:lnTo>
                    <a:pt x="41" y="121"/>
                  </a:lnTo>
                  <a:lnTo>
                    <a:pt x="31" y="121"/>
                  </a:lnTo>
                  <a:lnTo>
                    <a:pt x="31" y="111"/>
                  </a:lnTo>
                  <a:close/>
                  <a:moveTo>
                    <a:pt x="31" y="132"/>
                  </a:moveTo>
                  <a:lnTo>
                    <a:pt x="41" y="132"/>
                  </a:lnTo>
                  <a:lnTo>
                    <a:pt x="41" y="142"/>
                  </a:lnTo>
                  <a:lnTo>
                    <a:pt x="31" y="142"/>
                  </a:lnTo>
                  <a:lnTo>
                    <a:pt x="31" y="132"/>
                  </a:lnTo>
                  <a:close/>
                  <a:moveTo>
                    <a:pt x="31" y="152"/>
                  </a:moveTo>
                  <a:lnTo>
                    <a:pt x="41" y="152"/>
                  </a:lnTo>
                  <a:lnTo>
                    <a:pt x="41" y="162"/>
                  </a:lnTo>
                  <a:lnTo>
                    <a:pt x="31" y="162"/>
                  </a:lnTo>
                  <a:lnTo>
                    <a:pt x="31" y="152"/>
                  </a:lnTo>
                  <a:close/>
                  <a:moveTo>
                    <a:pt x="31" y="172"/>
                  </a:moveTo>
                  <a:lnTo>
                    <a:pt x="41" y="172"/>
                  </a:lnTo>
                  <a:lnTo>
                    <a:pt x="41" y="181"/>
                  </a:lnTo>
                  <a:lnTo>
                    <a:pt x="31" y="181"/>
                  </a:lnTo>
                  <a:lnTo>
                    <a:pt x="31" y="172"/>
                  </a:lnTo>
                  <a:close/>
                  <a:moveTo>
                    <a:pt x="31" y="192"/>
                  </a:moveTo>
                  <a:lnTo>
                    <a:pt x="41" y="192"/>
                  </a:lnTo>
                  <a:lnTo>
                    <a:pt x="41" y="202"/>
                  </a:lnTo>
                  <a:lnTo>
                    <a:pt x="31" y="202"/>
                  </a:lnTo>
                  <a:lnTo>
                    <a:pt x="31" y="192"/>
                  </a:lnTo>
                  <a:close/>
                  <a:moveTo>
                    <a:pt x="31" y="213"/>
                  </a:moveTo>
                  <a:lnTo>
                    <a:pt x="41" y="213"/>
                  </a:lnTo>
                  <a:lnTo>
                    <a:pt x="41" y="222"/>
                  </a:lnTo>
                  <a:lnTo>
                    <a:pt x="31" y="222"/>
                  </a:lnTo>
                  <a:lnTo>
                    <a:pt x="31" y="213"/>
                  </a:lnTo>
                  <a:close/>
                  <a:moveTo>
                    <a:pt x="31" y="233"/>
                  </a:moveTo>
                  <a:lnTo>
                    <a:pt x="41" y="233"/>
                  </a:lnTo>
                  <a:lnTo>
                    <a:pt x="41" y="243"/>
                  </a:lnTo>
                  <a:lnTo>
                    <a:pt x="31" y="243"/>
                  </a:lnTo>
                  <a:lnTo>
                    <a:pt x="31" y="233"/>
                  </a:lnTo>
                  <a:close/>
                  <a:moveTo>
                    <a:pt x="31" y="253"/>
                  </a:moveTo>
                  <a:lnTo>
                    <a:pt x="41" y="253"/>
                  </a:lnTo>
                  <a:lnTo>
                    <a:pt x="41" y="262"/>
                  </a:lnTo>
                  <a:lnTo>
                    <a:pt x="31" y="262"/>
                  </a:lnTo>
                  <a:lnTo>
                    <a:pt x="31" y="253"/>
                  </a:lnTo>
                  <a:close/>
                  <a:moveTo>
                    <a:pt x="31" y="273"/>
                  </a:moveTo>
                  <a:lnTo>
                    <a:pt x="41" y="273"/>
                  </a:lnTo>
                  <a:lnTo>
                    <a:pt x="41" y="283"/>
                  </a:lnTo>
                  <a:lnTo>
                    <a:pt x="31" y="283"/>
                  </a:lnTo>
                  <a:lnTo>
                    <a:pt x="31" y="273"/>
                  </a:lnTo>
                  <a:close/>
                  <a:moveTo>
                    <a:pt x="31" y="294"/>
                  </a:moveTo>
                  <a:lnTo>
                    <a:pt x="41" y="294"/>
                  </a:lnTo>
                  <a:lnTo>
                    <a:pt x="41" y="303"/>
                  </a:lnTo>
                  <a:lnTo>
                    <a:pt x="31" y="303"/>
                  </a:lnTo>
                  <a:lnTo>
                    <a:pt x="31" y="294"/>
                  </a:lnTo>
                  <a:close/>
                  <a:moveTo>
                    <a:pt x="31" y="314"/>
                  </a:moveTo>
                  <a:lnTo>
                    <a:pt x="41" y="314"/>
                  </a:lnTo>
                  <a:lnTo>
                    <a:pt x="41" y="324"/>
                  </a:lnTo>
                  <a:lnTo>
                    <a:pt x="31" y="324"/>
                  </a:lnTo>
                  <a:lnTo>
                    <a:pt x="31" y="314"/>
                  </a:lnTo>
                  <a:close/>
                  <a:moveTo>
                    <a:pt x="31" y="333"/>
                  </a:moveTo>
                  <a:lnTo>
                    <a:pt x="41" y="333"/>
                  </a:lnTo>
                  <a:lnTo>
                    <a:pt x="41" y="343"/>
                  </a:lnTo>
                  <a:lnTo>
                    <a:pt x="31" y="343"/>
                  </a:lnTo>
                  <a:lnTo>
                    <a:pt x="31" y="333"/>
                  </a:lnTo>
                  <a:close/>
                  <a:moveTo>
                    <a:pt x="31" y="354"/>
                  </a:moveTo>
                  <a:lnTo>
                    <a:pt x="41" y="354"/>
                  </a:lnTo>
                  <a:lnTo>
                    <a:pt x="41" y="364"/>
                  </a:lnTo>
                  <a:lnTo>
                    <a:pt x="31" y="364"/>
                  </a:lnTo>
                  <a:lnTo>
                    <a:pt x="31" y="354"/>
                  </a:lnTo>
                  <a:close/>
                  <a:moveTo>
                    <a:pt x="31" y="375"/>
                  </a:moveTo>
                  <a:lnTo>
                    <a:pt x="41" y="375"/>
                  </a:lnTo>
                  <a:lnTo>
                    <a:pt x="41" y="384"/>
                  </a:lnTo>
                  <a:lnTo>
                    <a:pt x="31" y="384"/>
                  </a:lnTo>
                  <a:lnTo>
                    <a:pt x="31" y="375"/>
                  </a:lnTo>
                  <a:close/>
                  <a:moveTo>
                    <a:pt x="31" y="395"/>
                  </a:moveTo>
                  <a:lnTo>
                    <a:pt x="41" y="395"/>
                  </a:lnTo>
                  <a:lnTo>
                    <a:pt x="41" y="405"/>
                  </a:lnTo>
                  <a:lnTo>
                    <a:pt x="31" y="405"/>
                  </a:lnTo>
                  <a:lnTo>
                    <a:pt x="31" y="395"/>
                  </a:lnTo>
                  <a:close/>
                  <a:moveTo>
                    <a:pt x="31" y="414"/>
                  </a:moveTo>
                  <a:lnTo>
                    <a:pt x="41" y="414"/>
                  </a:lnTo>
                  <a:lnTo>
                    <a:pt x="41" y="424"/>
                  </a:lnTo>
                  <a:lnTo>
                    <a:pt x="31" y="424"/>
                  </a:lnTo>
                  <a:lnTo>
                    <a:pt x="31" y="414"/>
                  </a:lnTo>
                  <a:close/>
                  <a:moveTo>
                    <a:pt x="31" y="435"/>
                  </a:moveTo>
                  <a:lnTo>
                    <a:pt x="41" y="435"/>
                  </a:lnTo>
                  <a:lnTo>
                    <a:pt x="41" y="444"/>
                  </a:lnTo>
                  <a:lnTo>
                    <a:pt x="31" y="444"/>
                  </a:lnTo>
                  <a:lnTo>
                    <a:pt x="31" y="435"/>
                  </a:lnTo>
                  <a:close/>
                  <a:moveTo>
                    <a:pt x="31" y="455"/>
                  </a:moveTo>
                  <a:lnTo>
                    <a:pt x="41" y="455"/>
                  </a:lnTo>
                  <a:lnTo>
                    <a:pt x="41" y="465"/>
                  </a:lnTo>
                  <a:lnTo>
                    <a:pt x="31" y="465"/>
                  </a:lnTo>
                  <a:lnTo>
                    <a:pt x="31" y="455"/>
                  </a:lnTo>
                  <a:close/>
                  <a:moveTo>
                    <a:pt x="31" y="476"/>
                  </a:moveTo>
                  <a:lnTo>
                    <a:pt x="41" y="476"/>
                  </a:lnTo>
                  <a:lnTo>
                    <a:pt x="41" y="486"/>
                  </a:lnTo>
                  <a:lnTo>
                    <a:pt x="31" y="486"/>
                  </a:lnTo>
                  <a:lnTo>
                    <a:pt x="31" y="476"/>
                  </a:lnTo>
                  <a:close/>
                  <a:moveTo>
                    <a:pt x="31" y="495"/>
                  </a:moveTo>
                  <a:lnTo>
                    <a:pt x="41" y="495"/>
                  </a:lnTo>
                  <a:lnTo>
                    <a:pt x="41" y="505"/>
                  </a:lnTo>
                  <a:lnTo>
                    <a:pt x="31" y="505"/>
                  </a:lnTo>
                  <a:lnTo>
                    <a:pt x="31" y="495"/>
                  </a:lnTo>
                  <a:close/>
                  <a:moveTo>
                    <a:pt x="31" y="516"/>
                  </a:moveTo>
                  <a:lnTo>
                    <a:pt x="41" y="516"/>
                  </a:lnTo>
                  <a:lnTo>
                    <a:pt x="41" y="525"/>
                  </a:lnTo>
                  <a:lnTo>
                    <a:pt x="31" y="525"/>
                  </a:lnTo>
                  <a:lnTo>
                    <a:pt x="31" y="516"/>
                  </a:lnTo>
                  <a:close/>
                  <a:moveTo>
                    <a:pt x="31" y="546"/>
                  </a:moveTo>
                  <a:lnTo>
                    <a:pt x="31" y="536"/>
                  </a:lnTo>
                  <a:lnTo>
                    <a:pt x="41" y="536"/>
                  </a:lnTo>
                  <a:lnTo>
                    <a:pt x="41" y="546"/>
                  </a:lnTo>
                  <a:lnTo>
                    <a:pt x="31" y="546"/>
                  </a:lnTo>
                  <a:close/>
                  <a:moveTo>
                    <a:pt x="51" y="546"/>
                  </a:moveTo>
                  <a:lnTo>
                    <a:pt x="51" y="536"/>
                  </a:lnTo>
                  <a:lnTo>
                    <a:pt x="60" y="536"/>
                  </a:lnTo>
                  <a:lnTo>
                    <a:pt x="60" y="546"/>
                  </a:lnTo>
                  <a:lnTo>
                    <a:pt x="51" y="546"/>
                  </a:lnTo>
                  <a:close/>
                  <a:moveTo>
                    <a:pt x="71" y="546"/>
                  </a:moveTo>
                  <a:lnTo>
                    <a:pt x="71" y="536"/>
                  </a:lnTo>
                  <a:lnTo>
                    <a:pt x="81" y="536"/>
                  </a:lnTo>
                  <a:lnTo>
                    <a:pt x="81" y="546"/>
                  </a:lnTo>
                  <a:lnTo>
                    <a:pt x="71" y="546"/>
                  </a:lnTo>
                  <a:close/>
                  <a:moveTo>
                    <a:pt x="92" y="546"/>
                  </a:moveTo>
                  <a:lnTo>
                    <a:pt x="92" y="536"/>
                  </a:lnTo>
                  <a:lnTo>
                    <a:pt x="101" y="536"/>
                  </a:lnTo>
                  <a:lnTo>
                    <a:pt x="101" y="546"/>
                  </a:lnTo>
                  <a:lnTo>
                    <a:pt x="92" y="546"/>
                  </a:lnTo>
                  <a:close/>
                  <a:moveTo>
                    <a:pt x="112" y="546"/>
                  </a:moveTo>
                  <a:lnTo>
                    <a:pt x="112" y="536"/>
                  </a:lnTo>
                  <a:lnTo>
                    <a:pt x="122" y="536"/>
                  </a:lnTo>
                  <a:lnTo>
                    <a:pt x="122" y="546"/>
                  </a:lnTo>
                  <a:lnTo>
                    <a:pt x="112" y="546"/>
                  </a:lnTo>
                  <a:close/>
                  <a:moveTo>
                    <a:pt x="132" y="546"/>
                  </a:moveTo>
                  <a:lnTo>
                    <a:pt x="132" y="536"/>
                  </a:lnTo>
                  <a:lnTo>
                    <a:pt x="141" y="536"/>
                  </a:lnTo>
                  <a:lnTo>
                    <a:pt x="141" y="546"/>
                  </a:lnTo>
                  <a:lnTo>
                    <a:pt x="132" y="546"/>
                  </a:lnTo>
                  <a:close/>
                  <a:moveTo>
                    <a:pt x="152" y="546"/>
                  </a:moveTo>
                  <a:lnTo>
                    <a:pt x="152" y="536"/>
                  </a:lnTo>
                  <a:lnTo>
                    <a:pt x="162" y="536"/>
                  </a:lnTo>
                  <a:lnTo>
                    <a:pt x="162" y="546"/>
                  </a:lnTo>
                  <a:lnTo>
                    <a:pt x="152" y="546"/>
                  </a:lnTo>
                  <a:close/>
                  <a:moveTo>
                    <a:pt x="173" y="546"/>
                  </a:moveTo>
                  <a:lnTo>
                    <a:pt x="173" y="536"/>
                  </a:lnTo>
                  <a:lnTo>
                    <a:pt x="182" y="536"/>
                  </a:lnTo>
                  <a:lnTo>
                    <a:pt x="182" y="546"/>
                  </a:lnTo>
                  <a:lnTo>
                    <a:pt x="173" y="546"/>
                  </a:lnTo>
                  <a:close/>
                  <a:moveTo>
                    <a:pt x="193" y="546"/>
                  </a:moveTo>
                  <a:lnTo>
                    <a:pt x="193" y="536"/>
                  </a:lnTo>
                  <a:lnTo>
                    <a:pt x="203" y="536"/>
                  </a:lnTo>
                  <a:lnTo>
                    <a:pt x="203" y="546"/>
                  </a:lnTo>
                  <a:lnTo>
                    <a:pt x="193" y="546"/>
                  </a:lnTo>
                  <a:close/>
                  <a:moveTo>
                    <a:pt x="213" y="546"/>
                  </a:moveTo>
                  <a:lnTo>
                    <a:pt x="213" y="536"/>
                  </a:lnTo>
                  <a:lnTo>
                    <a:pt x="222" y="536"/>
                  </a:lnTo>
                  <a:lnTo>
                    <a:pt x="222" y="546"/>
                  </a:lnTo>
                  <a:lnTo>
                    <a:pt x="213" y="546"/>
                  </a:lnTo>
                  <a:close/>
                  <a:moveTo>
                    <a:pt x="233" y="546"/>
                  </a:moveTo>
                  <a:lnTo>
                    <a:pt x="233" y="536"/>
                  </a:lnTo>
                  <a:lnTo>
                    <a:pt x="243" y="536"/>
                  </a:lnTo>
                  <a:lnTo>
                    <a:pt x="243" y="546"/>
                  </a:lnTo>
                  <a:lnTo>
                    <a:pt x="233" y="546"/>
                  </a:lnTo>
                  <a:close/>
                  <a:moveTo>
                    <a:pt x="254" y="546"/>
                  </a:moveTo>
                  <a:lnTo>
                    <a:pt x="254" y="536"/>
                  </a:lnTo>
                  <a:lnTo>
                    <a:pt x="263" y="536"/>
                  </a:lnTo>
                  <a:lnTo>
                    <a:pt x="263" y="546"/>
                  </a:lnTo>
                  <a:lnTo>
                    <a:pt x="254" y="546"/>
                  </a:lnTo>
                  <a:close/>
                  <a:moveTo>
                    <a:pt x="274" y="546"/>
                  </a:moveTo>
                  <a:lnTo>
                    <a:pt x="274" y="536"/>
                  </a:lnTo>
                  <a:lnTo>
                    <a:pt x="284" y="536"/>
                  </a:lnTo>
                  <a:lnTo>
                    <a:pt x="284" y="546"/>
                  </a:lnTo>
                  <a:lnTo>
                    <a:pt x="274" y="546"/>
                  </a:lnTo>
                  <a:close/>
                  <a:moveTo>
                    <a:pt x="293" y="546"/>
                  </a:moveTo>
                  <a:lnTo>
                    <a:pt x="293" y="536"/>
                  </a:lnTo>
                  <a:lnTo>
                    <a:pt x="303" y="536"/>
                  </a:lnTo>
                  <a:lnTo>
                    <a:pt x="303" y="546"/>
                  </a:lnTo>
                  <a:lnTo>
                    <a:pt x="293" y="546"/>
                  </a:lnTo>
                  <a:close/>
                  <a:moveTo>
                    <a:pt x="314" y="546"/>
                  </a:moveTo>
                  <a:lnTo>
                    <a:pt x="314" y="536"/>
                  </a:lnTo>
                  <a:lnTo>
                    <a:pt x="324" y="536"/>
                  </a:lnTo>
                  <a:lnTo>
                    <a:pt x="324" y="546"/>
                  </a:lnTo>
                  <a:lnTo>
                    <a:pt x="314" y="546"/>
                  </a:lnTo>
                  <a:close/>
                  <a:moveTo>
                    <a:pt x="335" y="546"/>
                  </a:moveTo>
                  <a:lnTo>
                    <a:pt x="335" y="536"/>
                  </a:lnTo>
                  <a:lnTo>
                    <a:pt x="344" y="536"/>
                  </a:lnTo>
                  <a:lnTo>
                    <a:pt x="344" y="546"/>
                  </a:lnTo>
                  <a:lnTo>
                    <a:pt x="335" y="546"/>
                  </a:lnTo>
                  <a:close/>
                  <a:moveTo>
                    <a:pt x="355" y="546"/>
                  </a:moveTo>
                  <a:lnTo>
                    <a:pt x="355" y="536"/>
                  </a:lnTo>
                  <a:lnTo>
                    <a:pt x="365" y="536"/>
                  </a:lnTo>
                  <a:lnTo>
                    <a:pt x="365" y="546"/>
                  </a:lnTo>
                  <a:lnTo>
                    <a:pt x="355" y="546"/>
                  </a:lnTo>
                  <a:close/>
                  <a:moveTo>
                    <a:pt x="374" y="546"/>
                  </a:moveTo>
                  <a:lnTo>
                    <a:pt x="374" y="536"/>
                  </a:lnTo>
                  <a:lnTo>
                    <a:pt x="384" y="536"/>
                  </a:lnTo>
                  <a:lnTo>
                    <a:pt x="384" y="546"/>
                  </a:lnTo>
                  <a:lnTo>
                    <a:pt x="374" y="546"/>
                  </a:lnTo>
                  <a:close/>
                  <a:moveTo>
                    <a:pt x="395" y="546"/>
                  </a:moveTo>
                  <a:lnTo>
                    <a:pt x="395" y="536"/>
                  </a:lnTo>
                  <a:lnTo>
                    <a:pt x="405" y="536"/>
                  </a:lnTo>
                  <a:lnTo>
                    <a:pt x="405" y="546"/>
                  </a:lnTo>
                  <a:lnTo>
                    <a:pt x="395" y="546"/>
                  </a:lnTo>
                  <a:close/>
                  <a:moveTo>
                    <a:pt x="416" y="546"/>
                  </a:moveTo>
                  <a:lnTo>
                    <a:pt x="416" y="536"/>
                  </a:lnTo>
                  <a:lnTo>
                    <a:pt x="425" y="536"/>
                  </a:lnTo>
                  <a:lnTo>
                    <a:pt x="425" y="546"/>
                  </a:lnTo>
                  <a:lnTo>
                    <a:pt x="416" y="546"/>
                  </a:lnTo>
                  <a:close/>
                  <a:moveTo>
                    <a:pt x="436" y="546"/>
                  </a:moveTo>
                  <a:lnTo>
                    <a:pt x="436" y="536"/>
                  </a:lnTo>
                  <a:lnTo>
                    <a:pt x="446" y="536"/>
                  </a:lnTo>
                  <a:lnTo>
                    <a:pt x="446" y="546"/>
                  </a:lnTo>
                  <a:lnTo>
                    <a:pt x="436" y="546"/>
                  </a:lnTo>
                  <a:close/>
                  <a:moveTo>
                    <a:pt x="455" y="546"/>
                  </a:moveTo>
                  <a:lnTo>
                    <a:pt x="455" y="536"/>
                  </a:lnTo>
                  <a:lnTo>
                    <a:pt x="465" y="536"/>
                  </a:lnTo>
                  <a:lnTo>
                    <a:pt x="465" y="546"/>
                  </a:lnTo>
                  <a:lnTo>
                    <a:pt x="455" y="546"/>
                  </a:lnTo>
                  <a:close/>
                  <a:moveTo>
                    <a:pt x="476" y="546"/>
                  </a:moveTo>
                  <a:lnTo>
                    <a:pt x="476" y="536"/>
                  </a:lnTo>
                  <a:lnTo>
                    <a:pt x="486" y="536"/>
                  </a:lnTo>
                  <a:lnTo>
                    <a:pt x="486" y="546"/>
                  </a:lnTo>
                  <a:lnTo>
                    <a:pt x="476" y="546"/>
                  </a:lnTo>
                  <a:close/>
                  <a:moveTo>
                    <a:pt x="496" y="546"/>
                  </a:moveTo>
                  <a:lnTo>
                    <a:pt x="496" y="536"/>
                  </a:lnTo>
                  <a:lnTo>
                    <a:pt x="506" y="536"/>
                  </a:lnTo>
                  <a:lnTo>
                    <a:pt x="506" y="546"/>
                  </a:lnTo>
                  <a:lnTo>
                    <a:pt x="496" y="546"/>
                  </a:lnTo>
                  <a:close/>
                  <a:moveTo>
                    <a:pt x="517" y="546"/>
                  </a:moveTo>
                  <a:lnTo>
                    <a:pt x="517" y="536"/>
                  </a:lnTo>
                  <a:lnTo>
                    <a:pt x="527" y="536"/>
                  </a:lnTo>
                  <a:lnTo>
                    <a:pt x="527" y="546"/>
                  </a:lnTo>
                  <a:lnTo>
                    <a:pt x="517" y="546"/>
                  </a:lnTo>
                  <a:close/>
                  <a:moveTo>
                    <a:pt x="546" y="546"/>
                  </a:moveTo>
                  <a:lnTo>
                    <a:pt x="536" y="546"/>
                  </a:lnTo>
                  <a:lnTo>
                    <a:pt x="536" y="536"/>
                  </a:lnTo>
                  <a:lnTo>
                    <a:pt x="546" y="536"/>
                  </a:lnTo>
                  <a:lnTo>
                    <a:pt x="546" y="546"/>
                  </a:lnTo>
                  <a:close/>
                  <a:moveTo>
                    <a:pt x="546" y="525"/>
                  </a:moveTo>
                  <a:lnTo>
                    <a:pt x="536" y="525"/>
                  </a:lnTo>
                  <a:lnTo>
                    <a:pt x="536" y="516"/>
                  </a:lnTo>
                  <a:lnTo>
                    <a:pt x="546" y="516"/>
                  </a:lnTo>
                  <a:lnTo>
                    <a:pt x="546" y="525"/>
                  </a:lnTo>
                  <a:close/>
                  <a:moveTo>
                    <a:pt x="546" y="505"/>
                  </a:moveTo>
                  <a:lnTo>
                    <a:pt x="536" y="505"/>
                  </a:lnTo>
                  <a:lnTo>
                    <a:pt x="536" y="495"/>
                  </a:lnTo>
                  <a:lnTo>
                    <a:pt x="546" y="495"/>
                  </a:lnTo>
                  <a:lnTo>
                    <a:pt x="546" y="505"/>
                  </a:lnTo>
                  <a:close/>
                  <a:moveTo>
                    <a:pt x="546" y="486"/>
                  </a:moveTo>
                  <a:lnTo>
                    <a:pt x="536" y="486"/>
                  </a:lnTo>
                  <a:lnTo>
                    <a:pt x="536" y="476"/>
                  </a:lnTo>
                  <a:lnTo>
                    <a:pt x="546" y="476"/>
                  </a:lnTo>
                  <a:lnTo>
                    <a:pt x="546" y="486"/>
                  </a:lnTo>
                  <a:close/>
                  <a:moveTo>
                    <a:pt x="536" y="465"/>
                  </a:moveTo>
                  <a:lnTo>
                    <a:pt x="536" y="455"/>
                  </a:lnTo>
                  <a:lnTo>
                    <a:pt x="546" y="455"/>
                  </a:lnTo>
                  <a:lnTo>
                    <a:pt x="546" y="465"/>
                  </a:lnTo>
                  <a:lnTo>
                    <a:pt x="536" y="46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xmlns="" id="{27DF3AEC-252D-4A8B-865F-5BD1D2896F93}"/>
              </a:ext>
            </a:extLst>
          </p:cNvPr>
          <p:cNvCxnSpPr>
            <a:cxnSpLocks/>
          </p:cNvCxnSpPr>
          <p:nvPr/>
        </p:nvCxnSpPr>
        <p:spPr bwMode="auto">
          <a:xfrm flipV="1">
            <a:off x="5564627" y="2316453"/>
            <a:ext cx="396421" cy="42046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xmlns="" id="{3E99004C-5E55-4303-B151-5F0A594823DD}"/>
              </a:ext>
            </a:extLst>
          </p:cNvPr>
          <p:cNvCxnSpPr>
            <a:cxnSpLocks/>
          </p:cNvCxnSpPr>
          <p:nvPr/>
        </p:nvCxnSpPr>
        <p:spPr bwMode="auto">
          <a:xfrm>
            <a:off x="5474671" y="3487573"/>
            <a:ext cx="523073" cy="48550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文本框 64">
            <a:extLst>
              <a:ext uri="{FF2B5EF4-FFF2-40B4-BE49-F238E27FC236}">
                <a16:creationId xmlns:a16="http://schemas.microsoft.com/office/drawing/2014/main" xmlns="" id="{A574450B-0B41-4604-B825-24F15A23EA99}"/>
              </a:ext>
            </a:extLst>
          </p:cNvPr>
          <p:cNvSpPr txBox="1"/>
          <p:nvPr/>
        </p:nvSpPr>
        <p:spPr>
          <a:xfrm>
            <a:off x="5946306" y="2231635"/>
            <a:ext cx="1207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ernal 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nagement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6" name="组合 65">
            <a:extLst>
              <a:ext uri="{FF2B5EF4-FFF2-40B4-BE49-F238E27FC236}">
                <a16:creationId xmlns:a16="http://schemas.microsoft.com/office/drawing/2014/main" xmlns="" id="{2BE455D6-C0AE-4883-A919-2BAAB6A088E7}"/>
              </a:ext>
            </a:extLst>
          </p:cNvPr>
          <p:cNvGrpSpPr/>
          <p:nvPr/>
        </p:nvGrpSpPr>
        <p:grpSpPr>
          <a:xfrm>
            <a:off x="8066472" y="3469436"/>
            <a:ext cx="731385" cy="521774"/>
            <a:chOff x="2249229" y="2557668"/>
            <a:chExt cx="3763931" cy="2613102"/>
          </a:xfrm>
        </p:grpSpPr>
        <p:sp>
          <p:nvSpPr>
            <p:cNvPr id="67" name="í$1ïḋè">
              <a:extLst>
                <a:ext uri="{FF2B5EF4-FFF2-40B4-BE49-F238E27FC236}">
                  <a16:creationId xmlns:a16="http://schemas.microsoft.com/office/drawing/2014/main" xmlns="" id="{C3F144FF-B25A-4410-8D60-348A4595DB43}"/>
                </a:ext>
              </a:extLst>
            </p:cNvPr>
            <p:cNvSpPr/>
            <p:nvPr/>
          </p:nvSpPr>
          <p:spPr bwMode="auto">
            <a:xfrm>
              <a:off x="3524636" y="4637734"/>
              <a:ext cx="1212096" cy="533036"/>
            </a:xfrm>
            <a:custGeom>
              <a:avLst/>
              <a:gdLst>
                <a:gd name="T0" fmla="*/ 289 w 1187"/>
                <a:gd name="T1" fmla="*/ 0 h 522"/>
                <a:gd name="T2" fmla="*/ 898 w 1187"/>
                <a:gd name="T3" fmla="*/ 0 h 522"/>
                <a:gd name="T4" fmla="*/ 1187 w 1187"/>
                <a:gd name="T5" fmla="*/ 522 h 522"/>
                <a:gd name="T6" fmla="*/ 0 w 1187"/>
                <a:gd name="T7" fmla="*/ 522 h 522"/>
                <a:gd name="T8" fmla="*/ 289 w 1187"/>
                <a:gd name="T9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7" h="522">
                  <a:moveTo>
                    <a:pt x="289" y="0"/>
                  </a:moveTo>
                  <a:lnTo>
                    <a:pt x="898" y="0"/>
                  </a:lnTo>
                  <a:lnTo>
                    <a:pt x="1187" y="522"/>
                  </a:lnTo>
                  <a:lnTo>
                    <a:pt x="0" y="522"/>
                  </a:lnTo>
                  <a:lnTo>
                    <a:pt x="289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ïşliḓe">
              <a:extLst>
                <a:ext uri="{FF2B5EF4-FFF2-40B4-BE49-F238E27FC236}">
                  <a16:creationId xmlns:a16="http://schemas.microsoft.com/office/drawing/2014/main" xmlns="" id="{4063B049-BA85-4816-B6BB-73AE5F8AC336}"/>
                </a:ext>
              </a:extLst>
            </p:cNvPr>
            <p:cNvSpPr/>
            <p:nvPr/>
          </p:nvSpPr>
          <p:spPr bwMode="auto">
            <a:xfrm>
              <a:off x="2506557" y="2557668"/>
              <a:ext cx="3249275" cy="2214857"/>
            </a:xfrm>
            <a:custGeom>
              <a:avLst/>
              <a:gdLst>
                <a:gd name="T0" fmla="*/ 28 w 606"/>
                <a:gd name="T1" fmla="*/ 0 h 412"/>
                <a:gd name="T2" fmla="*/ 578 w 606"/>
                <a:gd name="T3" fmla="*/ 0 h 412"/>
                <a:gd name="T4" fmla="*/ 606 w 606"/>
                <a:gd name="T5" fmla="*/ 28 h 412"/>
                <a:gd name="T6" fmla="*/ 606 w 606"/>
                <a:gd name="T7" fmla="*/ 384 h 412"/>
                <a:gd name="T8" fmla="*/ 578 w 606"/>
                <a:gd name="T9" fmla="*/ 412 h 412"/>
                <a:gd name="T10" fmla="*/ 28 w 606"/>
                <a:gd name="T11" fmla="*/ 412 h 412"/>
                <a:gd name="T12" fmla="*/ 0 w 606"/>
                <a:gd name="T13" fmla="*/ 384 h 412"/>
                <a:gd name="T14" fmla="*/ 0 w 606"/>
                <a:gd name="T15" fmla="*/ 28 h 412"/>
                <a:gd name="T16" fmla="*/ 28 w 606"/>
                <a:gd name="T1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412">
                  <a:moveTo>
                    <a:pt x="28" y="0"/>
                  </a:moveTo>
                  <a:cubicBezTo>
                    <a:pt x="578" y="0"/>
                    <a:pt x="578" y="0"/>
                    <a:pt x="578" y="0"/>
                  </a:cubicBezTo>
                  <a:cubicBezTo>
                    <a:pt x="594" y="0"/>
                    <a:pt x="606" y="13"/>
                    <a:pt x="606" y="28"/>
                  </a:cubicBezTo>
                  <a:cubicBezTo>
                    <a:pt x="606" y="384"/>
                    <a:pt x="606" y="384"/>
                    <a:pt x="606" y="384"/>
                  </a:cubicBezTo>
                  <a:cubicBezTo>
                    <a:pt x="606" y="400"/>
                    <a:pt x="594" y="412"/>
                    <a:pt x="578" y="412"/>
                  </a:cubicBezTo>
                  <a:cubicBezTo>
                    <a:pt x="28" y="412"/>
                    <a:pt x="28" y="412"/>
                    <a:pt x="28" y="412"/>
                  </a:cubicBezTo>
                  <a:cubicBezTo>
                    <a:pt x="12" y="412"/>
                    <a:pt x="0" y="400"/>
                    <a:pt x="0" y="38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íṩ1íḍè">
              <a:extLst>
                <a:ext uri="{FF2B5EF4-FFF2-40B4-BE49-F238E27FC236}">
                  <a16:creationId xmlns:a16="http://schemas.microsoft.com/office/drawing/2014/main" xmlns="" id="{D5902FCF-E832-4C88-B2D3-A55CEC176C7C}"/>
                </a:ext>
              </a:extLst>
            </p:cNvPr>
            <p:cNvSpPr/>
            <p:nvPr/>
          </p:nvSpPr>
          <p:spPr bwMode="auto">
            <a:xfrm>
              <a:off x="5477060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íṡ1idè">
              <a:extLst>
                <a:ext uri="{FF2B5EF4-FFF2-40B4-BE49-F238E27FC236}">
                  <a16:creationId xmlns:a16="http://schemas.microsoft.com/office/drawing/2014/main" xmlns="" id="{B0667F24-10EF-4E69-9FF1-6DF1252D21BA}"/>
                </a:ext>
              </a:extLst>
            </p:cNvPr>
            <p:cNvSpPr/>
            <p:nvPr/>
          </p:nvSpPr>
          <p:spPr bwMode="auto">
            <a:xfrm>
              <a:off x="5401495" y="4622417"/>
              <a:ext cx="37783" cy="36761"/>
            </a:xfrm>
            <a:prstGeom prst="ellipse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îslîḋé">
              <a:extLst>
                <a:ext uri="{FF2B5EF4-FFF2-40B4-BE49-F238E27FC236}">
                  <a16:creationId xmlns:a16="http://schemas.microsoft.com/office/drawing/2014/main" xmlns="" id="{ABB03A2E-C509-4E2C-A0F5-43AE1DA21D6B}"/>
                </a:ext>
              </a:extLst>
            </p:cNvPr>
            <p:cNvSpPr/>
            <p:nvPr/>
          </p:nvSpPr>
          <p:spPr bwMode="auto">
            <a:xfrm>
              <a:off x="2249229" y="5009430"/>
              <a:ext cx="3763931" cy="161340"/>
            </a:xfrm>
            <a:custGeom>
              <a:avLst/>
              <a:gdLst>
                <a:gd name="T0" fmla="*/ 15 w 702"/>
                <a:gd name="T1" fmla="*/ 0 h 30"/>
                <a:gd name="T2" fmla="*/ 687 w 702"/>
                <a:gd name="T3" fmla="*/ 0 h 30"/>
                <a:gd name="T4" fmla="*/ 702 w 702"/>
                <a:gd name="T5" fmla="*/ 15 h 30"/>
                <a:gd name="T6" fmla="*/ 702 w 702"/>
                <a:gd name="T7" fmla="*/ 15 h 30"/>
                <a:gd name="T8" fmla="*/ 687 w 702"/>
                <a:gd name="T9" fmla="*/ 30 h 30"/>
                <a:gd name="T10" fmla="*/ 15 w 702"/>
                <a:gd name="T11" fmla="*/ 30 h 30"/>
                <a:gd name="T12" fmla="*/ 0 w 702"/>
                <a:gd name="T13" fmla="*/ 15 h 30"/>
                <a:gd name="T14" fmla="*/ 0 w 702"/>
                <a:gd name="T15" fmla="*/ 15 h 30"/>
                <a:gd name="T16" fmla="*/ 15 w 702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2" h="30">
                  <a:moveTo>
                    <a:pt x="15" y="0"/>
                  </a:moveTo>
                  <a:cubicBezTo>
                    <a:pt x="687" y="0"/>
                    <a:pt x="687" y="0"/>
                    <a:pt x="687" y="0"/>
                  </a:cubicBezTo>
                  <a:cubicBezTo>
                    <a:pt x="695" y="0"/>
                    <a:pt x="702" y="7"/>
                    <a:pt x="702" y="15"/>
                  </a:cubicBezTo>
                  <a:cubicBezTo>
                    <a:pt x="702" y="15"/>
                    <a:pt x="702" y="15"/>
                    <a:pt x="702" y="15"/>
                  </a:cubicBezTo>
                  <a:cubicBezTo>
                    <a:pt x="702" y="24"/>
                    <a:pt x="695" y="30"/>
                    <a:pt x="687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rgbClr val="4674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íşļîḍé">
              <a:extLst>
                <a:ext uri="{FF2B5EF4-FFF2-40B4-BE49-F238E27FC236}">
                  <a16:creationId xmlns:a16="http://schemas.microsoft.com/office/drawing/2014/main" xmlns="" id="{B0ABE688-89CE-4D89-99B9-AB7C9D91C5AA}"/>
                </a:ext>
              </a:extLst>
            </p:cNvPr>
            <p:cNvSpPr/>
            <p:nvPr/>
          </p:nvSpPr>
          <p:spPr bwMode="auto">
            <a:xfrm>
              <a:off x="2249229" y="5090100"/>
              <a:ext cx="3763931" cy="80670"/>
            </a:xfrm>
            <a:custGeom>
              <a:avLst/>
              <a:gdLst>
                <a:gd name="T0" fmla="*/ 702 w 702"/>
                <a:gd name="T1" fmla="*/ 0 h 15"/>
                <a:gd name="T2" fmla="*/ 687 w 702"/>
                <a:gd name="T3" fmla="*/ 15 h 15"/>
                <a:gd name="T4" fmla="*/ 15 w 702"/>
                <a:gd name="T5" fmla="*/ 15 h 15"/>
                <a:gd name="T6" fmla="*/ 0 w 702"/>
                <a:gd name="T7" fmla="*/ 0 h 15"/>
                <a:gd name="T8" fmla="*/ 702 w 70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2" h="15">
                  <a:moveTo>
                    <a:pt x="702" y="0"/>
                  </a:moveTo>
                  <a:cubicBezTo>
                    <a:pt x="702" y="9"/>
                    <a:pt x="695" y="15"/>
                    <a:pt x="687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7" y="15"/>
                    <a:pt x="0" y="9"/>
                    <a:pt x="0" y="0"/>
                  </a:cubicBezTo>
                  <a:lnTo>
                    <a:pt x="702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ï$ḻîḓe">
              <a:extLst>
                <a:ext uri="{FF2B5EF4-FFF2-40B4-BE49-F238E27FC236}">
                  <a16:creationId xmlns:a16="http://schemas.microsoft.com/office/drawing/2014/main" xmlns="" id="{6D3A913B-5488-4D41-BDD4-01A198211266}"/>
                </a:ext>
              </a:extLst>
            </p:cNvPr>
            <p:cNvSpPr/>
            <p:nvPr/>
          </p:nvSpPr>
          <p:spPr bwMode="auto">
            <a:xfrm>
              <a:off x="2602544" y="2648549"/>
              <a:ext cx="3056279" cy="18554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îşľiḑè">
              <a:extLst>
                <a:ext uri="{FF2B5EF4-FFF2-40B4-BE49-F238E27FC236}">
                  <a16:creationId xmlns:a16="http://schemas.microsoft.com/office/drawing/2014/main" xmlns="" id="{4D857902-8486-48E2-B204-C4E594AEA7AF}"/>
                </a:ext>
              </a:extLst>
            </p:cNvPr>
            <p:cNvSpPr/>
            <p:nvPr/>
          </p:nvSpPr>
          <p:spPr bwMode="auto">
            <a:xfrm>
              <a:off x="2806773" y="2648549"/>
              <a:ext cx="2648843" cy="15623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îšḷîḑê">
              <a:extLst>
                <a:ext uri="{FF2B5EF4-FFF2-40B4-BE49-F238E27FC236}">
                  <a16:creationId xmlns:a16="http://schemas.microsoft.com/office/drawing/2014/main" xmlns="" id="{1F7A7173-6B61-4EA5-B3A6-FD5CBF00BBAB}"/>
                </a:ext>
              </a:extLst>
            </p:cNvPr>
            <p:cNvSpPr/>
            <p:nvPr/>
          </p:nvSpPr>
          <p:spPr bwMode="auto">
            <a:xfrm>
              <a:off x="3514424" y="2906899"/>
              <a:ext cx="1233540" cy="242010"/>
            </a:xfrm>
            <a:prstGeom prst="rect">
              <a:avLst/>
            </a:prstGeom>
            <a:solidFill>
              <a:srgbClr val="ED7B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íṣḷïḍé">
              <a:extLst>
                <a:ext uri="{FF2B5EF4-FFF2-40B4-BE49-F238E27FC236}">
                  <a16:creationId xmlns:a16="http://schemas.microsoft.com/office/drawing/2014/main" xmlns="" id="{1DFA07A4-8726-4D40-AEB9-AC1F88D9F3E2}"/>
                </a:ext>
              </a:extLst>
            </p:cNvPr>
            <p:cNvSpPr/>
            <p:nvPr/>
          </p:nvSpPr>
          <p:spPr bwMode="auto">
            <a:xfrm>
              <a:off x="2806773" y="3438913"/>
              <a:ext cx="2648843" cy="671912"/>
            </a:xfrm>
            <a:prstGeom prst="rect">
              <a:avLst/>
            </a:prstGeom>
            <a:solidFill>
              <a:srgbClr val="5896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ïŝḻiḓè">
              <a:extLst>
                <a:ext uri="{FF2B5EF4-FFF2-40B4-BE49-F238E27FC236}">
                  <a16:creationId xmlns:a16="http://schemas.microsoft.com/office/drawing/2014/main" xmlns="" id="{FDDD2547-20E2-4D42-A875-8F7EE4CDD9CA}"/>
                </a:ext>
              </a:extLst>
            </p:cNvPr>
            <p:cNvSpPr/>
            <p:nvPr/>
          </p:nvSpPr>
          <p:spPr bwMode="auto">
            <a:xfrm>
              <a:off x="3316323" y="3245918"/>
              <a:ext cx="1629743" cy="102114"/>
            </a:xfrm>
            <a:prstGeom prst="rect">
              <a:avLst/>
            </a:prstGeom>
            <a:solidFill>
              <a:srgbClr val="91BD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iŝḻîḑè">
              <a:extLst>
                <a:ext uri="{FF2B5EF4-FFF2-40B4-BE49-F238E27FC236}">
                  <a16:creationId xmlns:a16="http://schemas.microsoft.com/office/drawing/2014/main" xmlns="" id="{47E0BB0C-626D-4FA8-84FB-A190197D8283}"/>
                </a:ext>
              </a:extLst>
            </p:cNvPr>
            <p:cNvSpPr/>
            <p:nvPr/>
          </p:nvSpPr>
          <p:spPr bwMode="auto">
            <a:xfrm>
              <a:off x="2967092" y="4245616"/>
              <a:ext cx="664764" cy="258349"/>
            </a:xfrm>
            <a:prstGeom prst="rect">
              <a:avLst/>
            </a:prstGeom>
            <a:solidFill>
              <a:srgbClr val="FFD4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íṣļiḍe">
              <a:extLst>
                <a:ext uri="{FF2B5EF4-FFF2-40B4-BE49-F238E27FC236}">
                  <a16:creationId xmlns:a16="http://schemas.microsoft.com/office/drawing/2014/main" xmlns="" id="{033385FC-37CD-4BE7-ADDE-0C53AB44198A}"/>
                </a:ext>
              </a:extLst>
            </p:cNvPr>
            <p:cNvSpPr/>
            <p:nvPr/>
          </p:nvSpPr>
          <p:spPr bwMode="auto">
            <a:xfrm>
              <a:off x="3798302" y="4245616"/>
              <a:ext cx="664764" cy="258349"/>
            </a:xfrm>
            <a:prstGeom prst="rect">
              <a:avLst/>
            </a:prstGeom>
            <a:solidFill>
              <a:srgbClr val="F063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iṩļïdè">
              <a:extLst>
                <a:ext uri="{FF2B5EF4-FFF2-40B4-BE49-F238E27FC236}">
                  <a16:creationId xmlns:a16="http://schemas.microsoft.com/office/drawing/2014/main" xmlns="" id="{DC5738DC-D783-4156-8367-5A7AF8C69335}"/>
                </a:ext>
              </a:extLst>
            </p:cNvPr>
            <p:cNvSpPr/>
            <p:nvPr/>
          </p:nvSpPr>
          <p:spPr bwMode="auto">
            <a:xfrm>
              <a:off x="4629512" y="4245616"/>
              <a:ext cx="664764" cy="258349"/>
            </a:xfrm>
            <a:prstGeom prst="rect">
              <a:avLst/>
            </a:prstGeom>
            <a:solidFill>
              <a:srgbClr val="6A8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175909" y="2451630"/>
            <a:ext cx="995609" cy="456148"/>
            <a:chOff x="128515" y="1644987"/>
            <a:chExt cx="995609" cy="456148"/>
          </a:xfrm>
        </p:grpSpPr>
        <p:sp>
          <p:nvSpPr>
            <p:cNvPr id="27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05" name="组合 304"/>
          <p:cNvGrpSpPr/>
          <p:nvPr/>
        </p:nvGrpSpPr>
        <p:grpSpPr>
          <a:xfrm>
            <a:off x="173786" y="2034698"/>
            <a:ext cx="995609" cy="456148"/>
            <a:chOff x="128515" y="1644987"/>
            <a:chExt cx="995609" cy="456148"/>
          </a:xfrm>
        </p:grpSpPr>
        <p:sp>
          <p:nvSpPr>
            <p:cNvPr id="306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7" name="图片 30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08" name="图片 30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09" name="组合 308"/>
          <p:cNvGrpSpPr/>
          <p:nvPr/>
        </p:nvGrpSpPr>
        <p:grpSpPr>
          <a:xfrm>
            <a:off x="197503" y="2865091"/>
            <a:ext cx="995609" cy="456148"/>
            <a:chOff x="128515" y="1644987"/>
            <a:chExt cx="995609" cy="456148"/>
          </a:xfrm>
        </p:grpSpPr>
        <p:sp>
          <p:nvSpPr>
            <p:cNvPr id="310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11" name="图片 3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12" name="图片 3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13" name="组合 312"/>
          <p:cNvGrpSpPr/>
          <p:nvPr/>
        </p:nvGrpSpPr>
        <p:grpSpPr>
          <a:xfrm>
            <a:off x="176015" y="1621237"/>
            <a:ext cx="995609" cy="456148"/>
            <a:chOff x="128515" y="1644987"/>
            <a:chExt cx="995609" cy="456148"/>
          </a:xfrm>
        </p:grpSpPr>
        <p:sp>
          <p:nvSpPr>
            <p:cNvPr id="314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15" name="图片 3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16" name="图片 3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17" name="组合 316"/>
          <p:cNvGrpSpPr/>
          <p:nvPr/>
        </p:nvGrpSpPr>
        <p:grpSpPr>
          <a:xfrm>
            <a:off x="195686" y="3637230"/>
            <a:ext cx="995609" cy="456148"/>
            <a:chOff x="128515" y="1644987"/>
            <a:chExt cx="995609" cy="456148"/>
          </a:xfrm>
        </p:grpSpPr>
        <p:sp>
          <p:nvSpPr>
            <p:cNvPr id="318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19" name="图片 31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20" name="图片 3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21" name="组合 320"/>
          <p:cNvGrpSpPr/>
          <p:nvPr/>
        </p:nvGrpSpPr>
        <p:grpSpPr>
          <a:xfrm>
            <a:off x="208853" y="4077163"/>
            <a:ext cx="995609" cy="456148"/>
            <a:chOff x="128515" y="1644987"/>
            <a:chExt cx="995609" cy="456148"/>
          </a:xfrm>
        </p:grpSpPr>
        <p:sp>
          <p:nvSpPr>
            <p:cNvPr id="322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23" name="图片 32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24" name="图片 32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26" name="组合 325"/>
          <p:cNvGrpSpPr/>
          <p:nvPr/>
        </p:nvGrpSpPr>
        <p:grpSpPr>
          <a:xfrm>
            <a:off x="220011" y="4509642"/>
            <a:ext cx="995609" cy="456148"/>
            <a:chOff x="128515" y="1644987"/>
            <a:chExt cx="995609" cy="456148"/>
          </a:xfrm>
        </p:grpSpPr>
        <p:sp>
          <p:nvSpPr>
            <p:cNvPr id="327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28" name="图片 32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29" name="图片 3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grpSp>
        <p:nvGrpSpPr>
          <p:cNvPr id="330" name="组合 329"/>
          <p:cNvGrpSpPr/>
          <p:nvPr/>
        </p:nvGrpSpPr>
        <p:grpSpPr>
          <a:xfrm>
            <a:off x="232526" y="4955594"/>
            <a:ext cx="995609" cy="456148"/>
            <a:chOff x="128515" y="1644987"/>
            <a:chExt cx="995609" cy="456148"/>
          </a:xfrm>
        </p:grpSpPr>
        <p:sp>
          <p:nvSpPr>
            <p:cNvPr id="331" name="video-camera_120636">
              <a:extLst>
                <a:ext uri="{FF2B5EF4-FFF2-40B4-BE49-F238E27FC236}">
                  <a16:creationId xmlns:a16="http://schemas.microsoft.com/office/drawing/2014/main" xmlns="" id="{CF7034D4-E7DB-47B8-9555-7B6B79F7527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586402" y="1777326"/>
              <a:ext cx="197781" cy="177536"/>
            </a:xfrm>
            <a:custGeom>
              <a:avLst/>
              <a:gdLst>
                <a:gd name="connsiteX0" fmla="*/ 349346 w 607639"/>
                <a:gd name="connsiteY0" fmla="*/ 250236 h 530793"/>
                <a:gd name="connsiteX1" fmla="*/ 315168 w 607639"/>
                <a:gd name="connsiteY1" fmla="*/ 284361 h 530793"/>
                <a:gd name="connsiteX2" fmla="*/ 349346 w 607639"/>
                <a:gd name="connsiteY2" fmla="*/ 318487 h 530793"/>
                <a:gd name="connsiteX3" fmla="*/ 383524 w 607639"/>
                <a:gd name="connsiteY3" fmla="*/ 284361 h 530793"/>
                <a:gd name="connsiteX4" fmla="*/ 349346 w 607639"/>
                <a:gd name="connsiteY4" fmla="*/ 250236 h 530793"/>
                <a:gd name="connsiteX5" fmla="*/ 246812 w 607639"/>
                <a:gd name="connsiteY5" fmla="*/ 250236 h 530793"/>
                <a:gd name="connsiteX6" fmla="*/ 212634 w 607639"/>
                <a:gd name="connsiteY6" fmla="*/ 284361 h 530793"/>
                <a:gd name="connsiteX7" fmla="*/ 246812 w 607639"/>
                <a:gd name="connsiteY7" fmla="*/ 318487 h 530793"/>
                <a:gd name="connsiteX8" fmla="*/ 280990 w 607639"/>
                <a:gd name="connsiteY8" fmla="*/ 284361 h 530793"/>
                <a:gd name="connsiteX9" fmla="*/ 246812 w 607639"/>
                <a:gd name="connsiteY9" fmla="*/ 250236 h 530793"/>
                <a:gd name="connsiteX10" fmla="*/ 41743 w 607639"/>
                <a:gd name="connsiteY10" fmla="*/ 189539 h 530793"/>
                <a:gd name="connsiteX11" fmla="*/ 421529 w 607639"/>
                <a:gd name="connsiteY11" fmla="*/ 189539 h 530793"/>
                <a:gd name="connsiteX12" fmla="*/ 455707 w 607639"/>
                <a:gd name="connsiteY12" fmla="*/ 227486 h 530793"/>
                <a:gd name="connsiteX13" fmla="*/ 455707 w 607639"/>
                <a:gd name="connsiteY13" fmla="*/ 279829 h 530793"/>
                <a:gd name="connsiteX14" fmla="*/ 553613 w 607639"/>
                <a:gd name="connsiteY14" fmla="*/ 231485 h 530793"/>
                <a:gd name="connsiteX15" fmla="*/ 591529 w 607639"/>
                <a:gd name="connsiteY15" fmla="*/ 233084 h 530793"/>
                <a:gd name="connsiteX16" fmla="*/ 607639 w 607639"/>
                <a:gd name="connsiteY16" fmla="*/ 265344 h 530793"/>
                <a:gd name="connsiteX17" fmla="*/ 607639 w 607639"/>
                <a:gd name="connsiteY17" fmla="*/ 454988 h 530793"/>
                <a:gd name="connsiteX18" fmla="*/ 590995 w 607639"/>
                <a:gd name="connsiteY18" fmla="*/ 487248 h 530793"/>
                <a:gd name="connsiteX19" fmla="*/ 572482 w 607639"/>
                <a:gd name="connsiteY19" fmla="*/ 492846 h 530793"/>
                <a:gd name="connsiteX20" fmla="*/ 554592 w 607639"/>
                <a:gd name="connsiteY20" fmla="*/ 488847 h 530793"/>
                <a:gd name="connsiteX21" fmla="*/ 455707 w 607639"/>
                <a:gd name="connsiteY21" fmla="*/ 440503 h 530793"/>
                <a:gd name="connsiteX22" fmla="*/ 455707 w 607639"/>
                <a:gd name="connsiteY22" fmla="*/ 492846 h 530793"/>
                <a:gd name="connsiteX23" fmla="*/ 421529 w 607639"/>
                <a:gd name="connsiteY23" fmla="*/ 530793 h 530793"/>
                <a:gd name="connsiteX24" fmla="*/ 41743 w 607639"/>
                <a:gd name="connsiteY24" fmla="*/ 530793 h 530793"/>
                <a:gd name="connsiteX25" fmla="*/ 0 w 607639"/>
                <a:gd name="connsiteY25" fmla="*/ 492846 h 530793"/>
                <a:gd name="connsiteX26" fmla="*/ 0 w 607639"/>
                <a:gd name="connsiteY26" fmla="*/ 227486 h 530793"/>
                <a:gd name="connsiteX27" fmla="*/ 41743 w 607639"/>
                <a:gd name="connsiteY27" fmla="*/ 189539 h 530793"/>
                <a:gd name="connsiteX28" fmla="*/ 326612 w 607639"/>
                <a:gd name="connsiteY28" fmla="*/ 0 h 530793"/>
                <a:gd name="connsiteX29" fmla="*/ 402576 w 607639"/>
                <a:gd name="connsiteY29" fmla="*/ 75787 h 530793"/>
                <a:gd name="connsiteX30" fmla="*/ 326612 w 607639"/>
                <a:gd name="connsiteY30" fmla="*/ 151574 h 530793"/>
                <a:gd name="connsiteX31" fmla="*/ 250648 w 607639"/>
                <a:gd name="connsiteY31" fmla="*/ 75787 h 530793"/>
                <a:gd name="connsiteX32" fmla="*/ 326612 w 607639"/>
                <a:gd name="connsiteY32" fmla="*/ 0 h 530793"/>
                <a:gd name="connsiteX33" fmla="*/ 136686 w 607639"/>
                <a:gd name="connsiteY33" fmla="*/ 0 h 530793"/>
                <a:gd name="connsiteX34" fmla="*/ 212615 w 607639"/>
                <a:gd name="connsiteY34" fmla="*/ 75787 h 530793"/>
                <a:gd name="connsiteX35" fmla="*/ 136686 w 607639"/>
                <a:gd name="connsiteY35" fmla="*/ 151574 h 530793"/>
                <a:gd name="connsiteX36" fmla="*/ 60757 w 607639"/>
                <a:gd name="connsiteY36" fmla="*/ 75787 h 530793"/>
                <a:gd name="connsiteX37" fmla="*/ 136686 w 607639"/>
                <a:gd name="connsiteY37" fmla="*/ 0 h 530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7639" h="530793">
                  <a:moveTo>
                    <a:pt x="349346" y="250236"/>
                  </a:moveTo>
                  <a:cubicBezTo>
                    <a:pt x="330477" y="250236"/>
                    <a:pt x="315168" y="265521"/>
                    <a:pt x="315168" y="284361"/>
                  </a:cubicBezTo>
                  <a:cubicBezTo>
                    <a:pt x="315168" y="303201"/>
                    <a:pt x="330477" y="318487"/>
                    <a:pt x="349346" y="318487"/>
                  </a:cubicBezTo>
                  <a:cubicBezTo>
                    <a:pt x="368215" y="318487"/>
                    <a:pt x="383524" y="303201"/>
                    <a:pt x="383524" y="284361"/>
                  </a:cubicBezTo>
                  <a:cubicBezTo>
                    <a:pt x="383524" y="265521"/>
                    <a:pt x="368215" y="250236"/>
                    <a:pt x="349346" y="250236"/>
                  </a:cubicBezTo>
                  <a:close/>
                  <a:moveTo>
                    <a:pt x="246812" y="250236"/>
                  </a:moveTo>
                  <a:cubicBezTo>
                    <a:pt x="227942" y="250236"/>
                    <a:pt x="212634" y="265521"/>
                    <a:pt x="212634" y="284361"/>
                  </a:cubicBezTo>
                  <a:cubicBezTo>
                    <a:pt x="212634" y="303201"/>
                    <a:pt x="227942" y="318487"/>
                    <a:pt x="246812" y="318487"/>
                  </a:cubicBezTo>
                  <a:cubicBezTo>
                    <a:pt x="265681" y="318487"/>
                    <a:pt x="280990" y="303201"/>
                    <a:pt x="280990" y="284361"/>
                  </a:cubicBezTo>
                  <a:cubicBezTo>
                    <a:pt x="280990" y="265521"/>
                    <a:pt x="265681" y="250236"/>
                    <a:pt x="246812" y="250236"/>
                  </a:cubicBezTo>
                  <a:close/>
                  <a:moveTo>
                    <a:pt x="41743" y="189539"/>
                  </a:moveTo>
                  <a:lnTo>
                    <a:pt x="421529" y="189539"/>
                  </a:lnTo>
                  <a:cubicBezTo>
                    <a:pt x="442534" y="189539"/>
                    <a:pt x="455707" y="206513"/>
                    <a:pt x="455707" y="227486"/>
                  </a:cubicBezTo>
                  <a:lnTo>
                    <a:pt x="455707" y="279829"/>
                  </a:lnTo>
                  <a:lnTo>
                    <a:pt x="553613" y="231485"/>
                  </a:lnTo>
                  <a:cubicBezTo>
                    <a:pt x="565362" y="225619"/>
                    <a:pt x="580314" y="226242"/>
                    <a:pt x="591529" y="233084"/>
                  </a:cubicBezTo>
                  <a:cubicBezTo>
                    <a:pt x="602655" y="240016"/>
                    <a:pt x="607639" y="252191"/>
                    <a:pt x="607639" y="265344"/>
                  </a:cubicBezTo>
                  <a:lnTo>
                    <a:pt x="607639" y="454988"/>
                  </a:lnTo>
                  <a:cubicBezTo>
                    <a:pt x="607639" y="468141"/>
                    <a:pt x="602210" y="480316"/>
                    <a:pt x="590995" y="487248"/>
                  </a:cubicBezTo>
                  <a:cubicBezTo>
                    <a:pt x="584943" y="490980"/>
                    <a:pt x="579424" y="492846"/>
                    <a:pt x="572482" y="492846"/>
                  </a:cubicBezTo>
                  <a:cubicBezTo>
                    <a:pt x="566697" y="492846"/>
                    <a:pt x="559932" y="491513"/>
                    <a:pt x="554592" y="488847"/>
                  </a:cubicBezTo>
                  <a:lnTo>
                    <a:pt x="455707" y="440503"/>
                  </a:lnTo>
                  <a:lnTo>
                    <a:pt x="455707" y="492846"/>
                  </a:lnTo>
                  <a:cubicBezTo>
                    <a:pt x="455707" y="513819"/>
                    <a:pt x="442534" y="530793"/>
                    <a:pt x="421529" y="530793"/>
                  </a:cubicBezTo>
                  <a:lnTo>
                    <a:pt x="41743" y="530793"/>
                  </a:lnTo>
                  <a:cubicBezTo>
                    <a:pt x="20827" y="530793"/>
                    <a:pt x="0" y="513819"/>
                    <a:pt x="0" y="492846"/>
                  </a:cubicBezTo>
                  <a:lnTo>
                    <a:pt x="0" y="227486"/>
                  </a:lnTo>
                  <a:cubicBezTo>
                    <a:pt x="0" y="206513"/>
                    <a:pt x="20827" y="189539"/>
                    <a:pt x="41743" y="189539"/>
                  </a:cubicBezTo>
                  <a:close/>
                  <a:moveTo>
                    <a:pt x="326612" y="0"/>
                  </a:moveTo>
                  <a:cubicBezTo>
                    <a:pt x="368566" y="0"/>
                    <a:pt x="402576" y="33931"/>
                    <a:pt x="402576" y="75787"/>
                  </a:cubicBezTo>
                  <a:cubicBezTo>
                    <a:pt x="402576" y="117643"/>
                    <a:pt x="368566" y="151574"/>
                    <a:pt x="326612" y="151574"/>
                  </a:cubicBezTo>
                  <a:cubicBezTo>
                    <a:pt x="284658" y="151574"/>
                    <a:pt x="250648" y="117643"/>
                    <a:pt x="250648" y="75787"/>
                  </a:cubicBezTo>
                  <a:cubicBezTo>
                    <a:pt x="250648" y="33931"/>
                    <a:pt x="284658" y="0"/>
                    <a:pt x="326612" y="0"/>
                  </a:cubicBezTo>
                  <a:close/>
                  <a:moveTo>
                    <a:pt x="136686" y="0"/>
                  </a:moveTo>
                  <a:cubicBezTo>
                    <a:pt x="178620" y="0"/>
                    <a:pt x="212615" y="33931"/>
                    <a:pt x="212615" y="75787"/>
                  </a:cubicBezTo>
                  <a:cubicBezTo>
                    <a:pt x="212615" y="117643"/>
                    <a:pt x="178620" y="151574"/>
                    <a:pt x="136686" y="151574"/>
                  </a:cubicBezTo>
                  <a:cubicBezTo>
                    <a:pt x="94752" y="151574"/>
                    <a:pt x="60757" y="117643"/>
                    <a:pt x="60757" y="75787"/>
                  </a:cubicBezTo>
                  <a:cubicBezTo>
                    <a:pt x="60757" y="33931"/>
                    <a:pt x="94752" y="0"/>
                    <a:pt x="136686" y="0"/>
                  </a:cubicBezTo>
                  <a:close/>
                </a:path>
              </a:pathLst>
            </a:custGeom>
            <a:solidFill>
              <a:srgbClr val="1C4885"/>
            </a:solidFill>
            <a:ln>
              <a:noFill/>
            </a:ln>
          </p:spPr>
          <p:txBody>
            <a:bodyPr/>
            <a:lstStyle/>
            <a:p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32" name="图片 33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515" y="1644987"/>
              <a:ext cx="418081" cy="441746"/>
            </a:xfrm>
            <a:prstGeom prst="rect">
              <a:avLst/>
            </a:prstGeom>
          </p:spPr>
        </p:pic>
        <p:pic>
          <p:nvPicPr>
            <p:cNvPr id="333" name="图片 3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964" y="1651257"/>
              <a:ext cx="312160" cy="449878"/>
            </a:xfrm>
            <a:prstGeom prst="rect">
              <a:avLst/>
            </a:prstGeom>
          </p:spPr>
        </p:pic>
      </p:grpSp>
      <p:sp>
        <p:nvSpPr>
          <p:cNvPr id="335" name="文本框 334">
            <a:extLst>
              <a:ext uri="{FF2B5EF4-FFF2-40B4-BE49-F238E27FC236}">
                <a16:creationId xmlns:a16="http://schemas.microsoft.com/office/drawing/2014/main" xmlns="" id="{B79D8070-70AF-4EBE-9C02-139C92497121}"/>
              </a:ext>
            </a:extLst>
          </p:cNvPr>
          <p:cNvSpPr txBox="1"/>
          <p:nvPr/>
        </p:nvSpPr>
        <p:spPr>
          <a:xfrm>
            <a:off x="7970883" y="4107877"/>
            <a:ext cx="9936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est 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query</a:t>
            </a:r>
          </a:p>
        </p:txBody>
      </p:sp>
      <p:cxnSp>
        <p:nvCxnSpPr>
          <p:cNvPr id="338" name="直接连接符 337">
            <a:extLst>
              <a:ext uri="{FF2B5EF4-FFF2-40B4-BE49-F238E27FC236}">
                <a16:creationId xmlns:a16="http://schemas.microsoft.com/office/drawing/2014/main" xmlns="" id="{A2D3ED78-28AD-47D4-B84C-B963C8A05E19}"/>
              </a:ext>
            </a:extLst>
          </p:cNvPr>
          <p:cNvCxnSpPr>
            <a:cxnSpLocks/>
          </p:cNvCxnSpPr>
          <p:nvPr/>
        </p:nvCxnSpPr>
        <p:spPr bwMode="auto">
          <a:xfrm flipV="1">
            <a:off x="7386706" y="3911690"/>
            <a:ext cx="593021" cy="55696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C4885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5" name="TextBox 1">
            <a:extLst>
              <a:ext uri="{FF2B5EF4-FFF2-40B4-BE49-F238E27FC236}">
                <a16:creationId xmlns:a16="http://schemas.microsoft.com/office/drawing/2014/main" xmlns="" id="{D76C7A0C-E032-4A7F-ACDD-5E1D838F0910}"/>
              </a:ext>
            </a:extLst>
          </p:cNvPr>
          <p:cNvSpPr txBox="1"/>
          <p:nvPr/>
        </p:nvSpPr>
        <p:spPr>
          <a:xfrm>
            <a:off x="268920" y="129222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Intelligent Laboratory Management-2</a:t>
            </a:r>
          </a:p>
        </p:txBody>
      </p:sp>
      <p:sp>
        <p:nvSpPr>
          <p:cNvPr id="334" name="矩形 333">
            <a:extLst>
              <a:ext uri="{FF2B5EF4-FFF2-40B4-BE49-F238E27FC236}">
                <a16:creationId xmlns:a16="http://schemas.microsoft.com/office/drawing/2014/main" xmlns="" id="{FEA44837-467F-41D8-B7D6-4F926999E7B4}"/>
              </a:ext>
            </a:extLst>
          </p:cNvPr>
          <p:cNvSpPr/>
          <p:nvPr/>
        </p:nvSpPr>
        <p:spPr>
          <a:xfrm>
            <a:off x="155683" y="814271"/>
            <a:ext cx="3235204" cy="720080"/>
          </a:xfrm>
          <a:prstGeom prst="rect">
            <a:avLst/>
          </a:prstGeom>
          <a:ln/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IOT System Management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6" name="云形标注 5">
            <a:extLst>
              <a:ext uri="{FF2B5EF4-FFF2-40B4-BE49-F238E27FC236}">
                <a16:creationId xmlns:a16="http://schemas.microsoft.com/office/drawing/2014/main" xmlns="" id="{B3CDD3CF-9A20-4EF5-91BC-D02664F7E249}"/>
              </a:ext>
            </a:extLst>
          </p:cNvPr>
          <p:cNvSpPr/>
          <p:nvPr/>
        </p:nvSpPr>
        <p:spPr>
          <a:xfrm>
            <a:off x="6859048" y="433282"/>
            <a:ext cx="2250748" cy="885164"/>
          </a:xfrm>
          <a:prstGeom prst="cloudCallout">
            <a:avLst>
              <a:gd name="adj1" fmla="val -30776"/>
              <a:gd name="adj2" fmla="val 62793"/>
            </a:avLst>
          </a:prstGeom>
          <a:ln/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altLang="zh-TW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Action in2019</a:t>
            </a:r>
          </a:p>
        </p:txBody>
      </p:sp>
      <p:sp>
        <p:nvSpPr>
          <p:cNvPr id="337" name="文本框 336">
            <a:extLst>
              <a:ext uri="{FF2B5EF4-FFF2-40B4-BE49-F238E27FC236}">
                <a16:creationId xmlns:a16="http://schemas.microsoft.com/office/drawing/2014/main" xmlns="" id="{3B80B90C-37AA-477B-B4F2-9B632D2D9736}"/>
              </a:ext>
            </a:extLst>
          </p:cNvPr>
          <p:cNvSpPr txBox="1"/>
          <p:nvPr/>
        </p:nvSpPr>
        <p:spPr>
          <a:xfrm>
            <a:off x="1744418" y="5131533"/>
            <a:ext cx="14594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Laboratory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9" name="文本框 338">
            <a:extLst>
              <a:ext uri="{FF2B5EF4-FFF2-40B4-BE49-F238E27FC236}">
                <a16:creationId xmlns:a16="http://schemas.microsoft.com/office/drawing/2014/main" xmlns="" id="{A574450B-0B41-4604-B825-24F15A23EA99}"/>
              </a:ext>
            </a:extLst>
          </p:cNvPr>
          <p:cNvSpPr txBox="1"/>
          <p:nvPr/>
        </p:nvSpPr>
        <p:spPr>
          <a:xfrm>
            <a:off x="5931796" y="4682221"/>
            <a:ext cx="1207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nternal </a:t>
            </a:r>
            <a:endParaRPr lang="en-US" altLang="zh-CN" sz="12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anagement</a:t>
            </a:r>
            <a:endParaRPr lang="zh-CN" alt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095348"/>
      </p:ext>
    </p:extLst>
  </p:cSld>
  <p:clrMapOvr>
    <a:masterClrMapping/>
  </p:clrMapOvr>
  <p:transition spd="slow">
    <p:pull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Technology</a:t>
            </a:r>
            <a:r>
              <a:rPr lang="en-US" altLang="zh-CN" sz="2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R&amp;D </a:t>
            </a: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Certificates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1" y="4544862"/>
            <a:ext cx="9144000" cy="748543"/>
            <a:chOff x="125345" y="5496352"/>
            <a:chExt cx="8839143" cy="748543"/>
          </a:xfrm>
        </p:grpSpPr>
        <p:sp>
          <p:nvSpPr>
            <p:cNvPr id="11" name="同侧圆角矩形 10"/>
            <p:cNvSpPr/>
            <p:nvPr/>
          </p:nvSpPr>
          <p:spPr>
            <a:xfrm>
              <a:off x="179513" y="5570404"/>
              <a:ext cx="2121102" cy="616659"/>
            </a:xfrm>
            <a:prstGeom prst="round2SameRect">
              <a:avLst>
                <a:gd name="adj1" fmla="val 0"/>
                <a:gd name="adj2" fmla="val 22576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>
              <a:no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zh-CN" sz="14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Impact" pitchFamily="34" charset="0"/>
                  <a:ea typeface="微软雅黑" pitchFamily="34" charset="-122"/>
                </a:rPr>
                <a:t>ISO/IEC 17025 Certificate </a:t>
              </a:r>
            </a:p>
            <a:p>
              <a:pPr algn="ctr">
                <a:lnSpc>
                  <a:spcPct val="120000"/>
                </a:lnSpc>
                <a:defRPr/>
              </a:pPr>
              <a:r>
                <a:rPr lang="en-US" altLang="zh-CN" sz="14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Impact" pitchFamily="34" charset="0"/>
                  <a:ea typeface="微软雅黑" pitchFamily="34" charset="-122"/>
                </a:rPr>
                <a:t>Certificate No: CNAS L3746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125345" y="5496352"/>
              <a:ext cx="8839143" cy="15547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方正兰亭纤黑_GBK"/>
                <a:cs typeface="+mn-cs"/>
              </a:endParaRPr>
            </a:p>
          </p:txBody>
        </p:sp>
        <p:sp>
          <p:nvSpPr>
            <p:cNvPr id="16" name="同侧圆角矩形 15"/>
            <p:cNvSpPr/>
            <p:nvPr/>
          </p:nvSpPr>
          <p:spPr>
            <a:xfrm>
              <a:off x="2365852" y="5651830"/>
              <a:ext cx="1897926" cy="593065"/>
            </a:xfrm>
            <a:prstGeom prst="round2SameRect">
              <a:avLst>
                <a:gd name="adj1" fmla="val 0"/>
                <a:gd name="adj2" fmla="val 22576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>
              <a:no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zh-CN" sz="16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Impact" pitchFamily="34" charset="0"/>
                  <a:ea typeface="微软雅黑" pitchFamily="34" charset="-122"/>
                </a:rPr>
                <a:t>CMA</a:t>
              </a:r>
              <a:endParaRPr lang="zh-CN" alt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17" name="同侧圆角矩形 16"/>
            <p:cNvSpPr/>
            <p:nvPr/>
          </p:nvSpPr>
          <p:spPr>
            <a:xfrm>
              <a:off x="6495086" y="5578013"/>
              <a:ext cx="2156659" cy="607241"/>
            </a:xfrm>
            <a:prstGeom prst="round2SameRect">
              <a:avLst>
                <a:gd name="adj1" fmla="val 0"/>
                <a:gd name="adj2" fmla="val 22576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>
              <a:noAutofit/>
            </a:bodyPr>
            <a:lstStyle/>
            <a:p>
              <a:pPr algn="ctr">
                <a:lnSpc>
                  <a:spcPct val="120000"/>
                </a:lnSpc>
                <a:defRPr/>
              </a:pPr>
              <a:r>
                <a:rPr lang="en-US" altLang="zh-CN" sz="14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Impact" pitchFamily="34" charset="0"/>
                  <a:ea typeface="微软雅黑" pitchFamily="34" charset="-122"/>
                </a:rPr>
                <a:t>High-tech enterprises </a:t>
              </a:r>
              <a:endParaRPr lang="ja-JP" altLang="en-US" sz="14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  <a:ea typeface="微软雅黑" pitchFamily="34" charset="-122"/>
              </a:endParaRPr>
            </a:p>
          </p:txBody>
        </p:sp>
      </p:grpSp>
      <p:pic>
        <p:nvPicPr>
          <p:cNvPr id="18" name="图片 17" descr="Zertifikat 3017 Temperatur Schockkammer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71301" y="1486457"/>
            <a:ext cx="1846343" cy="2523171"/>
          </a:xfrm>
          <a:prstGeom prst="rect">
            <a:avLst/>
          </a:prstGeom>
          <a:ln w="6350">
            <a:solidFill>
              <a:srgbClr val="003258"/>
            </a:solidFill>
          </a:ln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9140" y="2137421"/>
            <a:ext cx="2647356" cy="1872208"/>
          </a:xfrm>
          <a:prstGeom prst="rect">
            <a:avLst/>
          </a:prstGeom>
          <a:ln w="6350">
            <a:solidFill>
              <a:srgbClr val="003258"/>
            </a:solidFill>
          </a:ln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623" y="1484861"/>
            <a:ext cx="2014671" cy="2740791"/>
          </a:xfrm>
          <a:prstGeom prst="rect">
            <a:avLst/>
          </a:prstGeom>
          <a:ln w="6350">
            <a:solidFill>
              <a:srgbClr val="003258"/>
            </a:solidFill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xmlns="" id="{0092EBE6-D37A-4BE2-9E35-AF481EDFCFB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942" y="1399539"/>
            <a:ext cx="1855878" cy="2624266"/>
          </a:xfrm>
          <a:prstGeom prst="rect">
            <a:avLst/>
          </a:prstGeom>
          <a:ln w="6350">
            <a:solidFill>
              <a:srgbClr val="003258"/>
            </a:solidFill>
          </a:ln>
        </p:spPr>
      </p:pic>
      <p:sp>
        <p:nvSpPr>
          <p:cNvPr id="13" name="同侧圆角矩形 15">
            <a:extLst>
              <a:ext uri="{FF2B5EF4-FFF2-40B4-BE49-F238E27FC236}">
                <a16:creationId xmlns:a16="http://schemas.microsoft.com/office/drawing/2014/main" xmlns="" id="{F4056D3B-3D11-4542-8AE5-A562AAC1529B}"/>
              </a:ext>
            </a:extLst>
          </p:cNvPr>
          <p:cNvSpPr/>
          <p:nvPr/>
        </p:nvSpPr>
        <p:spPr>
          <a:xfrm>
            <a:off x="4414995" y="4657700"/>
            <a:ext cx="1963384" cy="593065"/>
          </a:xfrm>
          <a:prstGeom prst="round2SameRect">
            <a:avLst>
              <a:gd name="adj1" fmla="val 0"/>
              <a:gd name="adj2" fmla="val 22576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>
            <a:no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Impact" pitchFamily="34" charset="0"/>
                <a:ea typeface="微软雅黑" pitchFamily="34" charset="-122"/>
              </a:rPr>
              <a:t>VW Certificate</a:t>
            </a:r>
            <a:endParaRPr lang="zh-CN" altLang="en-US" sz="16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Impact" pitchFamily="34" charset="0"/>
              <a:ea typeface="微软雅黑" pitchFamily="34" charset="-122"/>
            </a:endParaRPr>
          </a:p>
        </p:txBody>
      </p:sp>
    </p:spTree>
  </p:cSld>
  <p:clrMapOvr>
    <a:masterClrMapping/>
  </p:clrMapOvr>
  <p:transition spd="slow">
    <p:pull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Line 17"/>
          <p:cNvSpPr>
            <a:spLocks noChangeShapeType="1"/>
          </p:cNvSpPr>
          <p:nvPr/>
        </p:nvSpPr>
        <p:spPr bwMode="auto">
          <a:xfrm>
            <a:off x="6156176" y="1193527"/>
            <a:ext cx="0" cy="423284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velopment History and Future Development</a:t>
            </a:r>
          </a:p>
        </p:txBody>
      </p:sp>
      <p:sp>
        <p:nvSpPr>
          <p:cNvPr id="57" name="Line 16"/>
          <p:cNvSpPr>
            <a:spLocks noChangeShapeType="1"/>
          </p:cNvSpPr>
          <p:nvPr/>
        </p:nvSpPr>
        <p:spPr bwMode="auto">
          <a:xfrm>
            <a:off x="740487" y="1196423"/>
            <a:ext cx="0" cy="4232845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8" name="Line 9"/>
          <p:cNvSpPr>
            <a:spLocks noChangeShapeType="1"/>
          </p:cNvSpPr>
          <p:nvPr/>
        </p:nvSpPr>
        <p:spPr bwMode="auto">
          <a:xfrm>
            <a:off x="2699792" y="1187162"/>
            <a:ext cx="0" cy="4232845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0" name="Line 17"/>
          <p:cNvSpPr>
            <a:spLocks noChangeShapeType="1"/>
          </p:cNvSpPr>
          <p:nvPr/>
        </p:nvSpPr>
        <p:spPr bwMode="auto">
          <a:xfrm>
            <a:off x="4501275" y="1204574"/>
            <a:ext cx="0" cy="4232845"/>
          </a:xfrm>
          <a:prstGeom prst="line">
            <a:avLst/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7" name="Line 20"/>
          <p:cNvSpPr>
            <a:spLocks noChangeShapeType="1"/>
          </p:cNvSpPr>
          <p:nvPr/>
        </p:nvSpPr>
        <p:spPr bwMode="auto">
          <a:xfrm>
            <a:off x="7280756" y="1179630"/>
            <a:ext cx="0" cy="4232845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8" name="Line 21"/>
          <p:cNvSpPr>
            <a:spLocks noChangeShapeType="1"/>
          </p:cNvSpPr>
          <p:nvPr/>
        </p:nvSpPr>
        <p:spPr bwMode="auto">
          <a:xfrm>
            <a:off x="8460432" y="1179630"/>
            <a:ext cx="0" cy="4232845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zh-CN" altLang="en-US" sz="1600" b="1">
              <a:solidFill>
                <a:srgbClr val="FF33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9" name="Text Box 23"/>
          <p:cNvSpPr txBox="1">
            <a:spLocks noChangeArrowheads="1"/>
          </p:cNvSpPr>
          <p:nvPr/>
        </p:nvSpPr>
        <p:spPr bwMode="auto">
          <a:xfrm>
            <a:off x="235844" y="875807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07</a:t>
            </a:r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2" name="Text Box 23"/>
          <p:cNvSpPr txBox="1">
            <a:spLocks noChangeArrowheads="1"/>
          </p:cNvSpPr>
          <p:nvPr/>
        </p:nvSpPr>
        <p:spPr bwMode="auto">
          <a:xfrm>
            <a:off x="2147524" y="888646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13</a:t>
            </a:r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3" name="Text Box 23"/>
          <p:cNvSpPr txBox="1">
            <a:spLocks noChangeArrowheads="1"/>
          </p:cNvSpPr>
          <p:nvPr/>
        </p:nvSpPr>
        <p:spPr bwMode="auto">
          <a:xfrm>
            <a:off x="3967098" y="863456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15</a:t>
            </a:r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7" name="Text Box 23"/>
          <p:cNvSpPr txBox="1">
            <a:spLocks noChangeArrowheads="1"/>
          </p:cNvSpPr>
          <p:nvPr/>
        </p:nvSpPr>
        <p:spPr bwMode="auto">
          <a:xfrm>
            <a:off x="6732240" y="887488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18</a:t>
            </a:r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8" name="Line 33"/>
          <p:cNvSpPr>
            <a:spLocks noChangeShapeType="1"/>
          </p:cNvSpPr>
          <p:nvPr/>
        </p:nvSpPr>
        <p:spPr bwMode="auto">
          <a:xfrm>
            <a:off x="0" y="5429268"/>
            <a:ext cx="9144000" cy="0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6" name="AutoShape 52" descr="羊皮纸"/>
          <p:cNvSpPr>
            <a:spLocks noChangeArrowheads="1"/>
          </p:cNvSpPr>
          <p:nvPr/>
        </p:nvSpPr>
        <p:spPr bwMode="auto">
          <a:xfrm>
            <a:off x="701084" y="2749665"/>
            <a:ext cx="1099021" cy="501729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ja-JP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Officially Opened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8" name="AutoShape 52" descr="羊皮纸"/>
          <p:cNvSpPr>
            <a:spLocks noChangeArrowheads="1"/>
          </p:cNvSpPr>
          <p:nvPr/>
        </p:nvSpPr>
        <p:spPr bwMode="auto">
          <a:xfrm>
            <a:off x="601157" y="4382373"/>
            <a:ext cx="1262339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Imported Salt spray Test instrument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9" name="AutoShape 52" descr="羊皮纸"/>
          <p:cNvSpPr>
            <a:spLocks noChangeArrowheads="1"/>
          </p:cNvSpPr>
          <p:nvPr/>
        </p:nvSpPr>
        <p:spPr bwMode="auto">
          <a:xfrm>
            <a:off x="642561" y="3542854"/>
            <a:ext cx="1184779" cy="501729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Authorized by ISO17025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1" name="Line 33"/>
          <p:cNvSpPr>
            <a:spLocks noChangeShapeType="1"/>
          </p:cNvSpPr>
          <p:nvPr/>
        </p:nvSpPr>
        <p:spPr bwMode="auto">
          <a:xfrm>
            <a:off x="0" y="1180796"/>
            <a:ext cx="9144000" cy="0"/>
          </a:xfrm>
          <a:prstGeom prst="line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anchorCtr="1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i="0" u="none" strike="noStrike" kern="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3" name="AutoShape 52" descr="羊皮纸"/>
          <p:cNvSpPr>
            <a:spLocks noChangeArrowheads="1"/>
          </p:cNvSpPr>
          <p:nvPr/>
        </p:nvSpPr>
        <p:spPr bwMode="auto">
          <a:xfrm>
            <a:off x="3119524" y="2503586"/>
            <a:ext cx="1306673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Authorized by VW Certificate</a:t>
            </a:r>
            <a:endParaRPr kumimoji="1" lang="zh-CN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9" name="AutoShape 52" descr="羊皮纸"/>
          <p:cNvSpPr>
            <a:spLocks noChangeArrowheads="1"/>
          </p:cNvSpPr>
          <p:nvPr/>
        </p:nvSpPr>
        <p:spPr bwMode="auto">
          <a:xfrm>
            <a:off x="5680260" y="1279093"/>
            <a:ext cx="1295613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Pudong Tesing Lab establishment</a:t>
            </a:r>
            <a:endParaRPr kumimoji="1" lang="en-US" altLang="zh-CN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0" name="Text Box 23"/>
          <p:cNvSpPr txBox="1">
            <a:spLocks noChangeArrowheads="1"/>
          </p:cNvSpPr>
          <p:nvPr/>
        </p:nvSpPr>
        <p:spPr bwMode="auto">
          <a:xfrm>
            <a:off x="5591270" y="893539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17</a:t>
            </a:r>
            <a:endParaRPr kumimoji="1" lang="ja-JP" alt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0" name="AutoShape 52" descr="羊皮纸"/>
          <p:cNvSpPr>
            <a:spLocks noChangeArrowheads="1"/>
          </p:cNvSpPr>
          <p:nvPr/>
        </p:nvSpPr>
        <p:spPr bwMode="auto">
          <a:xfrm>
            <a:off x="37408" y="1273324"/>
            <a:ext cx="1365737" cy="1290161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ja-JP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Complete originally testing equipment imported of  infrastructure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5" name="AutoShape 52" descr="羊皮纸"/>
          <p:cNvSpPr>
            <a:spLocks noChangeArrowheads="1"/>
          </p:cNvSpPr>
          <p:nvPr/>
        </p:nvSpPr>
        <p:spPr bwMode="auto">
          <a:xfrm>
            <a:off x="2385275" y="3073524"/>
            <a:ext cx="1425526" cy="2329041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Imported:</a:t>
            </a:r>
          </a:p>
          <a:p>
            <a:pPr algn="ctr">
              <a:defRPr/>
            </a:pPr>
            <a:r>
              <a:rPr kumimoji="1" lang="zh-CN" altLang="en-US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●  </a:t>
            </a: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Mixed gas test                                                                equipment</a:t>
            </a:r>
          </a:p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●JIS standard of dust equipment</a:t>
            </a:r>
          </a:p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●IP9K equipment</a:t>
            </a:r>
          </a:p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● Walking chamber.</a:t>
            </a:r>
          </a:p>
          <a:p>
            <a:pPr algn="ctr">
              <a:defRPr/>
            </a:pPr>
            <a:endParaRPr kumimoji="1" lang="en-US" altLang="zh-CN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7" name="AutoShape 52" descr="羊皮纸"/>
          <p:cNvSpPr>
            <a:spLocks noChangeArrowheads="1"/>
          </p:cNvSpPr>
          <p:nvPr/>
        </p:nvSpPr>
        <p:spPr bwMode="auto">
          <a:xfrm>
            <a:off x="4637244" y="2939184"/>
            <a:ext cx="1322179" cy="1093053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2nd stage of the project </a:t>
            </a:r>
          </a:p>
          <a:p>
            <a:pPr algn="ctr"/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Importing large Test instrument</a:t>
            </a:r>
            <a:endParaRPr kumimoji="1" lang="zh-CN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7" name="AutoShape 52" descr="羊皮纸"/>
          <p:cNvSpPr>
            <a:spLocks noChangeArrowheads="1"/>
          </p:cNvSpPr>
          <p:nvPr/>
        </p:nvSpPr>
        <p:spPr bwMode="auto">
          <a:xfrm>
            <a:off x="2098618" y="1472947"/>
            <a:ext cx="1482823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 err="1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Metallographical</a:t>
            </a: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 Test</a:t>
            </a:r>
          </a:p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(cooperation)</a:t>
            </a:r>
            <a:endParaRPr kumimoji="1" lang="zh-CN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5" name="AutoShape 52" descr="羊皮纸"/>
          <p:cNvSpPr>
            <a:spLocks noChangeArrowheads="1"/>
          </p:cNvSpPr>
          <p:nvPr/>
        </p:nvSpPr>
        <p:spPr bwMode="auto">
          <a:xfrm>
            <a:off x="3855700" y="1266393"/>
            <a:ext cx="1188498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Authorized by Electrical Calibration</a:t>
            </a:r>
            <a:endParaRPr kumimoji="1" lang="zh-CN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AutoShape 52" descr="羊皮纸"/>
          <p:cNvSpPr>
            <a:spLocks noChangeArrowheads="1"/>
          </p:cNvSpPr>
          <p:nvPr/>
        </p:nvSpPr>
        <p:spPr bwMode="auto">
          <a:xfrm>
            <a:off x="4499992" y="4155971"/>
            <a:ext cx="999547" cy="501729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ja-JP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Establish VOC Lab</a:t>
            </a:r>
            <a:endParaRPr kumimoji="1" lang="zh-CN" altLang="en-US" sz="1100" b="1" kern="0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43" name="AutoShape 52" descr="羊皮纸"/>
          <p:cNvSpPr>
            <a:spLocks noChangeArrowheads="1"/>
          </p:cNvSpPr>
          <p:nvPr/>
        </p:nvSpPr>
        <p:spPr bwMode="auto">
          <a:xfrm>
            <a:off x="4515631" y="1996323"/>
            <a:ext cx="1128002" cy="895945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Extend by Temp &amp; Hum Calibration</a:t>
            </a:r>
            <a:endParaRPr kumimoji="1" lang="zh-CN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AutoShape 52" descr="羊皮纸"/>
          <p:cNvSpPr>
            <a:spLocks noChangeArrowheads="1"/>
          </p:cNvSpPr>
          <p:nvPr/>
        </p:nvSpPr>
        <p:spPr bwMode="auto">
          <a:xfrm>
            <a:off x="7884368" y="1359551"/>
            <a:ext cx="1143992" cy="812229"/>
          </a:xfrm>
          <a:prstGeom prst="roundRect">
            <a:avLst>
              <a:gd name="adj" fmla="val 25000"/>
            </a:avLst>
          </a:prstGeom>
          <a:solidFill>
            <a:srgbClr val="96C80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noAutofit/>
          </a:bodyPr>
          <a:lstStyle/>
          <a:p>
            <a:pPr algn="ctr"/>
            <a:r>
              <a:rPr kumimoji="1" lang="en-US" altLang="ja-JP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ncreasing new energy test investment</a:t>
            </a:r>
          </a:p>
        </p:txBody>
      </p:sp>
      <p:sp>
        <p:nvSpPr>
          <p:cNvPr id="54" name="Text Box 23">
            <a:extLst>
              <a:ext uri="{FF2B5EF4-FFF2-40B4-BE49-F238E27FC236}">
                <a16:creationId xmlns:a16="http://schemas.microsoft.com/office/drawing/2014/main" xmlns="" id="{3A72A77E-B046-4D79-8EAD-64D87C5043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3832" y="893539"/>
            <a:ext cx="10970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 anchorCtr="1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zh-CN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</a:rPr>
              <a:t>2019</a:t>
            </a:r>
          </a:p>
        </p:txBody>
      </p:sp>
      <p:sp>
        <p:nvSpPr>
          <p:cNvPr id="55" name="AutoShape 52" descr="羊皮纸">
            <a:extLst>
              <a:ext uri="{FF2B5EF4-FFF2-40B4-BE49-F238E27FC236}">
                <a16:creationId xmlns:a16="http://schemas.microsoft.com/office/drawing/2014/main" xmlns="" id="{D8EEFAC5-82E6-420E-B699-2BFF64E56B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8538" y="2055707"/>
            <a:ext cx="1295613" cy="501729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 dirty="0">
                <a:latin typeface="微软雅黑" pitchFamily="34" charset="-122"/>
                <a:ea typeface="微软雅黑" pitchFamily="34" charset="-122"/>
              </a:rPr>
              <a:t>Listing New Third Board</a:t>
            </a:r>
            <a:endParaRPr kumimoji="1" lang="ja-JP" altLang="en-US" sz="11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AutoShape 52" descr="羊皮纸">
            <a:extLst>
              <a:ext uri="{FF2B5EF4-FFF2-40B4-BE49-F238E27FC236}">
                <a16:creationId xmlns:a16="http://schemas.microsoft.com/office/drawing/2014/main" xmlns="" id="{0355D77C-EFD0-43B9-9C42-C109E4657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1886" y="2742224"/>
            <a:ext cx="1295613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/>
            <a:r>
              <a:rPr kumimoji="1" lang="en-US" altLang="zh-CN" sz="1100" b="1" dirty="0">
                <a:latin typeface="微软雅黑" pitchFamily="34" charset="-122"/>
                <a:ea typeface="微软雅黑" pitchFamily="34" charset="-122"/>
              </a:rPr>
              <a:t>New energy vehicle test item import</a:t>
            </a:r>
            <a:endParaRPr kumimoji="1" lang="ja-JP" altLang="en-US" sz="11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1" name="AutoShape 52" descr="羊皮纸">
            <a:extLst>
              <a:ext uri="{FF2B5EF4-FFF2-40B4-BE49-F238E27FC236}">
                <a16:creationId xmlns:a16="http://schemas.microsoft.com/office/drawing/2014/main" xmlns="" id="{301A9CF3-70A1-4557-A521-5A587F4B4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03354" y="4261851"/>
            <a:ext cx="1295613" cy="1093053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latin typeface="微软雅黑" pitchFamily="34" charset="-122"/>
                <a:ea typeface="微软雅黑" pitchFamily="34" charset="-122"/>
              </a:rPr>
              <a:t>VOC Authorized by  CNAS &amp;  Auto Certificate</a:t>
            </a:r>
            <a:endParaRPr kumimoji="1" lang="zh-CN" altLang="en-US" sz="11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3" name="AutoShape 52" descr="羊皮纸">
            <a:extLst>
              <a:ext uri="{FF2B5EF4-FFF2-40B4-BE49-F238E27FC236}">
                <a16:creationId xmlns:a16="http://schemas.microsoft.com/office/drawing/2014/main" xmlns="" id="{00F9511C-6BF4-4622-9AE7-886AEA85DC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9409" y="2309990"/>
            <a:ext cx="1262339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Imported lab system management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4" name="AutoShape 52" descr="羊皮纸">
            <a:extLst>
              <a:ext uri="{FF2B5EF4-FFF2-40B4-BE49-F238E27FC236}">
                <a16:creationId xmlns:a16="http://schemas.microsoft.com/office/drawing/2014/main" xmlns="" id="{F70C383F-0506-4A30-A1DF-0BC77BF818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7302" y="3623632"/>
            <a:ext cx="1184779" cy="501729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Authorized by CMA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5" name="AutoShape 52" descr="羊皮纸">
            <a:extLst>
              <a:ext uri="{FF2B5EF4-FFF2-40B4-BE49-F238E27FC236}">
                <a16:creationId xmlns:a16="http://schemas.microsoft.com/office/drawing/2014/main" xmlns="" id="{C930525C-CB7C-447B-B80A-5F11F5F8FE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713" y="4494294"/>
            <a:ext cx="1262339" cy="698837"/>
          </a:xfrm>
          <a:prstGeom prst="roundRect">
            <a:avLst>
              <a:gd name="adj" fmla="val 25000"/>
            </a:avLst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spAutoFit/>
          </a:bodyPr>
          <a:lstStyle/>
          <a:p>
            <a:pPr algn="ctr">
              <a:defRPr/>
            </a:pPr>
            <a:r>
              <a:rPr kumimoji="1" lang="en-US" altLang="zh-CN" sz="1100" b="1" dirty="0">
                <a:solidFill>
                  <a:srgbClr val="404040"/>
                </a:solidFill>
                <a:latin typeface="微软雅黑" pitchFamily="34" charset="-122"/>
                <a:ea typeface="微软雅黑" pitchFamily="34" charset="-122"/>
              </a:rPr>
              <a:t>Imported lab system management</a:t>
            </a:r>
            <a:endParaRPr kumimoji="1" lang="ja-JP" altLang="en-US" sz="1100" b="1" dirty="0">
              <a:solidFill>
                <a:srgbClr val="40404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5" name="AutoShape 52" descr="羊皮纸">
            <a:extLst>
              <a:ext uri="{FF2B5EF4-FFF2-40B4-BE49-F238E27FC236}">
                <a16:creationId xmlns:a16="http://schemas.microsoft.com/office/drawing/2014/main" xmlns="" id="{3A83AD1F-FE88-4765-AC01-0F04778F2C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6489" y="2368279"/>
            <a:ext cx="1371998" cy="483247"/>
          </a:xfrm>
          <a:prstGeom prst="roundRect">
            <a:avLst>
              <a:gd name="adj" fmla="val 25000"/>
            </a:avLst>
          </a:prstGeom>
          <a:solidFill>
            <a:srgbClr val="96C80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noAutofit/>
          </a:bodyPr>
          <a:lstStyle/>
          <a:p>
            <a:pPr algn="ctr"/>
            <a:r>
              <a:rPr kumimoji="1"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ATARC </a:t>
            </a:r>
            <a:endParaRPr kumimoji="1" lang="en-US" altLang="zh-CN" sz="1100" b="1" dirty="0" smtClean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  <a:p>
            <a:pPr algn="ctr"/>
            <a:r>
              <a:rPr kumimoji="1"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-operation</a:t>
            </a:r>
            <a:endParaRPr kumimoji="1" lang="ja-JP" altLang="en-US" sz="11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6" name="AutoShape 52" descr="羊皮纸">
            <a:extLst>
              <a:ext uri="{FF2B5EF4-FFF2-40B4-BE49-F238E27FC236}">
                <a16:creationId xmlns:a16="http://schemas.microsoft.com/office/drawing/2014/main" xmlns="" id="{F5BB0520-0577-47B3-98DE-D13738EEA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6489" y="3211218"/>
            <a:ext cx="1371998" cy="896405"/>
          </a:xfrm>
          <a:prstGeom prst="roundRect">
            <a:avLst>
              <a:gd name="adj" fmla="val 25000"/>
            </a:avLst>
          </a:prstGeom>
          <a:solidFill>
            <a:srgbClr val="96C80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noAutofit/>
          </a:bodyPr>
          <a:lstStyle/>
          <a:p>
            <a:pPr algn="ctr"/>
            <a:r>
              <a:rPr kumimoji="1"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mporting </a:t>
            </a:r>
            <a:r>
              <a:rPr kumimoji="1"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JFE-TEC</a:t>
            </a:r>
          </a:p>
          <a:p>
            <a:pPr algn="ctr"/>
            <a:r>
              <a:rPr kumimoji="1" lang="en-US" altLang="zh-CN" sz="11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kumimoji="1"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Co-operation</a:t>
            </a:r>
          </a:p>
        </p:txBody>
      </p:sp>
      <p:sp>
        <p:nvSpPr>
          <p:cNvPr id="79" name="AutoShape 52" descr="羊皮纸">
            <a:extLst>
              <a:ext uri="{FF2B5EF4-FFF2-40B4-BE49-F238E27FC236}">
                <a16:creationId xmlns:a16="http://schemas.microsoft.com/office/drawing/2014/main" xmlns="" id="{46C82946-C59B-46AA-84AE-3E09F57849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4307" y="4386069"/>
            <a:ext cx="1371998" cy="896405"/>
          </a:xfrm>
          <a:prstGeom prst="roundRect">
            <a:avLst>
              <a:gd name="adj" fmla="val 25000"/>
            </a:avLst>
          </a:prstGeom>
          <a:solidFill>
            <a:srgbClr val="96C801"/>
          </a:solidFill>
          <a:ln w="9525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>
            <a:outerShdw dist="53882" dir="2700000" algn="ctr" rotWithShape="0">
              <a:schemeClr val="tx1">
                <a:lumMod val="75000"/>
                <a:lumOff val="25000"/>
              </a:schemeClr>
            </a:outerShdw>
          </a:effectLst>
        </p:spPr>
        <p:txBody>
          <a:bodyPr wrap="square" anchor="ctr" anchorCtr="1">
            <a:noAutofit/>
          </a:bodyPr>
          <a:lstStyle/>
          <a:p>
            <a:pPr algn="ctr"/>
            <a:r>
              <a:rPr kumimoji="1" lang="en-US" altLang="zh-CN" sz="11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Importing IOT  System management</a:t>
            </a:r>
          </a:p>
        </p:txBody>
      </p:sp>
    </p:spTree>
    <p:extLst>
      <p:ext uri="{BB962C8B-B14F-4D97-AF65-F5344CB8AC3E}">
        <p14:creationId xmlns:p14="http://schemas.microsoft.com/office/powerpoint/2010/main" val="4015933277"/>
      </p:ext>
    </p:extLst>
  </p:cSld>
  <p:clrMapOvr>
    <a:masterClrMapping/>
  </p:clrMapOvr>
  <p:transition spd="slow">
    <p:pull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3" name="图片 8"/>
          <p:cNvPicPr>
            <a:picLocks noChangeAspect="1" noChangeArrowheads="1"/>
          </p:cNvPicPr>
          <p:nvPr/>
        </p:nvPicPr>
        <p:blipFill>
          <a:blip r:embed="rId4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1111250" y="1517650"/>
            <a:ext cx="7502525" cy="297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Technology</a:t>
            </a:r>
            <a:r>
              <a:rPr lang="en-US" altLang="zh-CN" sz="2400" dirty="0">
                <a:solidFill>
                  <a:srgbClr val="0D0D0D"/>
                </a:solidFill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R&amp;D </a:t>
            </a:r>
            <a:r>
              <a:rPr lang="en-US" altLang="zh-CN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Quality Policy </a:t>
            </a:r>
          </a:p>
        </p:txBody>
      </p:sp>
      <p:sp>
        <p:nvSpPr>
          <p:cNvPr id="41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95496" y="1134718"/>
            <a:ext cx="8892480" cy="4132951"/>
          </a:xfrm>
          <a:prstGeom prst="roundRect">
            <a:avLst>
              <a:gd name="adj" fmla="val 7012"/>
            </a:avLst>
          </a:prstGeom>
          <a:solidFill>
            <a:sysClr val="window" lastClr="FFFFFF">
              <a:alpha val="80000"/>
            </a:sysClr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divot"/>
            <a:bevelB w="0" h="0"/>
            <a:contourClr>
              <a:sysClr val="window" lastClr="FFFFFF"/>
            </a:contourClr>
          </a:sp3d>
        </p:spPr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ysClr val="windowText" lastClr="000000"/>
              </a:solidFill>
              <a:latin typeface="微软雅黑" pitchFamily="34" charset="-122"/>
              <a:ea typeface="+mn-ea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2593918" y="1833563"/>
            <a:ext cx="20728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800" b="1" i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Our target</a:t>
            </a:r>
            <a:endParaRPr lang="zh-CN" altLang="en-US" sz="2800" b="1" i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2627313" y="2273300"/>
            <a:ext cx="648017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图片 41"/>
          <p:cNvPicPr>
            <a:picLocks noChangeAspect="1"/>
          </p:cNvPicPr>
          <p:nvPr/>
        </p:nvPicPr>
        <p:blipFill rotWithShape="1">
          <a:blip r:embed="rId5" cstate="print"/>
          <a:srcRect/>
          <a:stretch/>
        </p:blipFill>
        <p:spPr>
          <a:xfrm>
            <a:off x="7135813" y="2338388"/>
            <a:ext cx="1971675" cy="33543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8919" name="组合 67"/>
          <p:cNvGrpSpPr>
            <a:grpSpLocks/>
          </p:cNvGrpSpPr>
          <p:nvPr/>
        </p:nvGrpSpPr>
        <p:grpSpPr bwMode="auto">
          <a:xfrm>
            <a:off x="414338" y="1576388"/>
            <a:ext cx="2212975" cy="3153320"/>
            <a:chOff x="414040" y="1517189"/>
            <a:chExt cx="2213744" cy="3152553"/>
          </a:xfrm>
        </p:grpSpPr>
        <p:grpSp>
          <p:nvGrpSpPr>
            <p:cNvPr id="38927" name="组合 4"/>
            <p:cNvGrpSpPr>
              <a:grpSpLocks/>
            </p:cNvGrpSpPr>
            <p:nvPr/>
          </p:nvGrpSpPr>
          <p:grpSpPr bwMode="auto">
            <a:xfrm>
              <a:off x="414040" y="1517189"/>
              <a:ext cx="2213744" cy="514328"/>
              <a:chOff x="414040" y="1155903"/>
              <a:chExt cx="2213744" cy="514328"/>
            </a:xfrm>
          </p:grpSpPr>
          <p:sp>
            <p:nvSpPr>
              <p:cNvPr id="38944" name="椭圆 8"/>
              <p:cNvSpPr>
                <a:spLocks noChangeArrowheads="1"/>
              </p:cNvSpPr>
              <p:nvPr/>
            </p:nvSpPr>
            <p:spPr bwMode="auto">
              <a:xfrm>
                <a:off x="414040" y="1155903"/>
                <a:ext cx="514529" cy="514328"/>
              </a:xfrm>
              <a:prstGeom prst="ellipse">
                <a:avLst/>
              </a:prstGeom>
              <a:solidFill>
                <a:srgbClr val="96C801"/>
              </a:solidFill>
              <a:ln w="25400" algn="ctr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45" name="椭圆 9"/>
              <p:cNvSpPr>
                <a:spLocks noChangeArrowheads="1"/>
              </p:cNvSpPr>
              <p:nvPr/>
            </p:nvSpPr>
            <p:spPr bwMode="auto">
              <a:xfrm>
                <a:off x="661776" y="1338457"/>
                <a:ext cx="331902" cy="331774"/>
              </a:xfrm>
              <a:prstGeom prst="ellipse">
                <a:avLst/>
              </a:prstGeom>
              <a:solidFill>
                <a:srgbClr val="7F7F7F"/>
              </a:solidFill>
              <a:ln w="38100" algn="ctr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altLang="zh-CN" sz="2000">
                    <a:solidFill>
                      <a:srgbClr val="FFFFFF"/>
                    </a:solidFill>
                    <a:latin typeface="微软雅黑" pitchFamily="34" charset="-122"/>
                    <a:ea typeface="微软雅黑" pitchFamily="34" charset="-122"/>
                  </a:rPr>
                  <a:t>1</a:t>
                </a:r>
                <a:endParaRPr lang="zh-CN" altLang="en-US" sz="200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46" name="TextBox 3"/>
              <p:cNvSpPr txBox="1">
                <a:spLocks noChangeArrowheads="1"/>
              </p:cNvSpPr>
              <p:nvPr/>
            </p:nvSpPr>
            <p:spPr bwMode="auto">
              <a:xfrm>
                <a:off x="993679" y="1337044"/>
                <a:ext cx="1634105" cy="3077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404040"/>
                    </a:solidFill>
                    <a:latin typeface="微软雅黑" pitchFamily="34" charset="-122"/>
                    <a:ea typeface="微软雅黑" pitchFamily="34" charset="-122"/>
                  </a:rPr>
                  <a:t>Fair behavior</a:t>
                </a:r>
              </a:p>
            </p:txBody>
          </p:sp>
        </p:grpSp>
        <p:grpSp>
          <p:nvGrpSpPr>
            <p:cNvPr id="38928" name="组合 13"/>
            <p:cNvGrpSpPr>
              <a:grpSpLocks/>
            </p:cNvGrpSpPr>
            <p:nvPr/>
          </p:nvGrpSpPr>
          <p:grpSpPr bwMode="auto">
            <a:xfrm>
              <a:off x="414040" y="2155336"/>
              <a:ext cx="2213744" cy="589927"/>
              <a:chOff x="414040" y="1155410"/>
              <a:chExt cx="2213744" cy="589927"/>
            </a:xfrm>
          </p:grpSpPr>
          <p:sp>
            <p:nvSpPr>
              <p:cNvPr id="38941" name="椭圆 14"/>
              <p:cNvSpPr>
                <a:spLocks noChangeArrowheads="1"/>
              </p:cNvSpPr>
              <p:nvPr/>
            </p:nvSpPr>
            <p:spPr bwMode="auto">
              <a:xfrm>
                <a:off x="414040" y="1155410"/>
                <a:ext cx="514529" cy="514328"/>
              </a:xfrm>
              <a:prstGeom prst="ellipse">
                <a:avLst/>
              </a:prstGeom>
              <a:solidFill>
                <a:srgbClr val="96C801"/>
              </a:solidFill>
              <a:ln w="25400" algn="ctr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42" name="椭圆 15"/>
              <p:cNvSpPr>
                <a:spLocks noChangeArrowheads="1"/>
              </p:cNvSpPr>
              <p:nvPr/>
            </p:nvSpPr>
            <p:spPr bwMode="auto">
              <a:xfrm>
                <a:off x="661776" y="1337964"/>
                <a:ext cx="331902" cy="331774"/>
              </a:xfrm>
              <a:prstGeom prst="ellipse">
                <a:avLst/>
              </a:prstGeom>
              <a:solidFill>
                <a:srgbClr val="7F7F7F"/>
              </a:solidFill>
              <a:ln w="38100" algn="ctr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altLang="zh-CN" sz="2000">
                    <a:solidFill>
                      <a:srgbClr val="FFFFFF"/>
                    </a:solidFill>
                    <a:latin typeface="微软雅黑" pitchFamily="34" charset="-122"/>
                    <a:ea typeface="微软雅黑" pitchFamily="34" charset="-122"/>
                  </a:rPr>
                  <a:t>2</a:t>
                </a:r>
                <a:endParaRPr lang="zh-CN" altLang="en-US" sz="200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43" name="TextBox 16"/>
              <p:cNvSpPr txBox="1">
                <a:spLocks noChangeArrowheads="1"/>
              </p:cNvSpPr>
              <p:nvPr/>
            </p:nvSpPr>
            <p:spPr bwMode="auto">
              <a:xfrm>
                <a:off x="993679" y="1222140"/>
                <a:ext cx="1634105" cy="5231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404040"/>
                    </a:solidFill>
                    <a:latin typeface="微软雅黑" pitchFamily="34" charset="-122"/>
                    <a:ea typeface="微软雅黑" pitchFamily="34" charset="-122"/>
                  </a:rPr>
                  <a:t>Scientific methods</a:t>
                </a:r>
              </a:p>
            </p:txBody>
          </p:sp>
        </p:grpSp>
        <p:grpSp>
          <p:nvGrpSpPr>
            <p:cNvPr id="38929" name="组合 17"/>
            <p:cNvGrpSpPr>
              <a:grpSpLocks/>
            </p:cNvGrpSpPr>
            <p:nvPr/>
          </p:nvGrpSpPr>
          <p:grpSpPr bwMode="auto">
            <a:xfrm>
              <a:off x="414040" y="2795070"/>
              <a:ext cx="2213744" cy="598108"/>
              <a:chOff x="414040" y="1156504"/>
              <a:chExt cx="2213744" cy="598108"/>
            </a:xfrm>
          </p:grpSpPr>
          <p:sp>
            <p:nvSpPr>
              <p:cNvPr id="38938" name="椭圆 18"/>
              <p:cNvSpPr>
                <a:spLocks noChangeArrowheads="1"/>
              </p:cNvSpPr>
              <p:nvPr/>
            </p:nvSpPr>
            <p:spPr bwMode="auto">
              <a:xfrm>
                <a:off x="414040" y="1156504"/>
                <a:ext cx="514529" cy="512741"/>
              </a:xfrm>
              <a:prstGeom prst="ellipse">
                <a:avLst/>
              </a:prstGeom>
              <a:solidFill>
                <a:srgbClr val="96C801"/>
              </a:solidFill>
              <a:ln w="25400" algn="ctr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39" name="椭圆 19"/>
              <p:cNvSpPr>
                <a:spLocks noChangeArrowheads="1"/>
              </p:cNvSpPr>
              <p:nvPr/>
            </p:nvSpPr>
            <p:spPr bwMode="auto">
              <a:xfrm>
                <a:off x="661776" y="1337471"/>
                <a:ext cx="331902" cy="331774"/>
              </a:xfrm>
              <a:prstGeom prst="ellipse">
                <a:avLst/>
              </a:prstGeom>
              <a:solidFill>
                <a:srgbClr val="7F7F7F"/>
              </a:solidFill>
              <a:ln w="38100" algn="ctr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altLang="zh-CN" sz="2000">
                    <a:solidFill>
                      <a:srgbClr val="FFFFFF"/>
                    </a:solidFill>
                    <a:latin typeface="微软雅黑" pitchFamily="34" charset="-122"/>
                    <a:ea typeface="微软雅黑" pitchFamily="34" charset="-122"/>
                  </a:rPr>
                  <a:t>3</a:t>
                </a:r>
                <a:endParaRPr lang="zh-CN" altLang="en-US" sz="200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40" name="TextBox 20"/>
              <p:cNvSpPr txBox="1">
                <a:spLocks noChangeArrowheads="1"/>
              </p:cNvSpPr>
              <p:nvPr/>
            </p:nvSpPr>
            <p:spPr bwMode="auto">
              <a:xfrm>
                <a:off x="993679" y="1231414"/>
                <a:ext cx="1634105" cy="5231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404040"/>
                    </a:solidFill>
                    <a:latin typeface="微软雅黑" pitchFamily="34" charset="-122"/>
                    <a:ea typeface="微软雅黑" pitchFamily="34" charset="-122"/>
                  </a:rPr>
                  <a:t>Standardized service</a:t>
                </a:r>
              </a:p>
            </p:txBody>
          </p:sp>
        </p:grpSp>
        <p:grpSp>
          <p:nvGrpSpPr>
            <p:cNvPr id="38930" name="组合 21"/>
            <p:cNvGrpSpPr>
              <a:grpSpLocks/>
            </p:cNvGrpSpPr>
            <p:nvPr/>
          </p:nvGrpSpPr>
          <p:grpSpPr bwMode="auto">
            <a:xfrm>
              <a:off x="414040" y="3433217"/>
              <a:ext cx="2213744" cy="516620"/>
              <a:chOff x="414040" y="1156011"/>
              <a:chExt cx="2213744" cy="516620"/>
            </a:xfrm>
          </p:grpSpPr>
          <p:sp>
            <p:nvSpPr>
              <p:cNvPr id="38935" name="椭圆 22"/>
              <p:cNvSpPr>
                <a:spLocks noChangeArrowheads="1"/>
              </p:cNvSpPr>
              <p:nvPr/>
            </p:nvSpPr>
            <p:spPr bwMode="auto">
              <a:xfrm>
                <a:off x="414040" y="1156011"/>
                <a:ext cx="514529" cy="514328"/>
              </a:xfrm>
              <a:prstGeom prst="ellipse">
                <a:avLst/>
              </a:prstGeom>
              <a:solidFill>
                <a:srgbClr val="96C801"/>
              </a:solidFill>
              <a:ln w="25400" algn="ctr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36" name="椭圆 23"/>
              <p:cNvSpPr>
                <a:spLocks noChangeArrowheads="1"/>
              </p:cNvSpPr>
              <p:nvPr/>
            </p:nvSpPr>
            <p:spPr bwMode="auto">
              <a:xfrm>
                <a:off x="661776" y="1338566"/>
                <a:ext cx="331902" cy="331773"/>
              </a:xfrm>
              <a:prstGeom prst="ellipse">
                <a:avLst/>
              </a:prstGeom>
              <a:solidFill>
                <a:srgbClr val="7F7F7F"/>
              </a:solidFill>
              <a:ln w="38100" algn="ctr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altLang="zh-CN" sz="2000">
                    <a:solidFill>
                      <a:srgbClr val="FFFFFF"/>
                    </a:solidFill>
                    <a:latin typeface="微软雅黑" pitchFamily="34" charset="-122"/>
                    <a:ea typeface="微软雅黑" pitchFamily="34" charset="-122"/>
                  </a:rPr>
                  <a:t>4</a:t>
                </a:r>
                <a:endParaRPr lang="zh-CN" altLang="en-US" sz="200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37" name="TextBox 24"/>
              <p:cNvSpPr txBox="1">
                <a:spLocks noChangeArrowheads="1"/>
              </p:cNvSpPr>
              <p:nvPr/>
            </p:nvSpPr>
            <p:spPr bwMode="auto">
              <a:xfrm>
                <a:off x="993679" y="1364867"/>
                <a:ext cx="1634105" cy="3077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404040"/>
                    </a:solidFill>
                    <a:latin typeface="微软雅黑" pitchFamily="34" charset="-122"/>
                    <a:ea typeface="微软雅黑" pitchFamily="34" charset="-122"/>
                  </a:rPr>
                  <a:t>Sound system</a:t>
                </a:r>
              </a:p>
            </p:txBody>
          </p:sp>
        </p:grpSp>
        <p:grpSp>
          <p:nvGrpSpPr>
            <p:cNvPr id="38931" name="组合 26"/>
            <p:cNvGrpSpPr>
              <a:grpSpLocks/>
            </p:cNvGrpSpPr>
            <p:nvPr/>
          </p:nvGrpSpPr>
          <p:grpSpPr bwMode="auto">
            <a:xfrm>
              <a:off x="414040" y="4071364"/>
              <a:ext cx="2213744" cy="598378"/>
              <a:chOff x="414040" y="1155518"/>
              <a:chExt cx="2213744" cy="598378"/>
            </a:xfrm>
          </p:grpSpPr>
          <p:sp>
            <p:nvSpPr>
              <p:cNvPr id="38932" name="椭圆 27"/>
              <p:cNvSpPr>
                <a:spLocks noChangeArrowheads="1"/>
              </p:cNvSpPr>
              <p:nvPr/>
            </p:nvSpPr>
            <p:spPr bwMode="auto">
              <a:xfrm>
                <a:off x="414040" y="1155518"/>
                <a:ext cx="514529" cy="514328"/>
              </a:xfrm>
              <a:prstGeom prst="ellipse">
                <a:avLst/>
              </a:prstGeom>
              <a:solidFill>
                <a:srgbClr val="96C801"/>
              </a:solidFill>
              <a:ln w="25400" algn="ctr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33" name="椭圆 28"/>
              <p:cNvSpPr>
                <a:spLocks noChangeArrowheads="1"/>
              </p:cNvSpPr>
              <p:nvPr/>
            </p:nvSpPr>
            <p:spPr bwMode="auto">
              <a:xfrm>
                <a:off x="661776" y="1338073"/>
                <a:ext cx="331902" cy="331773"/>
              </a:xfrm>
              <a:prstGeom prst="ellipse">
                <a:avLst/>
              </a:prstGeom>
              <a:solidFill>
                <a:srgbClr val="7F7F7F"/>
              </a:solidFill>
              <a:ln w="38100" algn="ctr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en-US" altLang="zh-CN" sz="2000">
                    <a:solidFill>
                      <a:srgbClr val="FFFFFF"/>
                    </a:solidFill>
                    <a:latin typeface="微软雅黑" pitchFamily="34" charset="-122"/>
                    <a:ea typeface="微软雅黑" pitchFamily="34" charset="-122"/>
                  </a:rPr>
                  <a:t>5</a:t>
                </a:r>
                <a:endParaRPr lang="zh-CN" altLang="en-US" sz="200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sp>
            <p:nvSpPr>
              <p:cNvPr id="38934" name="TextBox 29"/>
              <p:cNvSpPr txBox="1">
                <a:spLocks noChangeArrowheads="1"/>
              </p:cNvSpPr>
              <p:nvPr/>
            </p:nvSpPr>
            <p:spPr bwMode="auto">
              <a:xfrm>
                <a:off x="993679" y="1230700"/>
                <a:ext cx="1634105" cy="5231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 dirty="0">
                    <a:solidFill>
                      <a:srgbClr val="404040"/>
                    </a:solidFill>
                    <a:latin typeface="微软雅黑" pitchFamily="34" charset="-122"/>
                    <a:ea typeface="微软雅黑" pitchFamily="34" charset="-122"/>
                  </a:rPr>
                  <a:t>Continuous improvement</a:t>
                </a:r>
              </a:p>
            </p:txBody>
          </p:sp>
        </p:grpSp>
      </p:grpSp>
      <p:sp>
        <p:nvSpPr>
          <p:cNvPr id="49" name="矩形 48"/>
          <p:cNvSpPr/>
          <p:nvPr/>
        </p:nvSpPr>
        <p:spPr>
          <a:xfrm>
            <a:off x="2627784" y="2492889"/>
            <a:ext cx="53285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To be  Lab with </a:t>
            </a:r>
            <a:r>
              <a:rPr lang="en-US" altLang="zh-CN" sz="20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Trust</a:t>
            </a:r>
            <a:r>
              <a:rPr lang="en-US" altLang="zh-CN" sz="20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, </a:t>
            </a:r>
            <a:r>
              <a:rPr lang="en-US" altLang="zh-CN" sz="20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Respect</a:t>
            </a:r>
            <a:r>
              <a:rPr lang="en-US" altLang="zh-CN" sz="20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 for client.</a:t>
            </a:r>
            <a:endParaRPr lang="zh-CN" altLang="en-US" sz="20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3275856" y="3449816"/>
            <a:ext cx="19442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Quality Service</a:t>
            </a:r>
            <a:endParaRPr lang="zh-CN" altLang="en-US" sz="16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5296009" y="3475663"/>
            <a:ext cx="222439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Professional  level</a:t>
            </a:r>
            <a:endParaRPr lang="zh-CN" altLang="en-US" sz="16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4" name="直接连接符 53"/>
          <p:cNvCxnSpPr/>
          <p:nvPr/>
        </p:nvCxnSpPr>
        <p:spPr>
          <a:xfrm flipH="1">
            <a:off x="4191000" y="2857500"/>
            <a:ext cx="813048" cy="546100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65000"/>
                <a:lumOff val="35000"/>
              </a:schemeClr>
            </a:solidFill>
            <a:prstDash val="sysDot"/>
            <a:headEnd type="oval"/>
            <a:tailEnd type="oval" w="med" len="med"/>
          </a:ln>
          <a:effectLst/>
        </p:spPr>
      </p:cxnSp>
      <p:cxnSp>
        <p:nvCxnSpPr>
          <p:cNvPr id="57" name="直接连接符 56"/>
          <p:cNvCxnSpPr/>
          <p:nvPr/>
        </p:nvCxnSpPr>
        <p:spPr>
          <a:xfrm>
            <a:off x="6012160" y="2857500"/>
            <a:ext cx="333078" cy="509588"/>
          </a:xfrm>
          <a:prstGeom prst="line">
            <a:avLst/>
          </a:prstGeom>
          <a:noFill/>
          <a:ln w="6350" cap="flat" cmpd="sng" algn="ctr">
            <a:solidFill>
              <a:schemeClr val="tx1">
                <a:lumMod val="65000"/>
                <a:lumOff val="35000"/>
              </a:schemeClr>
            </a:solidFill>
            <a:prstDash val="sysDot"/>
            <a:headEnd type="oval"/>
            <a:tailEnd type="oval" w="med" len="med"/>
          </a:ln>
          <a:effectLst/>
        </p:spPr>
      </p:cxnSp>
      <p:cxnSp>
        <p:nvCxnSpPr>
          <p:cNvPr id="59" name="直接连接符 58"/>
          <p:cNvCxnSpPr/>
          <p:nvPr/>
        </p:nvCxnSpPr>
        <p:spPr>
          <a:xfrm flipH="1">
            <a:off x="3363913" y="3403600"/>
            <a:ext cx="165576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/>
          <p:cNvCxnSpPr/>
          <p:nvPr/>
        </p:nvCxnSpPr>
        <p:spPr>
          <a:xfrm flipH="1">
            <a:off x="5580063" y="3402013"/>
            <a:ext cx="165576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ll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矩形 46"/>
          <p:cNvSpPr>
            <a:spLocks noChangeArrowheads="1"/>
          </p:cNvSpPr>
          <p:nvPr/>
        </p:nvSpPr>
        <p:spPr bwMode="auto">
          <a:xfrm>
            <a:off x="0" y="1690688"/>
            <a:ext cx="9144000" cy="2895600"/>
          </a:xfrm>
          <a:prstGeom prst="rect">
            <a:avLst/>
          </a:prstGeom>
          <a:solidFill>
            <a:srgbClr val="FFFFFF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任意多边形 47"/>
          <p:cNvSpPr/>
          <p:nvPr/>
        </p:nvSpPr>
        <p:spPr>
          <a:xfrm>
            <a:off x="-12700" y="1039813"/>
            <a:ext cx="9156700" cy="965200"/>
          </a:xfrm>
          <a:custGeom>
            <a:avLst/>
            <a:gdLst>
              <a:gd name="connsiteX0" fmla="*/ 0 w 9169400"/>
              <a:gd name="connsiteY0" fmla="*/ 266700 h 965200"/>
              <a:gd name="connsiteX1" fmla="*/ 2946400 w 9169400"/>
              <a:gd name="connsiteY1" fmla="*/ 266700 h 965200"/>
              <a:gd name="connsiteX2" fmla="*/ 3213100 w 9169400"/>
              <a:gd name="connsiteY2" fmla="*/ 0 h 965200"/>
              <a:gd name="connsiteX3" fmla="*/ 3594100 w 9169400"/>
              <a:gd name="connsiteY3" fmla="*/ 381000 h 965200"/>
              <a:gd name="connsiteX4" fmla="*/ 9169400 w 9169400"/>
              <a:gd name="connsiteY4" fmla="*/ 381000 h 965200"/>
              <a:gd name="connsiteX5" fmla="*/ 9169400 w 9169400"/>
              <a:gd name="connsiteY5" fmla="*/ 965200 h 965200"/>
              <a:gd name="connsiteX6" fmla="*/ 12700 w 9169400"/>
              <a:gd name="connsiteY6" fmla="*/ 965200 h 965200"/>
              <a:gd name="connsiteX7" fmla="*/ 12700 w 9169400"/>
              <a:gd name="connsiteY7" fmla="*/ 266700 h 9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69400" h="965200">
                <a:moveTo>
                  <a:pt x="0" y="266700"/>
                </a:moveTo>
                <a:lnTo>
                  <a:pt x="2946400" y="266700"/>
                </a:lnTo>
                <a:lnTo>
                  <a:pt x="3213100" y="0"/>
                </a:lnTo>
                <a:lnTo>
                  <a:pt x="3594100" y="381000"/>
                </a:lnTo>
                <a:lnTo>
                  <a:pt x="9169400" y="381000"/>
                </a:lnTo>
                <a:lnTo>
                  <a:pt x="9169400" y="965200"/>
                </a:lnTo>
                <a:lnTo>
                  <a:pt x="12700" y="965200"/>
                </a:lnTo>
                <a:lnTo>
                  <a:pt x="12700" y="266700"/>
                </a:lnTo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Tahoma"/>
              <a:ea typeface="微软雅黑"/>
            </a:endParaRPr>
          </a:p>
        </p:txBody>
      </p:sp>
      <p:sp>
        <p:nvSpPr>
          <p:cNvPr id="50" name="矩形 49"/>
          <p:cNvSpPr/>
          <p:nvPr/>
        </p:nvSpPr>
        <p:spPr>
          <a:xfrm>
            <a:off x="0" y="4510088"/>
            <a:ext cx="9144000" cy="7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  <a:latin typeface="MS PGothic" pitchFamily="34" charset="-128"/>
            </a:endParaRPr>
          </a:p>
        </p:txBody>
      </p:sp>
      <p:sp>
        <p:nvSpPr>
          <p:cNvPr id="52" name="任意多边形 51"/>
          <p:cNvSpPr/>
          <p:nvPr/>
        </p:nvSpPr>
        <p:spPr>
          <a:xfrm>
            <a:off x="2909888" y="1130300"/>
            <a:ext cx="581025" cy="295275"/>
          </a:xfrm>
          <a:custGeom>
            <a:avLst/>
            <a:gdLst>
              <a:gd name="connsiteX0" fmla="*/ 266700 w 561975"/>
              <a:gd name="connsiteY0" fmla="*/ 0 h 295275"/>
              <a:gd name="connsiteX1" fmla="*/ 561975 w 561975"/>
              <a:gd name="connsiteY1" fmla="*/ 295275 h 295275"/>
              <a:gd name="connsiteX2" fmla="*/ 0 w 561975"/>
              <a:gd name="connsiteY2" fmla="*/ 295275 h 295275"/>
              <a:gd name="connsiteX3" fmla="*/ 266700 w 561975"/>
              <a:gd name="connsiteY3" fmla="*/ 0 h 295275"/>
              <a:gd name="connsiteX0" fmla="*/ 285750 w 581025"/>
              <a:gd name="connsiteY0" fmla="*/ 0 h 295275"/>
              <a:gd name="connsiteX1" fmla="*/ 581025 w 581025"/>
              <a:gd name="connsiteY1" fmla="*/ 295275 h 295275"/>
              <a:gd name="connsiteX2" fmla="*/ 0 w 581025"/>
              <a:gd name="connsiteY2" fmla="*/ 295275 h 295275"/>
              <a:gd name="connsiteX3" fmla="*/ 285750 w 581025"/>
              <a:gd name="connsiteY3" fmla="*/ 0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025" h="295275">
                <a:moveTo>
                  <a:pt x="285750" y="0"/>
                </a:moveTo>
                <a:lnTo>
                  <a:pt x="581025" y="295275"/>
                </a:lnTo>
                <a:lnTo>
                  <a:pt x="0" y="295275"/>
                </a:lnTo>
                <a:lnTo>
                  <a:pt x="285750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prstClr val="white"/>
              </a:solidFill>
              <a:latin typeface="Tahoma"/>
              <a:ea typeface="微软雅黑"/>
            </a:endParaRPr>
          </a:p>
        </p:txBody>
      </p:sp>
      <p:sp>
        <p:nvSpPr>
          <p:cNvPr id="40965" name="矩形 59"/>
          <p:cNvSpPr>
            <a:spLocks noChangeArrowheads="1"/>
          </p:cNvSpPr>
          <p:nvPr/>
        </p:nvSpPr>
        <p:spPr bwMode="auto">
          <a:xfrm>
            <a:off x="3265488" y="2219325"/>
            <a:ext cx="28023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021-58205887-104/18601667987 </a:t>
            </a:r>
          </a:p>
        </p:txBody>
      </p:sp>
      <p:sp>
        <p:nvSpPr>
          <p:cNvPr id="63" name="矩形 62"/>
          <p:cNvSpPr/>
          <p:nvPr/>
        </p:nvSpPr>
        <p:spPr>
          <a:xfrm>
            <a:off x="2868613" y="3144838"/>
            <a:ext cx="396875" cy="3952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2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0967" name="矩形 64"/>
          <p:cNvSpPr>
            <a:spLocks noChangeArrowheads="1"/>
          </p:cNvSpPr>
          <p:nvPr/>
        </p:nvSpPr>
        <p:spPr bwMode="auto">
          <a:xfrm>
            <a:off x="3265488" y="2703513"/>
            <a:ext cx="129234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021-34293305</a:t>
            </a:r>
          </a:p>
        </p:txBody>
      </p:sp>
      <p:sp>
        <p:nvSpPr>
          <p:cNvPr id="67" name="矩形 66"/>
          <p:cNvSpPr/>
          <p:nvPr/>
        </p:nvSpPr>
        <p:spPr>
          <a:xfrm>
            <a:off x="2868613" y="3629025"/>
            <a:ext cx="396875" cy="39528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2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9" name="图片 68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895693" y="3655844"/>
            <a:ext cx="342068" cy="342068"/>
          </a:xfrm>
          <a:prstGeom prst="rect">
            <a:avLst/>
          </a:prstGeom>
        </p:spPr>
      </p:pic>
      <p:sp>
        <p:nvSpPr>
          <p:cNvPr id="40970" name="矩形 69"/>
          <p:cNvSpPr>
            <a:spLocks noChangeArrowheads="1"/>
          </p:cNvSpPr>
          <p:nvPr/>
        </p:nvSpPr>
        <p:spPr bwMode="auto">
          <a:xfrm>
            <a:off x="3265488" y="3673475"/>
            <a:ext cx="54061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No.609, Ziri Road, Zizhu Science Park, Minhang District, Shanghai</a:t>
            </a:r>
          </a:p>
        </p:txBody>
      </p:sp>
      <p:sp>
        <p:nvSpPr>
          <p:cNvPr id="72" name="矩形 71"/>
          <p:cNvSpPr/>
          <p:nvPr/>
        </p:nvSpPr>
        <p:spPr>
          <a:xfrm>
            <a:off x="2868613" y="4113213"/>
            <a:ext cx="396875" cy="3968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2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73" name="图片 72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bg1">
                <a:lumMod val="85000"/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893632" y="4138397"/>
            <a:ext cx="346191" cy="346191"/>
          </a:xfrm>
          <a:prstGeom prst="rect">
            <a:avLst/>
          </a:prstGeom>
        </p:spPr>
      </p:pic>
      <p:sp>
        <p:nvSpPr>
          <p:cNvPr id="40973" name="矩形 73"/>
          <p:cNvSpPr>
            <a:spLocks noChangeArrowheads="1"/>
          </p:cNvSpPr>
          <p:nvPr/>
        </p:nvSpPr>
        <p:spPr bwMode="auto">
          <a:xfrm>
            <a:off x="3265488" y="4157663"/>
            <a:ext cx="2448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http://www.sh-denkei-rnd.cn</a:t>
            </a:r>
          </a:p>
        </p:txBody>
      </p:sp>
      <p:sp>
        <p:nvSpPr>
          <p:cNvPr id="75" name="圆角矩形 74"/>
          <p:cNvSpPr/>
          <p:nvPr/>
        </p:nvSpPr>
        <p:spPr>
          <a:xfrm>
            <a:off x="0" y="2085974"/>
            <a:ext cx="2868613" cy="2212975"/>
          </a:xfrm>
          <a:prstGeom prst="roundRect">
            <a:avLst>
              <a:gd name="adj" fmla="val 5783"/>
            </a:avLst>
          </a:prstGeom>
          <a:solidFill>
            <a:schemeClr val="tx1">
              <a:lumMod val="50000"/>
              <a:lumOff val="50000"/>
            </a:schemeClr>
          </a:solidFill>
        </p:spPr>
        <p:txBody>
          <a:bodyPr wrap="none" anchor="ctr"/>
          <a:lstStyle/>
          <a:p>
            <a:pPr algn="ctr">
              <a:defRPr/>
            </a:pPr>
            <a:r>
              <a:rPr lang="en-US" altLang="zh-CN" sz="3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Contact</a:t>
            </a:r>
          </a:p>
        </p:txBody>
      </p:sp>
      <p:sp>
        <p:nvSpPr>
          <p:cNvPr id="78" name="矩形 77"/>
          <p:cNvSpPr/>
          <p:nvPr/>
        </p:nvSpPr>
        <p:spPr>
          <a:xfrm>
            <a:off x="2868613" y="1690688"/>
            <a:ext cx="396875" cy="39528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120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40976" name="组合 5"/>
          <p:cNvGrpSpPr>
            <a:grpSpLocks/>
          </p:cNvGrpSpPr>
          <p:nvPr/>
        </p:nvGrpSpPr>
        <p:grpSpPr bwMode="auto">
          <a:xfrm>
            <a:off x="2868613" y="2174875"/>
            <a:ext cx="396875" cy="396875"/>
            <a:chOff x="2868727" y="2175030"/>
            <a:chExt cx="396000" cy="396000"/>
          </a:xfrm>
        </p:grpSpPr>
        <p:sp>
          <p:nvSpPr>
            <p:cNvPr id="79" name="矩形 78"/>
            <p:cNvSpPr/>
            <p:nvPr/>
          </p:nvSpPr>
          <p:spPr>
            <a:xfrm>
              <a:off x="2868727" y="2175030"/>
              <a:ext cx="396000" cy="396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zh-CN" altLang="en-US" sz="12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58" name="图片 57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bg1">
                  <a:lumMod val="85000"/>
                  <a:tint val="45000"/>
                  <a:satMod val="400000"/>
                </a:schemeClr>
              </a:duotone>
              <a:extLst/>
            </a:blip>
            <a:stretch>
              <a:fillRect/>
            </a:stretch>
          </p:blipFill>
          <p:spPr>
            <a:xfrm>
              <a:off x="2892066" y="2198369"/>
              <a:ext cx="349323" cy="349323"/>
            </a:xfrm>
            <a:prstGeom prst="rect">
              <a:avLst/>
            </a:prstGeom>
            <a:noFill/>
          </p:spPr>
        </p:pic>
      </p:grpSp>
      <p:grpSp>
        <p:nvGrpSpPr>
          <p:cNvPr id="40977" name="组合 6"/>
          <p:cNvGrpSpPr>
            <a:grpSpLocks/>
          </p:cNvGrpSpPr>
          <p:nvPr/>
        </p:nvGrpSpPr>
        <p:grpSpPr bwMode="auto">
          <a:xfrm>
            <a:off x="2868613" y="2659063"/>
            <a:ext cx="396875" cy="396875"/>
            <a:chOff x="2868727" y="2659646"/>
            <a:chExt cx="396000" cy="396000"/>
          </a:xfrm>
        </p:grpSpPr>
        <p:sp>
          <p:nvSpPr>
            <p:cNvPr id="56" name="矩形 55"/>
            <p:cNvSpPr/>
            <p:nvPr/>
          </p:nvSpPr>
          <p:spPr>
            <a:xfrm>
              <a:off x="2868727" y="2659646"/>
              <a:ext cx="396000" cy="396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zh-CN" altLang="en-US" sz="120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64" name="图片 63"/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bg1">
                  <a:lumMod val="85000"/>
                  <a:tint val="45000"/>
                  <a:satMod val="400000"/>
                </a:schemeClr>
              </a:duotone>
              <a:extLst/>
            </a:blip>
            <a:stretch>
              <a:fillRect/>
            </a:stretch>
          </p:blipFill>
          <p:spPr>
            <a:xfrm>
              <a:off x="2891527" y="2682446"/>
              <a:ext cx="350400" cy="350400"/>
            </a:xfrm>
            <a:prstGeom prst="rect">
              <a:avLst/>
            </a:prstGeom>
            <a:noFill/>
          </p:spPr>
        </p:pic>
      </p:grpSp>
      <p:pic>
        <p:nvPicPr>
          <p:cNvPr id="80" name="图片 79"/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2884365" y="3159900"/>
            <a:ext cx="364724" cy="364724"/>
          </a:xfrm>
          <a:prstGeom prst="rect">
            <a:avLst/>
          </a:prstGeom>
        </p:spPr>
      </p:pic>
      <p:sp>
        <p:nvSpPr>
          <p:cNvPr id="40979" name="矩形 80"/>
          <p:cNvSpPr>
            <a:spLocks noChangeArrowheads="1"/>
          </p:cNvSpPr>
          <p:nvPr/>
        </p:nvSpPr>
        <p:spPr bwMode="auto">
          <a:xfrm>
            <a:off x="3265488" y="3187700"/>
            <a:ext cx="21470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Denkei_rnd@</a:t>
            </a:r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c-denkei.cn </a:t>
            </a:r>
          </a:p>
        </p:txBody>
      </p:sp>
      <p:pic>
        <p:nvPicPr>
          <p:cNvPr id="82" name="图片 81"/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2887491" y="1709178"/>
            <a:ext cx="358473" cy="358473"/>
          </a:xfrm>
          <a:prstGeom prst="rect">
            <a:avLst/>
          </a:prstGeom>
        </p:spPr>
      </p:pic>
      <p:sp>
        <p:nvSpPr>
          <p:cNvPr id="40981" name="矩形 82"/>
          <p:cNvSpPr>
            <a:spLocks noChangeArrowheads="1"/>
          </p:cNvSpPr>
          <p:nvPr/>
        </p:nvSpPr>
        <p:spPr bwMode="auto">
          <a:xfrm>
            <a:off x="3265488" y="1709738"/>
            <a:ext cx="108523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200" b="1" dirty="0">
                <a:solidFill>
                  <a:srgbClr val="0070C0"/>
                </a:solidFill>
                <a:latin typeface="微软雅黑" pitchFamily="34" charset="-122"/>
                <a:ea typeface="微软雅黑" pitchFamily="34" charset="-122"/>
              </a:rPr>
              <a:t>Guo Fei Fan</a:t>
            </a: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864" y="1432696"/>
            <a:ext cx="1349282" cy="552963"/>
          </a:xfrm>
          <a:prstGeom prst="rect">
            <a:avLst/>
          </a:prstGeom>
        </p:spPr>
      </p:pic>
    </p:spTree>
  </p:cSld>
  <p:clrMapOvr>
    <a:masterClrMapping/>
  </p:clrMapOvr>
  <p:transition spd="slow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66514" y="769268"/>
            <a:ext cx="5949376" cy="4682246"/>
            <a:chOff x="2757302" y="221576"/>
            <a:chExt cx="5949376" cy="4682246"/>
          </a:xfrm>
          <a:solidFill>
            <a:srgbClr val="00B0F0">
              <a:alpha val="80000"/>
            </a:srgbClr>
          </a:solidFill>
        </p:grpSpPr>
        <p:sp>
          <p:nvSpPr>
            <p:cNvPr id="5" name="Freeform 2"/>
            <p:cNvSpPr>
              <a:spLocks/>
            </p:cNvSpPr>
            <p:nvPr/>
          </p:nvSpPr>
          <p:spPr bwMode="auto">
            <a:xfrm>
              <a:off x="7355335" y="221576"/>
              <a:ext cx="1351343" cy="1163467"/>
            </a:xfrm>
            <a:custGeom>
              <a:avLst/>
              <a:gdLst/>
              <a:ahLst/>
              <a:cxnLst>
                <a:cxn ang="0">
                  <a:pos x="272" y="616"/>
                </a:cxn>
                <a:cxn ang="0">
                  <a:pos x="322" y="672"/>
                </a:cxn>
                <a:cxn ang="0">
                  <a:pos x="359" y="664"/>
                </a:cxn>
                <a:cxn ang="0">
                  <a:pos x="414" y="667"/>
                </a:cxn>
                <a:cxn ang="0">
                  <a:pos x="464" y="655"/>
                </a:cxn>
                <a:cxn ang="0">
                  <a:pos x="502" y="699"/>
                </a:cxn>
                <a:cxn ang="0">
                  <a:pos x="532" y="711"/>
                </a:cxn>
                <a:cxn ang="0">
                  <a:pos x="568" y="730"/>
                </a:cxn>
                <a:cxn ang="0">
                  <a:pos x="576" y="687"/>
                </a:cxn>
                <a:cxn ang="0">
                  <a:pos x="619" y="733"/>
                </a:cxn>
                <a:cxn ang="0">
                  <a:pos x="653" y="753"/>
                </a:cxn>
                <a:cxn ang="0">
                  <a:pos x="691" y="711"/>
                </a:cxn>
                <a:cxn ang="0">
                  <a:pos x="715" y="706"/>
                </a:cxn>
                <a:cxn ang="0">
                  <a:pos x="754" y="730"/>
                </a:cxn>
                <a:cxn ang="0">
                  <a:pos x="791" y="730"/>
                </a:cxn>
                <a:cxn ang="0">
                  <a:pos x="774" y="672"/>
                </a:cxn>
                <a:cxn ang="0">
                  <a:pos x="762" y="601"/>
                </a:cxn>
                <a:cxn ang="0">
                  <a:pos x="845" y="570"/>
                </a:cxn>
                <a:cxn ang="0">
                  <a:pos x="854" y="535"/>
                </a:cxn>
                <a:cxn ang="0">
                  <a:pos x="867" y="496"/>
                </a:cxn>
                <a:cxn ang="0">
                  <a:pos x="870" y="359"/>
                </a:cxn>
                <a:cxn ang="0">
                  <a:pos x="867" y="296"/>
                </a:cxn>
                <a:cxn ang="0">
                  <a:pos x="862" y="269"/>
                </a:cxn>
                <a:cxn ang="0">
                  <a:pos x="804" y="308"/>
                </a:cxn>
                <a:cxn ang="0">
                  <a:pos x="744" y="362"/>
                </a:cxn>
                <a:cxn ang="0">
                  <a:pos x="636" y="362"/>
                </a:cxn>
                <a:cxn ang="0">
                  <a:pos x="623" y="323"/>
                </a:cxn>
                <a:cxn ang="0">
                  <a:pos x="587" y="296"/>
                </a:cxn>
                <a:cxn ang="0">
                  <a:pos x="514" y="281"/>
                </a:cxn>
                <a:cxn ang="0">
                  <a:pos x="456" y="273"/>
                </a:cxn>
                <a:cxn ang="0">
                  <a:pos x="409" y="242"/>
                </a:cxn>
                <a:cxn ang="0">
                  <a:pos x="385" y="203"/>
                </a:cxn>
                <a:cxn ang="0">
                  <a:pos x="346" y="159"/>
                </a:cxn>
                <a:cxn ang="0">
                  <a:pos x="304" y="93"/>
                </a:cxn>
                <a:cxn ang="0">
                  <a:pos x="259" y="27"/>
                </a:cxn>
                <a:cxn ang="0">
                  <a:pos x="179" y="15"/>
                </a:cxn>
                <a:cxn ang="0">
                  <a:pos x="94" y="0"/>
                </a:cxn>
                <a:cxn ang="0">
                  <a:pos x="3" y="39"/>
                </a:cxn>
                <a:cxn ang="0">
                  <a:pos x="0" y="109"/>
                </a:cxn>
                <a:cxn ang="0">
                  <a:pos x="42" y="132"/>
                </a:cxn>
                <a:cxn ang="0">
                  <a:pos x="91" y="125"/>
                </a:cxn>
                <a:cxn ang="0">
                  <a:pos x="99" y="171"/>
                </a:cxn>
                <a:cxn ang="0">
                  <a:pos x="162" y="199"/>
                </a:cxn>
                <a:cxn ang="0">
                  <a:pos x="196" y="183"/>
                </a:cxn>
                <a:cxn ang="0">
                  <a:pos x="304" y="187"/>
                </a:cxn>
                <a:cxn ang="0">
                  <a:pos x="288" y="320"/>
                </a:cxn>
                <a:cxn ang="0">
                  <a:pos x="272" y="359"/>
                </a:cxn>
                <a:cxn ang="0">
                  <a:pos x="267" y="445"/>
                </a:cxn>
                <a:cxn ang="0">
                  <a:pos x="242" y="425"/>
                </a:cxn>
                <a:cxn ang="0">
                  <a:pos x="188" y="503"/>
                </a:cxn>
                <a:cxn ang="0">
                  <a:pos x="167" y="543"/>
                </a:cxn>
                <a:cxn ang="0">
                  <a:pos x="242" y="566"/>
                </a:cxn>
                <a:cxn ang="0">
                  <a:pos x="242" y="582"/>
                </a:cxn>
                <a:cxn ang="0">
                  <a:pos x="212" y="613"/>
                </a:cxn>
              </a:cxnLst>
              <a:rect l="0" t="0" r="r" b="b"/>
              <a:pathLst>
                <a:path w="889" h="754">
                  <a:moveTo>
                    <a:pt x="225" y="625"/>
                  </a:moveTo>
                  <a:lnTo>
                    <a:pt x="272" y="616"/>
                  </a:lnTo>
                  <a:lnTo>
                    <a:pt x="292" y="652"/>
                  </a:lnTo>
                  <a:lnTo>
                    <a:pt x="322" y="672"/>
                  </a:lnTo>
                  <a:lnTo>
                    <a:pt x="343" y="664"/>
                  </a:lnTo>
                  <a:lnTo>
                    <a:pt x="359" y="664"/>
                  </a:lnTo>
                  <a:lnTo>
                    <a:pt x="389" y="648"/>
                  </a:lnTo>
                  <a:lnTo>
                    <a:pt x="414" y="667"/>
                  </a:lnTo>
                  <a:lnTo>
                    <a:pt x="426" y="672"/>
                  </a:lnTo>
                  <a:lnTo>
                    <a:pt x="464" y="655"/>
                  </a:lnTo>
                  <a:lnTo>
                    <a:pt x="489" y="672"/>
                  </a:lnTo>
                  <a:lnTo>
                    <a:pt x="502" y="699"/>
                  </a:lnTo>
                  <a:lnTo>
                    <a:pt x="524" y="699"/>
                  </a:lnTo>
                  <a:lnTo>
                    <a:pt x="532" y="711"/>
                  </a:lnTo>
                  <a:lnTo>
                    <a:pt x="560" y="738"/>
                  </a:lnTo>
                  <a:lnTo>
                    <a:pt x="568" y="730"/>
                  </a:lnTo>
                  <a:lnTo>
                    <a:pt x="565" y="699"/>
                  </a:lnTo>
                  <a:lnTo>
                    <a:pt x="576" y="687"/>
                  </a:lnTo>
                  <a:lnTo>
                    <a:pt x="598" y="726"/>
                  </a:lnTo>
                  <a:lnTo>
                    <a:pt x="619" y="733"/>
                  </a:lnTo>
                  <a:lnTo>
                    <a:pt x="636" y="753"/>
                  </a:lnTo>
                  <a:lnTo>
                    <a:pt x="653" y="753"/>
                  </a:lnTo>
                  <a:lnTo>
                    <a:pt x="657" y="742"/>
                  </a:lnTo>
                  <a:lnTo>
                    <a:pt x="691" y="711"/>
                  </a:lnTo>
                  <a:lnTo>
                    <a:pt x="702" y="718"/>
                  </a:lnTo>
                  <a:lnTo>
                    <a:pt x="715" y="706"/>
                  </a:lnTo>
                  <a:lnTo>
                    <a:pt x="724" y="723"/>
                  </a:lnTo>
                  <a:lnTo>
                    <a:pt x="754" y="730"/>
                  </a:lnTo>
                  <a:lnTo>
                    <a:pt x="774" y="730"/>
                  </a:lnTo>
                  <a:lnTo>
                    <a:pt x="791" y="730"/>
                  </a:lnTo>
                  <a:lnTo>
                    <a:pt x="778" y="718"/>
                  </a:lnTo>
                  <a:lnTo>
                    <a:pt x="774" y="672"/>
                  </a:lnTo>
                  <a:lnTo>
                    <a:pt x="741" y="621"/>
                  </a:lnTo>
                  <a:lnTo>
                    <a:pt x="762" y="601"/>
                  </a:lnTo>
                  <a:lnTo>
                    <a:pt x="778" y="570"/>
                  </a:lnTo>
                  <a:lnTo>
                    <a:pt x="845" y="570"/>
                  </a:lnTo>
                  <a:lnTo>
                    <a:pt x="859" y="558"/>
                  </a:lnTo>
                  <a:lnTo>
                    <a:pt x="854" y="535"/>
                  </a:lnTo>
                  <a:lnTo>
                    <a:pt x="870" y="511"/>
                  </a:lnTo>
                  <a:lnTo>
                    <a:pt x="867" y="496"/>
                  </a:lnTo>
                  <a:lnTo>
                    <a:pt x="870" y="476"/>
                  </a:lnTo>
                  <a:lnTo>
                    <a:pt x="870" y="359"/>
                  </a:lnTo>
                  <a:lnTo>
                    <a:pt x="888" y="320"/>
                  </a:lnTo>
                  <a:lnTo>
                    <a:pt x="867" y="296"/>
                  </a:lnTo>
                  <a:lnTo>
                    <a:pt x="870" y="281"/>
                  </a:lnTo>
                  <a:lnTo>
                    <a:pt x="862" y="269"/>
                  </a:lnTo>
                  <a:lnTo>
                    <a:pt x="833" y="277"/>
                  </a:lnTo>
                  <a:lnTo>
                    <a:pt x="804" y="308"/>
                  </a:lnTo>
                  <a:lnTo>
                    <a:pt x="774" y="323"/>
                  </a:lnTo>
                  <a:lnTo>
                    <a:pt x="744" y="362"/>
                  </a:lnTo>
                  <a:lnTo>
                    <a:pt x="670" y="386"/>
                  </a:lnTo>
                  <a:lnTo>
                    <a:pt x="636" y="362"/>
                  </a:lnTo>
                  <a:lnTo>
                    <a:pt x="639" y="347"/>
                  </a:lnTo>
                  <a:lnTo>
                    <a:pt x="623" y="323"/>
                  </a:lnTo>
                  <a:lnTo>
                    <a:pt x="615" y="296"/>
                  </a:lnTo>
                  <a:lnTo>
                    <a:pt x="587" y="296"/>
                  </a:lnTo>
                  <a:lnTo>
                    <a:pt x="535" y="273"/>
                  </a:lnTo>
                  <a:lnTo>
                    <a:pt x="514" y="281"/>
                  </a:lnTo>
                  <a:lnTo>
                    <a:pt x="489" y="269"/>
                  </a:lnTo>
                  <a:lnTo>
                    <a:pt x="456" y="273"/>
                  </a:lnTo>
                  <a:lnTo>
                    <a:pt x="426" y="265"/>
                  </a:lnTo>
                  <a:lnTo>
                    <a:pt x="409" y="242"/>
                  </a:lnTo>
                  <a:lnTo>
                    <a:pt x="389" y="222"/>
                  </a:lnTo>
                  <a:lnTo>
                    <a:pt x="385" y="203"/>
                  </a:lnTo>
                  <a:lnTo>
                    <a:pt x="359" y="179"/>
                  </a:lnTo>
                  <a:lnTo>
                    <a:pt x="346" y="159"/>
                  </a:lnTo>
                  <a:lnTo>
                    <a:pt x="314" y="117"/>
                  </a:lnTo>
                  <a:lnTo>
                    <a:pt x="304" y="93"/>
                  </a:lnTo>
                  <a:lnTo>
                    <a:pt x="267" y="50"/>
                  </a:lnTo>
                  <a:lnTo>
                    <a:pt x="259" y="27"/>
                  </a:lnTo>
                  <a:lnTo>
                    <a:pt x="212" y="8"/>
                  </a:lnTo>
                  <a:lnTo>
                    <a:pt x="179" y="15"/>
                  </a:lnTo>
                  <a:lnTo>
                    <a:pt x="154" y="11"/>
                  </a:lnTo>
                  <a:lnTo>
                    <a:pt x="94" y="0"/>
                  </a:lnTo>
                  <a:lnTo>
                    <a:pt x="20" y="27"/>
                  </a:lnTo>
                  <a:lnTo>
                    <a:pt x="3" y="39"/>
                  </a:lnTo>
                  <a:lnTo>
                    <a:pt x="20" y="59"/>
                  </a:lnTo>
                  <a:lnTo>
                    <a:pt x="0" y="109"/>
                  </a:lnTo>
                  <a:lnTo>
                    <a:pt x="8" y="113"/>
                  </a:lnTo>
                  <a:lnTo>
                    <a:pt x="42" y="132"/>
                  </a:lnTo>
                  <a:lnTo>
                    <a:pt x="58" y="105"/>
                  </a:lnTo>
                  <a:lnTo>
                    <a:pt x="91" y="125"/>
                  </a:lnTo>
                  <a:lnTo>
                    <a:pt x="86" y="137"/>
                  </a:lnTo>
                  <a:lnTo>
                    <a:pt x="99" y="171"/>
                  </a:lnTo>
                  <a:lnTo>
                    <a:pt x="121" y="191"/>
                  </a:lnTo>
                  <a:lnTo>
                    <a:pt x="162" y="199"/>
                  </a:lnTo>
                  <a:lnTo>
                    <a:pt x="171" y="187"/>
                  </a:lnTo>
                  <a:lnTo>
                    <a:pt x="196" y="183"/>
                  </a:lnTo>
                  <a:lnTo>
                    <a:pt x="242" y="148"/>
                  </a:lnTo>
                  <a:lnTo>
                    <a:pt x="304" y="187"/>
                  </a:lnTo>
                  <a:lnTo>
                    <a:pt x="283" y="265"/>
                  </a:lnTo>
                  <a:lnTo>
                    <a:pt x="288" y="320"/>
                  </a:lnTo>
                  <a:lnTo>
                    <a:pt x="288" y="352"/>
                  </a:lnTo>
                  <a:lnTo>
                    <a:pt x="272" y="359"/>
                  </a:lnTo>
                  <a:lnTo>
                    <a:pt x="272" y="449"/>
                  </a:lnTo>
                  <a:lnTo>
                    <a:pt x="267" y="445"/>
                  </a:lnTo>
                  <a:lnTo>
                    <a:pt x="251" y="425"/>
                  </a:lnTo>
                  <a:lnTo>
                    <a:pt x="242" y="425"/>
                  </a:lnTo>
                  <a:lnTo>
                    <a:pt x="238" y="433"/>
                  </a:lnTo>
                  <a:lnTo>
                    <a:pt x="188" y="503"/>
                  </a:lnTo>
                  <a:lnTo>
                    <a:pt x="162" y="531"/>
                  </a:lnTo>
                  <a:lnTo>
                    <a:pt x="167" y="543"/>
                  </a:lnTo>
                  <a:lnTo>
                    <a:pt x="217" y="574"/>
                  </a:lnTo>
                  <a:lnTo>
                    <a:pt x="242" y="566"/>
                  </a:lnTo>
                  <a:lnTo>
                    <a:pt x="247" y="574"/>
                  </a:lnTo>
                  <a:lnTo>
                    <a:pt x="242" y="582"/>
                  </a:lnTo>
                  <a:lnTo>
                    <a:pt x="217" y="594"/>
                  </a:lnTo>
                  <a:lnTo>
                    <a:pt x="212" y="613"/>
                  </a:lnTo>
                  <a:lnTo>
                    <a:pt x="225" y="625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6" name="Freeform 3"/>
            <p:cNvSpPr>
              <a:spLocks/>
            </p:cNvSpPr>
            <p:nvPr/>
          </p:nvSpPr>
          <p:spPr bwMode="auto">
            <a:xfrm>
              <a:off x="7401063" y="1528508"/>
              <a:ext cx="690651" cy="621147"/>
            </a:xfrm>
            <a:custGeom>
              <a:avLst/>
              <a:gdLst/>
              <a:ahLst/>
              <a:cxnLst>
                <a:cxn ang="0">
                  <a:pos x="372" y="281"/>
                </a:cxn>
                <a:cxn ang="0">
                  <a:pos x="424" y="215"/>
                </a:cxn>
                <a:cxn ang="0">
                  <a:pos x="453" y="183"/>
                </a:cxn>
                <a:cxn ang="0">
                  <a:pos x="448" y="152"/>
                </a:cxn>
                <a:cxn ang="0">
                  <a:pos x="414" y="117"/>
                </a:cxn>
                <a:cxn ang="0">
                  <a:pos x="410" y="90"/>
                </a:cxn>
                <a:cxn ang="0">
                  <a:pos x="351" y="15"/>
                </a:cxn>
                <a:cxn ang="0">
                  <a:pos x="351" y="23"/>
                </a:cxn>
                <a:cxn ang="0">
                  <a:pos x="339" y="35"/>
                </a:cxn>
                <a:cxn ang="0">
                  <a:pos x="314" y="8"/>
                </a:cxn>
                <a:cxn ang="0">
                  <a:pos x="280" y="0"/>
                </a:cxn>
                <a:cxn ang="0">
                  <a:pos x="280" y="8"/>
                </a:cxn>
                <a:cxn ang="0">
                  <a:pos x="280" y="23"/>
                </a:cxn>
                <a:cxn ang="0">
                  <a:pos x="264" y="35"/>
                </a:cxn>
                <a:cxn ang="0">
                  <a:pos x="235" y="62"/>
                </a:cxn>
                <a:cxn ang="0">
                  <a:pos x="204" y="62"/>
                </a:cxn>
                <a:cxn ang="0">
                  <a:pos x="193" y="81"/>
                </a:cxn>
                <a:cxn ang="0">
                  <a:pos x="180" y="81"/>
                </a:cxn>
                <a:cxn ang="0">
                  <a:pos x="159" y="101"/>
                </a:cxn>
                <a:cxn ang="0">
                  <a:pos x="146" y="101"/>
                </a:cxn>
                <a:cxn ang="0">
                  <a:pos x="121" y="125"/>
                </a:cxn>
                <a:cxn ang="0">
                  <a:pos x="105" y="129"/>
                </a:cxn>
                <a:cxn ang="0">
                  <a:pos x="70" y="179"/>
                </a:cxn>
                <a:cxn ang="0">
                  <a:pos x="46" y="148"/>
                </a:cxn>
                <a:cxn ang="0">
                  <a:pos x="25" y="132"/>
                </a:cxn>
                <a:cxn ang="0">
                  <a:pos x="12" y="144"/>
                </a:cxn>
                <a:cxn ang="0">
                  <a:pos x="25" y="210"/>
                </a:cxn>
                <a:cxn ang="0">
                  <a:pos x="12" y="234"/>
                </a:cxn>
                <a:cxn ang="0">
                  <a:pos x="0" y="265"/>
                </a:cxn>
                <a:cxn ang="0">
                  <a:pos x="34" y="288"/>
                </a:cxn>
                <a:cxn ang="0">
                  <a:pos x="54" y="288"/>
                </a:cxn>
                <a:cxn ang="0">
                  <a:pos x="78" y="320"/>
                </a:cxn>
                <a:cxn ang="0">
                  <a:pos x="96" y="312"/>
                </a:cxn>
                <a:cxn ang="0">
                  <a:pos x="125" y="281"/>
                </a:cxn>
                <a:cxn ang="0">
                  <a:pos x="151" y="234"/>
                </a:cxn>
                <a:cxn ang="0">
                  <a:pos x="201" y="226"/>
                </a:cxn>
                <a:cxn ang="0">
                  <a:pos x="231" y="254"/>
                </a:cxn>
                <a:cxn ang="0">
                  <a:pos x="209" y="296"/>
                </a:cxn>
                <a:cxn ang="0">
                  <a:pos x="180" y="339"/>
                </a:cxn>
                <a:cxn ang="0">
                  <a:pos x="204" y="354"/>
                </a:cxn>
                <a:cxn ang="0">
                  <a:pos x="204" y="378"/>
                </a:cxn>
                <a:cxn ang="0">
                  <a:pos x="184" y="393"/>
                </a:cxn>
                <a:cxn ang="0">
                  <a:pos x="188" y="402"/>
                </a:cxn>
                <a:cxn ang="0">
                  <a:pos x="221" y="386"/>
                </a:cxn>
                <a:cxn ang="0">
                  <a:pos x="272" y="324"/>
                </a:cxn>
                <a:cxn ang="0">
                  <a:pos x="347" y="285"/>
                </a:cxn>
                <a:cxn ang="0">
                  <a:pos x="372" y="281"/>
                </a:cxn>
              </a:cxnLst>
              <a:rect l="0" t="0" r="r" b="b"/>
              <a:pathLst>
                <a:path w="454" h="403">
                  <a:moveTo>
                    <a:pt x="372" y="281"/>
                  </a:moveTo>
                  <a:lnTo>
                    <a:pt x="424" y="215"/>
                  </a:lnTo>
                  <a:lnTo>
                    <a:pt x="453" y="183"/>
                  </a:lnTo>
                  <a:lnTo>
                    <a:pt x="448" y="152"/>
                  </a:lnTo>
                  <a:lnTo>
                    <a:pt x="414" y="117"/>
                  </a:lnTo>
                  <a:lnTo>
                    <a:pt x="410" y="90"/>
                  </a:lnTo>
                  <a:lnTo>
                    <a:pt x="351" y="15"/>
                  </a:lnTo>
                  <a:lnTo>
                    <a:pt x="351" y="23"/>
                  </a:lnTo>
                  <a:lnTo>
                    <a:pt x="339" y="35"/>
                  </a:lnTo>
                  <a:lnTo>
                    <a:pt x="314" y="8"/>
                  </a:lnTo>
                  <a:lnTo>
                    <a:pt x="280" y="0"/>
                  </a:lnTo>
                  <a:lnTo>
                    <a:pt x="280" y="8"/>
                  </a:lnTo>
                  <a:lnTo>
                    <a:pt x="280" y="23"/>
                  </a:lnTo>
                  <a:lnTo>
                    <a:pt x="264" y="35"/>
                  </a:lnTo>
                  <a:lnTo>
                    <a:pt x="235" y="62"/>
                  </a:lnTo>
                  <a:lnTo>
                    <a:pt x="204" y="62"/>
                  </a:lnTo>
                  <a:lnTo>
                    <a:pt x="193" y="81"/>
                  </a:lnTo>
                  <a:lnTo>
                    <a:pt x="180" y="81"/>
                  </a:lnTo>
                  <a:lnTo>
                    <a:pt x="159" y="101"/>
                  </a:lnTo>
                  <a:lnTo>
                    <a:pt x="146" y="101"/>
                  </a:lnTo>
                  <a:lnTo>
                    <a:pt x="121" y="125"/>
                  </a:lnTo>
                  <a:lnTo>
                    <a:pt x="105" y="129"/>
                  </a:lnTo>
                  <a:lnTo>
                    <a:pt x="70" y="179"/>
                  </a:lnTo>
                  <a:lnTo>
                    <a:pt x="46" y="148"/>
                  </a:lnTo>
                  <a:lnTo>
                    <a:pt x="25" y="132"/>
                  </a:lnTo>
                  <a:lnTo>
                    <a:pt x="12" y="144"/>
                  </a:lnTo>
                  <a:lnTo>
                    <a:pt x="25" y="210"/>
                  </a:lnTo>
                  <a:lnTo>
                    <a:pt x="12" y="234"/>
                  </a:lnTo>
                  <a:lnTo>
                    <a:pt x="0" y="265"/>
                  </a:lnTo>
                  <a:lnTo>
                    <a:pt x="34" y="288"/>
                  </a:lnTo>
                  <a:lnTo>
                    <a:pt x="54" y="288"/>
                  </a:lnTo>
                  <a:lnTo>
                    <a:pt x="78" y="320"/>
                  </a:lnTo>
                  <a:lnTo>
                    <a:pt x="96" y="312"/>
                  </a:lnTo>
                  <a:lnTo>
                    <a:pt x="125" y="281"/>
                  </a:lnTo>
                  <a:lnTo>
                    <a:pt x="151" y="234"/>
                  </a:lnTo>
                  <a:lnTo>
                    <a:pt x="201" y="226"/>
                  </a:lnTo>
                  <a:lnTo>
                    <a:pt x="231" y="254"/>
                  </a:lnTo>
                  <a:lnTo>
                    <a:pt x="209" y="296"/>
                  </a:lnTo>
                  <a:lnTo>
                    <a:pt x="180" y="339"/>
                  </a:lnTo>
                  <a:lnTo>
                    <a:pt x="204" y="354"/>
                  </a:lnTo>
                  <a:lnTo>
                    <a:pt x="204" y="378"/>
                  </a:lnTo>
                  <a:lnTo>
                    <a:pt x="184" y="393"/>
                  </a:lnTo>
                  <a:lnTo>
                    <a:pt x="188" y="402"/>
                  </a:lnTo>
                  <a:lnTo>
                    <a:pt x="221" y="386"/>
                  </a:lnTo>
                  <a:lnTo>
                    <a:pt x="272" y="324"/>
                  </a:lnTo>
                  <a:lnTo>
                    <a:pt x="347" y="285"/>
                  </a:lnTo>
                  <a:lnTo>
                    <a:pt x="372" y="28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7574515" y="1176942"/>
              <a:ext cx="993401" cy="643217"/>
            </a:xfrm>
            <a:custGeom>
              <a:avLst/>
              <a:gdLst/>
              <a:ahLst/>
              <a:cxnLst>
                <a:cxn ang="0">
                  <a:pos x="629" y="114"/>
                </a:cxn>
                <a:cxn ang="0">
                  <a:pos x="577" y="106"/>
                </a:cxn>
                <a:cxn ang="0">
                  <a:pos x="557" y="102"/>
                </a:cxn>
                <a:cxn ang="0">
                  <a:pos x="511" y="126"/>
                </a:cxn>
                <a:cxn ang="0">
                  <a:pos x="490" y="137"/>
                </a:cxn>
                <a:cxn ang="0">
                  <a:pos x="452" y="110"/>
                </a:cxn>
                <a:cxn ang="0">
                  <a:pos x="418" y="83"/>
                </a:cxn>
                <a:cxn ang="0">
                  <a:pos x="414" y="122"/>
                </a:cxn>
                <a:cxn ang="0">
                  <a:pos x="377" y="83"/>
                </a:cxn>
                <a:cxn ang="0">
                  <a:pos x="343" y="55"/>
                </a:cxn>
                <a:cxn ang="0">
                  <a:pos x="280" y="55"/>
                </a:cxn>
                <a:cxn ang="0">
                  <a:pos x="242" y="32"/>
                </a:cxn>
                <a:cxn ang="0">
                  <a:pos x="196" y="48"/>
                </a:cxn>
                <a:cxn ang="0">
                  <a:pos x="146" y="36"/>
                </a:cxn>
                <a:cxn ang="0">
                  <a:pos x="78" y="9"/>
                </a:cxn>
                <a:cxn ang="0">
                  <a:pos x="58" y="51"/>
                </a:cxn>
                <a:cxn ang="0">
                  <a:pos x="0" y="55"/>
                </a:cxn>
                <a:cxn ang="0">
                  <a:pos x="28" y="83"/>
                </a:cxn>
                <a:cxn ang="0">
                  <a:pos x="33" y="137"/>
                </a:cxn>
                <a:cxn ang="0">
                  <a:pos x="53" y="180"/>
                </a:cxn>
                <a:cxn ang="0">
                  <a:pos x="105" y="149"/>
                </a:cxn>
                <a:cxn ang="0">
                  <a:pos x="146" y="227"/>
                </a:cxn>
                <a:cxn ang="0">
                  <a:pos x="171" y="231"/>
                </a:cxn>
                <a:cxn ang="0">
                  <a:pos x="231" y="266"/>
                </a:cxn>
                <a:cxn ang="0">
                  <a:pos x="242" y="247"/>
                </a:cxn>
                <a:cxn ang="0">
                  <a:pos x="305" y="349"/>
                </a:cxn>
                <a:cxn ang="0">
                  <a:pos x="343" y="415"/>
                </a:cxn>
                <a:cxn ang="0">
                  <a:pos x="398" y="329"/>
                </a:cxn>
                <a:cxn ang="0">
                  <a:pos x="436" y="337"/>
                </a:cxn>
                <a:cxn ang="0">
                  <a:pos x="498" y="322"/>
                </a:cxn>
                <a:cxn ang="0">
                  <a:pos x="481" y="282"/>
                </a:cxn>
                <a:cxn ang="0">
                  <a:pos x="544" y="235"/>
                </a:cxn>
                <a:cxn ang="0">
                  <a:pos x="569" y="196"/>
                </a:cxn>
                <a:cxn ang="0">
                  <a:pos x="587" y="168"/>
                </a:cxn>
                <a:cxn ang="0">
                  <a:pos x="611" y="192"/>
                </a:cxn>
                <a:cxn ang="0">
                  <a:pos x="650" y="126"/>
                </a:cxn>
              </a:cxnLst>
              <a:rect l="0" t="0" r="r" b="b"/>
              <a:pathLst>
                <a:path w="651" h="416">
                  <a:moveTo>
                    <a:pt x="645" y="114"/>
                  </a:moveTo>
                  <a:lnTo>
                    <a:pt x="629" y="114"/>
                  </a:lnTo>
                  <a:lnTo>
                    <a:pt x="607" y="114"/>
                  </a:lnTo>
                  <a:lnTo>
                    <a:pt x="577" y="106"/>
                  </a:lnTo>
                  <a:lnTo>
                    <a:pt x="569" y="90"/>
                  </a:lnTo>
                  <a:lnTo>
                    <a:pt x="557" y="102"/>
                  </a:lnTo>
                  <a:lnTo>
                    <a:pt x="544" y="95"/>
                  </a:lnTo>
                  <a:lnTo>
                    <a:pt x="511" y="126"/>
                  </a:lnTo>
                  <a:lnTo>
                    <a:pt x="506" y="137"/>
                  </a:lnTo>
                  <a:lnTo>
                    <a:pt x="490" y="137"/>
                  </a:lnTo>
                  <a:lnTo>
                    <a:pt x="472" y="117"/>
                  </a:lnTo>
                  <a:lnTo>
                    <a:pt x="452" y="110"/>
                  </a:lnTo>
                  <a:lnTo>
                    <a:pt x="431" y="71"/>
                  </a:lnTo>
                  <a:lnTo>
                    <a:pt x="418" y="83"/>
                  </a:lnTo>
                  <a:lnTo>
                    <a:pt x="423" y="114"/>
                  </a:lnTo>
                  <a:lnTo>
                    <a:pt x="414" y="122"/>
                  </a:lnTo>
                  <a:lnTo>
                    <a:pt x="385" y="95"/>
                  </a:lnTo>
                  <a:lnTo>
                    <a:pt x="377" y="83"/>
                  </a:lnTo>
                  <a:lnTo>
                    <a:pt x="355" y="83"/>
                  </a:lnTo>
                  <a:lnTo>
                    <a:pt x="343" y="55"/>
                  </a:lnTo>
                  <a:lnTo>
                    <a:pt x="318" y="39"/>
                  </a:lnTo>
                  <a:lnTo>
                    <a:pt x="280" y="55"/>
                  </a:lnTo>
                  <a:lnTo>
                    <a:pt x="267" y="51"/>
                  </a:lnTo>
                  <a:lnTo>
                    <a:pt x="242" y="32"/>
                  </a:lnTo>
                  <a:lnTo>
                    <a:pt x="212" y="48"/>
                  </a:lnTo>
                  <a:lnTo>
                    <a:pt x="196" y="48"/>
                  </a:lnTo>
                  <a:lnTo>
                    <a:pt x="176" y="55"/>
                  </a:lnTo>
                  <a:lnTo>
                    <a:pt x="146" y="36"/>
                  </a:lnTo>
                  <a:lnTo>
                    <a:pt x="125" y="0"/>
                  </a:lnTo>
                  <a:lnTo>
                    <a:pt x="78" y="9"/>
                  </a:lnTo>
                  <a:lnTo>
                    <a:pt x="62" y="28"/>
                  </a:lnTo>
                  <a:lnTo>
                    <a:pt x="58" y="51"/>
                  </a:lnTo>
                  <a:lnTo>
                    <a:pt x="8" y="39"/>
                  </a:lnTo>
                  <a:lnTo>
                    <a:pt x="0" y="55"/>
                  </a:lnTo>
                  <a:lnTo>
                    <a:pt x="3" y="63"/>
                  </a:lnTo>
                  <a:lnTo>
                    <a:pt x="28" y="83"/>
                  </a:lnTo>
                  <a:lnTo>
                    <a:pt x="28" y="110"/>
                  </a:lnTo>
                  <a:lnTo>
                    <a:pt x="33" y="137"/>
                  </a:lnTo>
                  <a:lnTo>
                    <a:pt x="50" y="156"/>
                  </a:lnTo>
                  <a:lnTo>
                    <a:pt x="53" y="180"/>
                  </a:lnTo>
                  <a:lnTo>
                    <a:pt x="66" y="188"/>
                  </a:lnTo>
                  <a:lnTo>
                    <a:pt x="105" y="149"/>
                  </a:lnTo>
                  <a:lnTo>
                    <a:pt x="146" y="200"/>
                  </a:lnTo>
                  <a:lnTo>
                    <a:pt x="146" y="227"/>
                  </a:lnTo>
                  <a:lnTo>
                    <a:pt x="171" y="239"/>
                  </a:lnTo>
                  <a:lnTo>
                    <a:pt x="171" y="231"/>
                  </a:lnTo>
                  <a:lnTo>
                    <a:pt x="204" y="239"/>
                  </a:lnTo>
                  <a:lnTo>
                    <a:pt x="231" y="266"/>
                  </a:lnTo>
                  <a:lnTo>
                    <a:pt x="242" y="254"/>
                  </a:lnTo>
                  <a:lnTo>
                    <a:pt x="242" y="247"/>
                  </a:lnTo>
                  <a:lnTo>
                    <a:pt x="302" y="322"/>
                  </a:lnTo>
                  <a:lnTo>
                    <a:pt x="305" y="349"/>
                  </a:lnTo>
                  <a:lnTo>
                    <a:pt x="338" y="383"/>
                  </a:lnTo>
                  <a:lnTo>
                    <a:pt x="343" y="415"/>
                  </a:lnTo>
                  <a:lnTo>
                    <a:pt x="373" y="395"/>
                  </a:lnTo>
                  <a:lnTo>
                    <a:pt x="398" y="329"/>
                  </a:lnTo>
                  <a:lnTo>
                    <a:pt x="409" y="325"/>
                  </a:lnTo>
                  <a:lnTo>
                    <a:pt x="436" y="337"/>
                  </a:lnTo>
                  <a:lnTo>
                    <a:pt x="481" y="332"/>
                  </a:lnTo>
                  <a:lnTo>
                    <a:pt x="498" y="322"/>
                  </a:lnTo>
                  <a:lnTo>
                    <a:pt x="477" y="290"/>
                  </a:lnTo>
                  <a:lnTo>
                    <a:pt x="481" y="282"/>
                  </a:lnTo>
                  <a:lnTo>
                    <a:pt x="527" y="266"/>
                  </a:lnTo>
                  <a:lnTo>
                    <a:pt x="544" y="235"/>
                  </a:lnTo>
                  <a:lnTo>
                    <a:pt x="566" y="227"/>
                  </a:lnTo>
                  <a:lnTo>
                    <a:pt x="569" y="196"/>
                  </a:lnTo>
                  <a:lnTo>
                    <a:pt x="574" y="173"/>
                  </a:lnTo>
                  <a:lnTo>
                    <a:pt x="587" y="168"/>
                  </a:lnTo>
                  <a:lnTo>
                    <a:pt x="598" y="180"/>
                  </a:lnTo>
                  <a:lnTo>
                    <a:pt x="611" y="192"/>
                  </a:lnTo>
                  <a:lnTo>
                    <a:pt x="640" y="153"/>
                  </a:lnTo>
                  <a:lnTo>
                    <a:pt x="650" y="126"/>
                  </a:lnTo>
                  <a:lnTo>
                    <a:pt x="645" y="114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6491233" y="4689417"/>
              <a:ext cx="242831" cy="214405"/>
            </a:xfrm>
            <a:custGeom>
              <a:avLst/>
              <a:gdLst/>
              <a:ahLst/>
              <a:cxnLst>
                <a:cxn ang="0">
                  <a:pos x="71" y="152"/>
                </a:cxn>
                <a:cxn ang="0">
                  <a:pos x="10" y="135"/>
                </a:cxn>
                <a:cxn ang="0">
                  <a:pos x="5" y="110"/>
                </a:cxn>
                <a:cxn ang="0">
                  <a:pos x="0" y="105"/>
                </a:cxn>
                <a:cxn ang="0">
                  <a:pos x="0" y="99"/>
                </a:cxn>
                <a:cxn ang="0">
                  <a:pos x="0" y="92"/>
                </a:cxn>
                <a:cxn ang="0">
                  <a:pos x="0" y="85"/>
                </a:cxn>
                <a:cxn ang="0">
                  <a:pos x="0" y="80"/>
                </a:cxn>
                <a:cxn ang="0">
                  <a:pos x="0" y="74"/>
                </a:cxn>
                <a:cxn ang="0">
                  <a:pos x="33" y="43"/>
                </a:cxn>
                <a:cxn ang="0">
                  <a:pos x="44" y="31"/>
                </a:cxn>
                <a:cxn ang="0">
                  <a:pos x="50" y="31"/>
                </a:cxn>
                <a:cxn ang="0">
                  <a:pos x="55" y="25"/>
                </a:cxn>
                <a:cxn ang="0">
                  <a:pos x="60" y="25"/>
                </a:cxn>
                <a:cxn ang="0">
                  <a:pos x="66" y="25"/>
                </a:cxn>
                <a:cxn ang="0">
                  <a:pos x="71" y="20"/>
                </a:cxn>
                <a:cxn ang="0">
                  <a:pos x="76" y="20"/>
                </a:cxn>
                <a:cxn ang="0">
                  <a:pos x="83" y="20"/>
                </a:cxn>
                <a:cxn ang="0">
                  <a:pos x="88" y="20"/>
                </a:cxn>
                <a:cxn ang="0">
                  <a:pos x="94" y="20"/>
                </a:cxn>
                <a:cxn ang="0">
                  <a:pos x="94" y="13"/>
                </a:cxn>
                <a:cxn ang="0">
                  <a:pos x="99" y="13"/>
                </a:cxn>
                <a:cxn ang="0">
                  <a:pos x="104" y="13"/>
                </a:cxn>
                <a:cxn ang="0">
                  <a:pos x="109" y="13"/>
                </a:cxn>
                <a:cxn ang="0">
                  <a:pos x="116" y="13"/>
                </a:cxn>
                <a:cxn ang="0">
                  <a:pos x="121" y="13"/>
                </a:cxn>
                <a:cxn ang="0">
                  <a:pos x="126" y="13"/>
                </a:cxn>
                <a:cxn ang="0">
                  <a:pos x="131" y="13"/>
                </a:cxn>
                <a:cxn ang="0">
                  <a:pos x="136" y="13"/>
                </a:cxn>
                <a:cxn ang="0">
                  <a:pos x="142" y="13"/>
                </a:cxn>
                <a:cxn ang="0">
                  <a:pos x="154" y="6"/>
                </a:cxn>
                <a:cxn ang="0">
                  <a:pos x="165" y="0"/>
                </a:cxn>
                <a:cxn ang="0">
                  <a:pos x="175" y="13"/>
                </a:cxn>
                <a:cxn ang="0">
                  <a:pos x="181" y="25"/>
                </a:cxn>
                <a:cxn ang="0">
                  <a:pos x="175" y="31"/>
                </a:cxn>
                <a:cxn ang="0">
                  <a:pos x="175" y="37"/>
                </a:cxn>
                <a:cxn ang="0">
                  <a:pos x="170" y="43"/>
                </a:cxn>
                <a:cxn ang="0">
                  <a:pos x="165" y="49"/>
                </a:cxn>
                <a:cxn ang="0">
                  <a:pos x="159" y="56"/>
                </a:cxn>
                <a:cxn ang="0">
                  <a:pos x="159" y="62"/>
                </a:cxn>
                <a:cxn ang="0">
                  <a:pos x="154" y="67"/>
                </a:cxn>
                <a:cxn ang="0">
                  <a:pos x="149" y="74"/>
                </a:cxn>
                <a:cxn ang="0">
                  <a:pos x="149" y="80"/>
                </a:cxn>
                <a:cxn ang="0">
                  <a:pos x="149" y="85"/>
                </a:cxn>
                <a:cxn ang="0">
                  <a:pos x="142" y="92"/>
                </a:cxn>
                <a:cxn ang="0">
                  <a:pos x="142" y="99"/>
                </a:cxn>
                <a:cxn ang="0">
                  <a:pos x="149" y="105"/>
                </a:cxn>
                <a:cxn ang="0">
                  <a:pos x="121" y="122"/>
                </a:cxn>
                <a:cxn ang="0">
                  <a:pos x="88" y="147"/>
                </a:cxn>
                <a:cxn ang="0">
                  <a:pos x="88" y="152"/>
                </a:cxn>
                <a:cxn ang="0">
                  <a:pos x="83" y="152"/>
                </a:cxn>
                <a:cxn ang="0">
                  <a:pos x="76" y="152"/>
                </a:cxn>
                <a:cxn ang="0">
                  <a:pos x="71" y="152"/>
                </a:cxn>
              </a:cxnLst>
              <a:rect l="0" t="0" r="r" b="b"/>
              <a:pathLst>
                <a:path w="181" h="152">
                  <a:moveTo>
                    <a:pt x="71" y="152"/>
                  </a:moveTo>
                  <a:lnTo>
                    <a:pt x="10" y="135"/>
                  </a:lnTo>
                  <a:lnTo>
                    <a:pt x="5" y="110"/>
                  </a:lnTo>
                  <a:lnTo>
                    <a:pt x="0" y="105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0" y="85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33" y="43"/>
                  </a:lnTo>
                  <a:lnTo>
                    <a:pt x="44" y="31"/>
                  </a:lnTo>
                  <a:lnTo>
                    <a:pt x="50" y="31"/>
                  </a:lnTo>
                  <a:lnTo>
                    <a:pt x="55" y="25"/>
                  </a:lnTo>
                  <a:lnTo>
                    <a:pt x="60" y="25"/>
                  </a:lnTo>
                  <a:lnTo>
                    <a:pt x="66" y="25"/>
                  </a:lnTo>
                  <a:lnTo>
                    <a:pt x="71" y="20"/>
                  </a:lnTo>
                  <a:lnTo>
                    <a:pt x="76" y="20"/>
                  </a:lnTo>
                  <a:lnTo>
                    <a:pt x="83" y="20"/>
                  </a:lnTo>
                  <a:lnTo>
                    <a:pt x="88" y="20"/>
                  </a:lnTo>
                  <a:lnTo>
                    <a:pt x="94" y="20"/>
                  </a:lnTo>
                  <a:lnTo>
                    <a:pt x="94" y="13"/>
                  </a:lnTo>
                  <a:lnTo>
                    <a:pt x="99" y="13"/>
                  </a:lnTo>
                  <a:lnTo>
                    <a:pt x="104" y="13"/>
                  </a:lnTo>
                  <a:lnTo>
                    <a:pt x="109" y="13"/>
                  </a:lnTo>
                  <a:lnTo>
                    <a:pt x="116" y="13"/>
                  </a:lnTo>
                  <a:lnTo>
                    <a:pt x="121" y="13"/>
                  </a:lnTo>
                  <a:lnTo>
                    <a:pt x="126" y="13"/>
                  </a:lnTo>
                  <a:lnTo>
                    <a:pt x="131" y="13"/>
                  </a:lnTo>
                  <a:lnTo>
                    <a:pt x="136" y="13"/>
                  </a:lnTo>
                  <a:lnTo>
                    <a:pt x="142" y="13"/>
                  </a:lnTo>
                  <a:lnTo>
                    <a:pt x="154" y="6"/>
                  </a:lnTo>
                  <a:lnTo>
                    <a:pt x="165" y="0"/>
                  </a:lnTo>
                  <a:lnTo>
                    <a:pt x="175" y="13"/>
                  </a:lnTo>
                  <a:lnTo>
                    <a:pt x="181" y="25"/>
                  </a:lnTo>
                  <a:lnTo>
                    <a:pt x="175" y="31"/>
                  </a:lnTo>
                  <a:lnTo>
                    <a:pt x="175" y="37"/>
                  </a:lnTo>
                  <a:lnTo>
                    <a:pt x="170" y="43"/>
                  </a:lnTo>
                  <a:lnTo>
                    <a:pt x="165" y="49"/>
                  </a:lnTo>
                  <a:lnTo>
                    <a:pt x="159" y="56"/>
                  </a:lnTo>
                  <a:lnTo>
                    <a:pt x="159" y="62"/>
                  </a:lnTo>
                  <a:lnTo>
                    <a:pt x="154" y="67"/>
                  </a:lnTo>
                  <a:lnTo>
                    <a:pt x="149" y="74"/>
                  </a:lnTo>
                  <a:lnTo>
                    <a:pt x="149" y="80"/>
                  </a:lnTo>
                  <a:lnTo>
                    <a:pt x="149" y="85"/>
                  </a:lnTo>
                  <a:lnTo>
                    <a:pt x="142" y="92"/>
                  </a:lnTo>
                  <a:lnTo>
                    <a:pt x="142" y="99"/>
                  </a:lnTo>
                  <a:lnTo>
                    <a:pt x="149" y="105"/>
                  </a:lnTo>
                  <a:lnTo>
                    <a:pt x="121" y="122"/>
                  </a:lnTo>
                  <a:lnTo>
                    <a:pt x="88" y="147"/>
                  </a:lnTo>
                  <a:lnTo>
                    <a:pt x="88" y="152"/>
                  </a:lnTo>
                  <a:lnTo>
                    <a:pt x="83" y="152"/>
                  </a:lnTo>
                  <a:lnTo>
                    <a:pt x="76" y="152"/>
                  </a:lnTo>
                  <a:lnTo>
                    <a:pt x="71" y="152"/>
                  </a:lnTo>
                  <a:close/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180307" y="4323666"/>
              <a:ext cx="96186" cy="66214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28" y="16"/>
                </a:cxn>
                <a:cxn ang="0">
                  <a:pos x="50" y="0"/>
                </a:cxn>
                <a:cxn ang="0">
                  <a:pos x="63" y="28"/>
                </a:cxn>
                <a:cxn ang="0">
                  <a:pos x="37" y="40"/>
                </a:cxn>
                <a:cxn ang="0">
                  <a:pos x="4" y="40"/>
                </a:cxn>
                <a:cxn ang="0">
                  <a:pos x="0" y="16"/>
                </a:cxn>
                <a:cxn ang="0">
                  <a:pos x="4" y="11"/>
                </a:cxn>
              </a:cxnLst>
              <a:rect l="0" t="0" r="r" b="b"/>
              <a:pathLst>
                <a:path w="64" h="41">
                  <a:moveTo>
                    <a:pt x="4" y="11"/>
                  </a:moveTo>
                  <a:lnTo>
                    <a:pt x="28" y="16"/>
                  </a:lnTo>
                  <a:lnTo>
                    <a:pt x="50" y="0"/>
                  </a:lnTo>
                  <a:lnTo>
                    <a:pt x="63" y="28"/>
                  </a:lnTo>
                  <a:lnTo>
                    <a:pt x="37" y="40"/>
                  </a:lnTo>
                  <a:lnTo>
                    <a:pt x="4" y="40"/>
                  </a:lnTo>
                  <a:lnTo>
                    <a:pt x="0" y="16"/>
                  </a:lnTo>
                  <a:lnTo>
                    <a:pt x="4" y="1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7180307" y="4323666"/>
              <a:ext cx="96186" cy="66214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28" y="16"/>
                </a:cxn>
                <a:cxn ang="0">
                  <a:pos x="50" y="0"/>
                </a:cxn>
                <a:cxn ang="0">
                  <a:pos x="63" y="28"/>
                </a:cxn>
                <a:cxn ang="0">
                  <a:pos x="37" y="40"/>
                </a:cxn>
                <a:cxn ang="0">
                  <a:pos x="4" y="40"/>
                </a:cxn>
                <a:cxn ang="0">
                  <a:pos x="0" y="16"/>
                </a:cxn>
                <a:cxn ang="0">
                  <a:pos x="4" y="11"/>
                </a:cxn>
              </a:cxnLst>
              <a:rect l="0" t="0" r="r" b="b"/>
              <a:pathLst>
                <a:path w="64" h="41">
                  <a:moveTo>
                    <a:pt x="4" y="11"/>
                  </a:moveTo>
                  <a:lnTo>
                    <a:pt x="28" y="16"/>
                  </a:lnTo>
                  <a:lnTo>
                    <a:pt x="50" y="0"/>
                  </a:lnTo>
                  <a:lnTo>
                    <a:pt x="63" y="28"/>
                  </a:lnTo>
                  <a:lnTo>
                    <a:pt x="37" y="40"/>
                  </a:lnTo>
                  <a:lnTo>
                    <a:pt x="4" y="40"/>
                  </a:lnTo>
                  <a:lnTo>
                    <a:pt x="0" y="16"/>
                  </a:lnTo>
                  <a:lnTo>
                    <a:pt x="4" y="1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6667839" y="3951607"/>
              <a:ext cx="908252" cy="717313"/>
            </a:xfrm>
            <a:custGeom>
              <a:avLst/>
              <a:gdLst/>
              <a:ahLst/>
              <a:cxnLst>
                <a:cxn ang="0">
                  <a:pos x="172" y="71"/>
                </a:cxn>
                <a:cxn ang="0">
                  <a:pos x="180" y="39"/>
                </a:cxn>
                <a:cxn ang="0">
                  <a:pos x="235" y="55"/>
                </a:cxn>
                <a:cxn ang="0">
                  <a:pos x="235" y="32"/>
                </a:cxn>
                <a:cxn ang="0">
                  <a:pos x="260" y="4"/>
                </a:cxn>
                <a:cxn ang="0">
                  <a:pos x="319" y="0"/>
                </a:cxn>
                <a:cxn ang="0">
                  <a:pos x="374" y="9"/>
                </a:cxn>
                <a:cxn ang="0">
                  <a:pos x="369" y="36"/>
                </a:cxn>
                <a:cxn ang="0">
                  <a:pos x="347" y="71"/>
                </a:cxn>
                <a:cxn ang="0">
                  <a:pos x="440" y="48"/>
                </a:cxn>
                <a:cxn ang="0">
                  <a:pos x="478" y="55"/>
                </a:cxn>
                <a:cxn ang="0">
                  <a:pos x="473" y="28"/>
                </a:cxn>
                <a:cxn ang="0">
                  <a:pos x="533" y="48"/>
                </a:cxn>
                <a:cxn ang="0">
                  <a:pos x="570" y="71"/>
                </a:cxn>
                <a:cxn ang="0">
                  <a:pos x="578" y="129"/>
                </a:cxn>
                <a:cxn ang="0">
                  <a:pos x="553" y="161"/>
                </a:cxn>
                <a:cxn ang="0">
                  <a:pos x="499" y="200"/>
                </a:cxn>
                <a:cxn ang="0">
                  <a:pos x="473" y="207"/>
                </a:cxn>
                <a:cxn ang="0">
                  <a:pos x="461" y="215"/>
                </a:cxn>
                <a:cxn ang="0">
                  <a:pos x="418" y="227"/>
                </a:cxn>
                <a:cxn ang="0">
                  <a:pos x="386" y="231"/>
                </a:cxn>
                <a:cxn ang="0">
                  <a:pos x="306" y="219"/>
                </a:cxn>
                <a:cxn ang="0">
                  <a:pos x="319" y="274"/>
                </a:cxn>
                <a:cxn ang="0">
                  <a:pos x="268" y="310"/>
                </a:cxn>
                <a:cxn ang="0">
                  <a:pos x="213" y="325"/>
                </a:cxn>
                <a:cxn ang="0">
                  <a:pos x="155" y="349"/>
                </a:cxn>
                <a:cxn ang="0">
                  <a:pos x="59" y="388"/>
                </a:cxn>
                <a:cxn ang="0">
                  <a:pos x="72" y="450"/>
                </a:cxn>
                <a:cxn ang="0">
                  <a:pos x="25" y="462"/>
                </a:cxn>
                <a:cxn ang="0">
                  <a:pos x="4" y="380"/>
                </a:cxn>
                <a:cxn ang="0">
                  <a:pos x="25" y="332"/>
                </a:cxn>
                <a:cxn ang="0">
                  <a:pos x="51" y="313"/>
                </a:cxn>
                <a:cxn ang="0">
                  <a:pos x="80" y="270"/>
                </a:cxn>
                <a:cxn ang="0">
                  <a:pos x="122" y="192"/>
                </a:cxn>
                <a:cxn ang="0">
                  <a:pos x="159" y="134"/>
                </a:cxn>
                <a:cxn ang="0">
                  <a:pos x="159" y="78"/>
                </a:cxn>
              </a:cxnLst>
              <a:rect l="0" t="0" r="r" b="b"/>
              <a:pathLst>
                <a:path w="597" h="467">
                  <a:moveTo>
                    <a:pt x="159" y="78"/>
                  </a:moveTo>
                  <a:lnTo>
                    <a:pt x="172" y="71"/>
                  </a:lnTo>
                  <a:lnTo>
                    <a:pt x="172" y="48"/>
                  </a:lnTo>
                  <a:lnTo>
                    <a:pt x="180" y="39"/>
                  </a:lnTo>
                  <a:lnTo>
                    <a:pt x="201" y="39"/>
                  </a:lnTo>
                  <a:lnTo>
                    <a:pt x="235" y="55"/>
                  </a:lnTo>
                  <a:lnTo>
                    <a:pt x="243" y="43"/>
                  </a:lnTo>
                  <a:lnTo>
                    <a:pt x="235" y="32"/>
                  </a:lnTo>
                  <a:lnTo>
                    <a:pt x="235" y="24"/>
                  </a:lnTo>
                  <a:lnTo>
                    <a:pt x="260" y="4"/>
                  </a:lnTo>
                  <a:lnTo>
                    <a:pt x="298" y="16"/>
                  </a:lnTo>
                  <a:lnTo>
                    <a:pt x="319" y="0"/>
                  </a:lnTo>
                  <a:lnTo>
                    <a:pt x="335" y="16"/>
                  </a:lnTo>
                  <a:lnTo>
                    <a:pt x="374" y="9"/>
                  </a:lnTo>
                  <a:lnTo>
                    <a:pt x="382" y="20"/>
                  </a:lnTo>
                  <a:lnTo>
                    <a:pt x="369" y="36"/>
                  </a:lnTo>
                  <a:lnTo>
                    <a:pt x="347" y="63"/>
                  </a:lnTo>
                  <a:lnTo>
                    <a:pt x="347" y="71"/>
                  </a:lnTo>
                  <a:lnTo>
                    <a:pt x="360" y="78"/>
                  </a:lnTo>
                  <a:lnTo>
                    <a:pt x="440" y="48"/>
                  </a:lnTo>
                  <a:lnTo>
                    <a:pt x="470" y="63"/>
                  </a:lnTo>
                  <a:lnTo>
                    <a:pt x="478" y="55"/>
                  </a:lnTo>
                  <a:lnTo>
                    <a:pt x="470" y="39"/>
                  </a:lnTo>
                  <a:lnTo>
                    <a:pt x="473" y="28"/>
                  </a:lnTo>
                  <a:lnTo>
                    <a:pt x="523" y="39"/>
                  </a:lnTo>
                  <a:lnTo>
                    <a:pt x="533" y="48"/>
                  </a:lnTo>
                  <a:lnTo>
                    <a:pt x="549" y="43"/>
                  </a:lnTo>
                  <a:lnTo>
                    <a:pt x="570" y="71"/>
                  </a:lnTo>
                  <a:lnTo>
                    <a:pt x="596" y="122"/>
                  </a:lnTo>
                  <a:lnTo>
                    <a:pt x="578" y="129"/>
                  </a:lnTo>
                  <a:lnTo>
                    <a:pt x="566" y="156"/>
                  </a:lnTo>
                  <a:lnTo>
                    <a:pt x="553" y="161"/>
                  </a:lnTo>
                  <a:lnTo>
                    <a:pt x="541" y="180"/>
                  </a:lnTo>
                  <a:lnTo>
                    <a:pt x="499" y="200"/>
                  </a:lnTo>
                  <a:lnTo>
                    <a:pt x="481" y="192"/>
                  </a:lnTo>
                  <a:lnTo>
                    <a:pt x="473" y="207"/>
                  </a:lnTo>
                  <a:lnTo>
                    <a:pt x="473" y="215"/>
                  </a:lnTo>
                  <a:lnTo>
                    <a:pt x="461" y="215"/>
                  </a:lnTo>
                  <a:lnTo>
                    <a:pt x="440" y="215"/>
                  </a:lnTo>
                  <a:lnTo>
                    <a:pt x="418" y="227"/>
                  </a:lnTo>
                  <a:lnTo>
                    <a:pt x="407" y="219"/>
                  </a:lnTo>
                  <a:lnTo>
                    <a:pt x="386" y="231"/>
                  </a:lnTo>
                  <a:lnTo>
                    <a:pt x="344" y="247"/>
                  </a:lnTo>
                  <a:lnTo>
                    <a:pt x="306" y="219"/>
                  </a:lnTo>
                  <a:lnTo>
                    <a:pt x="306" y="243"/>
                  </a:lnTo>
                  <a:lnTo>
                    <a:pt x="319" y="274"/>
                  </a:lnTo>
                  <a:lnTo>
                    <a:pt x="284" y="286"/>
                  </a:lnTo>
                  <a:lnTo>
                    <a:pt x="268" y="310"/>
                  </a:lnTo>
                  <a:lnTo>
                    <a:pt x="229" y="317"/>
                  </a:lnTo>
                  <a:lnTo>
                    <a:pt x="213" y="325"/>
                  </a:lnTo>
                  <a:lnTo>
                    <a:pt x="177" y="325"/>
                  </a:lnTo>
                  <a:lnTo>
                    <a:pt x="155" y="349"/>
                  </a:lnTo>
                  <a:lnTo>
                    <a:pt x="88" y="368"/>
                  </a:lnTo>
                  <a:lnTo>
                    <a:pt x="59" y="388"/>
                  </a:lnTo>
                  <a:lnTo>
                    <a:pt x="42" y="403"/>
                  </a:lnTo>
                  <a:lnTo>
                    <a:pt x="72" y="450"/>
                  </a:lnTo>
                  <a:lnTo>
                    <a:pt x="51" y="466"/>
                  </a:lnTo>
                  <a:lnTo>
                    <a:pt x="25" y="462"/>
                  </a:lnTo>
                  <a:lnTo>
                    <a:pt x="0" y="415"/>
                  </a:lnTo>
                  <a:lnTo>
                    <a:pt x="4" y="380"/>
                  </a:lnTo>
                  <a:lnTo>
                    <a:pt x="4" y="364"/>
                  </a:lnTo>
                  <a:lnTo>
                    <a:pt x="25" y="332"/>
                  </a:lnTo>
                  <a:lnTo>
                    <a:pt x="51" y="329"/>
                  </a:lnTo>
                  <a:lnTo>
                    <a:pt x="51" y="313"/>
                  </a:lnTo>
                  <a:lnTo>
                    <a:pt x="75" y="302"/>
                  </a:lnTo>
                  <a:lnTo>
                    <a:pt x="80" y="270"/>
                  </a:lnTo>
                  <a:lnTo>
                    <a:pt x="125" y="239"/>
                  </a:lnTo>
                  <a:lnTo>
                    <a:pt x="122" y="192"/>
                  </a:lnTo>
                  <a:lnTo>
                    <a:pt x="159" y="149"/>
                  </a:lnTo>
                  <a:lnTo>
                    <a:pt x="159" y="134"/>
                  </a:lnTo>
                  <a:lnTo>
                    <a:pt x="168" y="117"/>
                  </a:lnTo>
                  <a:lnTo>
                    <a:pt x="159" y="78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5989801" y="3880665"/>
              <a:ext cx="938214" cy="646371"/>
            </a:xfrm>
            <a:custGeom>
              <a:avLst/>
              <a:gdLst/>
              <a:ahLst/>
              <a:cxnLst>
                <a:cxn ang="0">
                  <a:pos x="28" y="164"/>
                </a:cxn>
                <a:cxn ang="0">
                  <a:pos x="67" y="144"/>
                </a:cxn>
                <a:cxn ang="0">
                  <a:pos x="133" y="161"/>
                </a:cxn>
                <a:cxn ang="0">
                  <a:pos x="146" y="134"/>
                </a:cxn>
                <a:cxn ang="0">
                  <a:pos x="234" y="102"/>
                </a:cxn>
                <a:cxn ang="0">
                  <a:pos x="311" y="83"/>
                </a:cxn>
                <a:cxn ang="0">
                  <a:pos x="340" y="90"/>
                </a:cxn>
                <a:cxn ang="0">
                  <a:pos x="364" y="75"/>
                </a:cxn>
                <a:cxn ang="0">
                  <a:pos x="373" y="59"/>
                </a:cxn>
                <a:cxn ang="0">
                  <a:pos x="403" y="36"/>
                </a:cxn>
                <a:cxn ang="0">
                  <a:pos x="444" y="16"/>
                </a:cxn>
                <a:cxn ang="0">
                  <a:pos x="461" y="36"/>
                </a:cxn>
                <a:cxn ang="0">
                  <a:pos x="499" y="8"/>
                </a:cxn>
                <a:cxn ang="0">
                  <a:pos x="541" y="8"/>
                </a:cxn>
                <a:cxn ang="0">
                  <a:pos x="562" y="39"/>
                </a:cxn>
                <a:cxn ang="0">
                  <a:pos x="536" y="94"/>
                </a:cxn>
                <a:cxn ang="0">
                  <a:pos x="536" y="117"/>
                </a:cxn>
                <a:cxn ang="0">
                  <a:pos x="573" y="137"/>
                </a:cxn>
                <a:cxn ang="0">
                  <a:pos x="607" y="125"/>
                </a:cxn>
                <a:cxn ang="0">
                  <a:pos x="607" y="180"/>
                </a:cxn>
                <a:cxn ang="0">
                  <a:pos x="570" y="239"/>
                </a:cxn>
                <a:cxn ang="0">
                  <a:pos x="528" y="317"/>
                </a:cxn>
                <a:cxn ang="0">
                  <a:pos x="499" y="359"/>
                </a:cxn>
                <a:cxn ang="0">
                  <a:pos x="474" y="379"/>
                </a:cxn>
                <a:cxn ang="0">
                  <a:pos x="403" y="418"/>
                </a:cxn>
                <a:cxn ang="0">
                  <a:pos x="343" y="388"/>
                </a:cxn>
                <a:cxn ang="0">
                  <a:pos x="285" y="415"/>
                </a:cxn>
                <a:cxn ang="0">
                  <a:pos x="193" y="383"/>
                </a:cxn>
                <a:cxn ang="0">
                  <a:pos x="196" y="325"/>
                </a:cxn>
                <a:cxn ang="0">
                  <a:pos x="154" y="313"/>
                </a:cxn>
                <a:cxn ang="0">
                  <a:pos x="122" y="313"/>
                </a:cxn>
                <a:cxn ang="0">
                  <a:pos x="109" y="266"/>
                </a:cxn>
                <a:cxn ang="0">
                  <a:pos x="133" y="262"/>
                </a:cxn>
                <a:cxn ang="0">
                  <a:pos x="133" y="223"/>
                </a:cxn>
                <a:cxn ang="0">
                  <a:pos x="54" y="192"/>
                </a:cxn>
                <a:cxn ang="0">
                  <a:pos x="12" y="192"/>
                </a:cxn>
                <a:cxn ang="0">
                  <a:pos x="4" y="161"/>
                </a:cxn>
              </a:cxnLst>
              <a:rect l="0" t="0" r="r" b="b"/>
              <a:pathLst>
                <a:path w="617" h="419">
                  <a:moveTo>
                    <a:pt x="4" y="161"/>
                  </a:moveTo>
                  <a:lnTo>
                    <a:pt x="28" y="164"/>
                  </a:lnTo>
                  <a:lnTo>
                    <a:pt x="59" y="137"/>
                  </a:lnTo>
                  <a:lnTo>
                    <a:pt x="67" y="144"/>
                  </a:lnTo>
                  <a:lnTo>
                    <a:pt x="122" y="168"/>
                  </a:lnTo>
                  <a:lnTo>
                    <a:pt x="133" y="161"/>
                  </a:lnTo>
                  <a:lnTo>
                    <a:pt x="133" y="144"/>
                  </a:lnTo>
                  <a:lnTo>
                    <a:pt x="146" y="134"/>
                  </a:lnTo>
                  <a:lnTo>
                    <a:pt x="222" y="86"/>
                  </a:lnTo>
                  <a:lnTo>
                    <a:pt x="234" y="102"/>
                  </a:lnTo>
                  <a:lnTo>
                    <a:pt x="280" y="117"/>
                  </a:lnTo>
                  <a:lnTo>
                    <a:pt x="311" y="83"/>
                  </a:lnTo>
                  <a:lnTo>
                    <a:pt x="319" y="90"/>
                  </a:lnTo>
                  <a:lnTo>
                    <a:pt x="340" y="90"/>
                  </a:lnTo>
                  <a:lnTo>
                    <a:pt x="340" y="83"/>
                  </a:lnTo>
                  <a:lnTo>
                    <a:pt x="364" y="75"/>
                  </a:lnTo>
                  <a:lnTo>
                    <a:pt x="364" y="66"/>
                  </a:lnTo>
                  <a:lnTo>
                    <a:pt x="373" y="59"/>
                  </a:lnTo>
                  <a:lnTo>
                    <a:pt x="377" y="59"/>
                  </a:lnTo>
                  <a:lnTo>
                    <a:pt x="403" y="36"/>
                  </a:lnTo>
                  <a:lnTo>
                    <a:pt x="423" y="43"/>
                  </a:lnTo>
                  <a:lnTo>
                    <a:pt x="444" y="16"/>
                  </a:lnTo>
                  <a:lnTo>
                    <a:pt x="453" y="36"/>
                  </a:lnTo>
                  <a:lnTo>
                    <a:pt x="461" y="36"/>
                  </a:lnTo>
                  <a:lnTo>
                    <a:pt x="490" y="8"/>
                  </a:lnTo>
                  <a:lnTo>
                    <a:pt x="499" y="8"/>
                  </a:lnTo>
                  <a:lnTo>
                    <a:pt x="516" y="0"/>
                  </a:lnTo>
                  <a:lnTo>
                    <a:pt x="541" y="8"/>
                  </a:lnTo>
                  <a:lnTo>
                    <a:pt x="541" y="36"/>
                  </a:lnTo>
                  <a:lnTo>
                    <a:pt x="562" y="39"/>
                  </a:lnTo>
                  <a:lnTo>
                    <a:pt x="553" y="66"/>
                  </a:lnTo>
                  <a:lnTo>
                    <a:pt x="536" y="94"/>
                  </a:lnTo>
                  <a:lnTo>
                    <a:pt x="528" y="117"/>
                  </a:lnTo>
                  <a:lnTo>
                    <a:pt x="536" y="117"/>
                  </a:lnTo>
                  <a:lnTo>
                    <a:pt x="557" y="98"/>
                  </a:lnTo>
                  <a:lnTo>
                    <a:pt x="573" y="137"/>
                  </a:lnTo>
                  <a:lnTo>
                    <a:pt x="591" y="125"/>
                  </a:lnTo>
                  <a:lnTo>
                    <a:pt x="607" y="125"/>
                  </a:lnTo>
                  <a:lnTo>
                    <a:pt x="616" y="164"/>
                  </a:lnTo>
                  <a:lnTo>
                    <a:pt x="607" y="180"/>
                  </a:lnTo>
                  <a:lnTo>
                    <a:pt x="607" y="195"/>
                  </a:lnTo>
                  <a:lnTo>
                    <a:pt x="570" y="239"/>
                  </a:lnTo>
                  <a:lnTo>
                    <a:pt x="573" y="286"/>
                  </a:lnTo>
                  <a:lnTo>
                    <a:pt x="528" y="317"/>
                  </a:lnTo>
                  <a:lnTo>
                    <a:pt x="524" y="349"/>
                  </a:lnTo>
                  <a:lnTo>
                    <a:pt x="499" y="359"/>
                  </a:lnTo>
                  <a:lnTo>
                    <a:pt x="499" y="376"/>
                  </a:lnTo>
                  <a:lnTo>
                    <a:pt x="474" y="379"/>
                  </a:lnTo>
                  <a:lnTo>
                    <a:pt x="453" y="410"/>
                  </a:lnTo>
                  <a:lnTo>
                    <a:pt x="403" y="418"/>
                  </a:lnTo>
                  <a:lnTo>
                    <a:pt x="373" y="398"/>
                  </a:lnTo>
                  <a:lnTo>
                    <a:pt x="343" y="388"/>
                  </a:lnTo>
                  <a:lnTo>
                    <a:pt x="314" y="415"/>
                  </a:lnTo>
                  <a:lnTo>
                    <a:pt x="285" y="415"/>
                  </a:lnTo>
                  <a:lnTo>
                    <a:pt x="259" y="418"/>
                  </a:lnTo>
                  <a:lnTo>
                    <a:pt x="193" y="383"/>
                  </a:lnTo>
                  <a:lnTo>
                    <a:pt x="180" y="356"/>
                  </a:lnTo>
                  <a:lnTo>
                    <a:pt x="196" y="325"/>
                  </a:lnTo>
                  <a:lnTo>
                    <a:pt x="180" y="313"/>
                  </a:lnTo>
                  <a:lnTo>
                    <a:pt x="154" y="313"/>
                  </a:lnTo>
                  <a:lnTo>
                    <a:pt x="151" y="305"/>
                  </a:lnTo>
                  <a:lnTo>
                    <a:pt x="122" y="313"/>
                  </a:lnTo>
                  <a:lnTo>
                    <a:pt x="96" y="293"/>
                  </a:lnTo>
                  <a:lnTo>
                    <a:pt x="109" y="266"/>
                  </a:lnTo>
                  <a:lnTo>
                    <a:pt x="125" y="266"/>
                  </a:lnTo>
                  <a:lnTo>
                    <a:pt x="133" y="262"/>
                  </a:lnTo>
                  <a:lnTo>
                    <a:pt x="143" y="235"/>
                  </a:lnTo>
                  <a:lnTo>
                    <a:pt x="133" y="223"/>
                  </a:lnTo>
                  <a:lnTo>
                    <a:pt x="62" y="212"/>
                  </a:lnTo>
                  <a:lnTo>
                    <a:pt x="54" y="192"/>
                  </a:lnTo>
                  <a:lnTo>
                    <a:pt x="33" y="192"/>
                  </a:lnTo>
                  <a:lnTo>
                    <a:pt x="12" y="192"/>
                  </a:lnTo>
                  <a:lnTo>
                    <a:pt x="0" y="173"/>
                  </a:lnTo>
                  <a:lnTo>
                    <a:pt x="4" y="16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5130430" y="3543292"/>
              <a:ext cx="1078551" cy="1053111"/>
            </a:xfrm>
            <a:custGeom>
              <a:avLst/>
              <a:gdLst/>
              <a:ahLst/>
              <a:cxnLst>
                <a:cxn ang="0">
                  <a:pos x="620" y="108"/>
                </a:cxn>
                <a:cxn ang="0">
                  <a:pos x="570" y="117"/>
                </a:cxn>
                <a:cxn ang="0">
                  <a:pos x="550" y="86"/>
                </a:cxn>
                <a:cxn ang="0">
                  <a:pos x="536" y="62"/>
                </a:cxn>
                <a:cxn ang="0">
                  <a:pos x="503" y="62"/>
                </a:cxn>
                <a:cxn ang="0">
                  <a:pos x="481" y="89"/>
                </a:cxn>
                <a:cxn ang="0">
                  <a:pos x="481" y="120"/>
                </a:cxn>
                <a:cxn ang="0">
                  <a:pos x="440" y="237"/>
                </a:cxn>
                <a:cxn ang="0">
                  <a:pos x="405" y="245"/>
                </a:cxn>
                <a:cxn ang="0">
                  <a:pos x="339" y="261"/>
                </a:cxn>
                <a:cxn ang="0">
                  <a:pos x="239" y="117"/>
                </a:cxn>
                <a:cxn ang="0">
                  <a:pos x="209" y="98"/>
                </a:cxn>
                <a:cxn ang="0">
                  <a:pos x="201" y="62"/>
                </a:cxn>
                <a:cxn ang="0">
                  <a:pos x="150" y="86"/>
                </a:cxn>
                <a:cxn ang="0">
                  <a:pos x="130" y="0"/>
                </a:cxn>
                <a:cxn ang="0">
                  <a:pos x="96" y="35"/>
                </a:cxn>
                <a:cxn ang="0">
                  <a:pos x="91" y="86"/>
                </a:cxn>
                <a:cxn ang="0">
                  <a:pos x="70" y="78"/>
                </a:cxn>
                <a:cxn ang="0">
                  <a:pos x="70" y="140"/>
                </a:cxn>
                <a:cxn ang="0">
                  <a:pos x="96" y="147"/>
                </a:cxn>
                <a:cxn ang="0">
                  <a:pos x="96" y="281"/>
                </a:cxn>
                <a:cxn ang="0">
                  <a:pos x="16" y="366"/>
                </a:cxn>
                <a:cxn ang="0">
                  <a:pos x="0" y="390"/>
                </a:cxn>
                <a:cxn ang="0">
                  <a:pos x="0" y="444"/>
                </a:cxn>
                <a:cxn ang="0">
                  <a:pos x="46" y="437"/>
                </a:cxn>
                <a:cxn ang="0">
                  <a:pos x="91" y="456"/>
                </a:cxn>
                <a:cxn ang="0">
                  <a:pos x="109" y="503"/>
                </a:cxn>
                <a:cxn ang="0">
                  <a:pos x="146" y="515"/>
                </a:cxn>
                <a:cxn ang="0">
                  <a:pos x="141" y="542"/>
                </a:cxn>
                <a:cxn ang="0">
                  <a:pos x="130" y="589"/>
                </a:cxn>
                <a:cxn ang="0">
                  <a:pos x="158" y="601"/>
                </a:cxn>
                <a:cxn ang="0">
                  <a:pos x="188" y="624"/>
                </a:cxn>
                <a:cxn ang="0">
                  <a:pos x="243" y="655"/>
                </a:cxn>
                <a:cxn ang="0">
                  <a:pos x="293" y="640"/>
                </a:cxn>
                <a:cxn ang="0">
                  <a:pos x="301" y="671"/>
                </a:cxn>
                <a:cxn ang="0">
                  <a:pos x="330" y="679"/>
                </a:cxn>
                <a:cxn ang="0">
                  <a:pos x="347" y="674"/>
                </a:cxn>
                <a:cxn ang="0">
                  <a:pos x="335" y="593"/>
                </a:cxn>
                <a:cxn ang="0">
                  <a:pos x="377" y="577"/>
                </a:cxn>
                <a:cxn ang="0">
                  <a:pos x="405" y="554"/>
                </a:cxn>
                <a:cxn ang="0">
                  <a:pos x="473" y="554"/>
                </a:cxn>
                <a:cxn ang="0">
                  <a:pos x="503" y="550"/>
                </a:cxn>
                <a:cxn ang="0">
                  <a:pos x="528" y="569"/>
                </a:cxn>
                <a:cxn ang="0">
                  <a:pos x="553" y="542"/>
                </a:cxn>
                <a:cxn ang="0">
                  <a:pos x="583" y="546"/>
                </a:cxn>
                <a:cxn ang="0">
                  <a:pos x="625" y="503"/>
                </a:cxn>
                <a:cxn ang="0">
                  <a:pos x="662" y="511"/>
                </a:cxn>
                <a:cxn ang="0">
                  <a:pos x="691" y="484"/>
                </a:cxn>
                <a:cxn ang="0">
                  <a:pos x="709" y="452"/>
                </a:cxn>
                <a:cxn ang="0">
                  <a:pos x="628" y="429"/>
                </a:cxn>
                <a:cxn ang="0">
                  <a:pos x="599" y="410"/>
                </a:cxn>
                <a:cxn ang="0">
                  <a:pos x="566" y="390"/>
                </a:cxn>
                <a:cxn ang="0">
                  <a:pos x="578" y="335"/>
                </a:cxn>
                <a:cxn ang="0">
                  <a:pos x="570" y="230"/>
                </a:cxn>
                <a:cxn ang="0">
                  <a:pos x="511" y="234"/>
                </a:cxn>
                <a:cxn ang="0">
                  <a:pos x="503" y="198"/>
                </a:cxn>
                <a:cxn ang="0">
                  <a:pos x="515" y="159"/>
                </a:cxn>
                <a:cxn ang="0">
                  <a:pos x="550" y="156"/>
                </a:cxn>
                <a:cxn ang="0">
                  <a:pos x="612" y="156"/>
                </a:cxn>
              </a:cxnLst>
              <a:rect l="0" t="0" r="r" b="b"/>
              <a:pathLst>
                <a:path w="710" h="684">
                  <a:moveTo>
                    <a:pt x="625" y="125"/>
                  </a:moveTo>
                  <a:lnTo>
                    <a:pt x="620" y="108"/>
                  </a:lnTo>
                  <a:lnTo>
                    <a:pt x="599" y="101"/>
                  </a:lnTo>
                  <a:lnTo>
                    <a:pt x="570" y="117"/>
                  </a:lnTo>
                  <a:lnTo>
                    <a:pt x="550" y="108"/>
                  </a:lnTo>
                  <a:lnTo>
                    <a:pt x="550" y="86"/>
                  </a:lnTo>
                  <a:lnTo>
                    <a:pt x="536" y="74"/>
                  </a:lnTo>
                  <a:lnTo>
                    <a:pt x="536" y="62"/>
                  </a:lnTo>
                  <a:lnTo>
                    <a:pt x="511" y="54"/>
                  </a:lnTo>
                  <a:lnTo>
                    <a:pt x="503" y="62"/>
                  </a:lnTo>
                  <a:lnTo>
                    <a:pt x="507" y="81"/>
                  </a:lnTo>
                  <a:lnTo>
                    <a:pt x="481" y="89"/>
                  </a:lnTo>
                  <a:lnTo>
                    <a:pt x="478" y="105"/>
                  </a:lnTo>
                  <a:lnTo>
                    <a:pt x="481" y="120"/>
                  </a:lnTo>
                  <a:lnTo>
                    <a:pt x="432" y="176"/>
                  </a:lnTo>
                  <a:lnTo>
                    <a:pt x="440" y="237"/>
                  </a:lnTo>
                  <a:lnTo>
                    <a:pt x="419" y="257"/>
                  </a:lnTo>
                  <a:lnTo>
                    <a:pt x="405" y="245"/>
                  </a:lnTo>
                  <a:lnTo>
                    <a:pt x="356" y="273"/>
                  </a:lnTo>
                  <a:lnTo>
                    <a:pt x="339" y="261"/>
                  </a:lnTo>
                  <a:lnTo>
                    <a:pt x="267" y="137"/>
                  </a:lnTo>
                  <a:lnTo>
                    <a:pt x="239" y="117"/>
                  </a:lnTo>
                  <a:lnTo>
                    <a:pt x="217" y="113"/>
                  </a:lnTo>
                  <a:lnTo>
                    <a:pt x="209" y="98"/>
                  </a:lnTo>
                  <a:lnTo>
                    <a:pt x="221" y="78"/>
                  </a:lnTo>
                  <a:lnTo>
                    <a:pt x="201" y="62"/>
                  </a:lnTo>
                  <a:lnTo>
                    <a:pt x="176" y="81"/>
                  </a:lnTo>
                  <a:lnTo>
                    <a:pt x="150" y="86"/>
                  </a:lnTo>
                  <a:lnTo>
                    <a:pt x="133" y="15"/>
                  </a:lnTo>
                  <a:lnTo>
                    <a:pt x="130" y="0"/>
                  </a:lnTo>
                  <a:lnTo>
                    <a:pt x="109" y="27"/>
                  </a:lnTo>
                  <a:lnTo>
                    <a:pt x="96" y="35"/>
                  </a:lnTo>
                  <a:lnTo>
                    <a:pt x="100" y="78"/>
                  </a:lnTo>
                  <a:lnTo>
                    <a:pt x="91" y="86"/>
                  </a:lnTo>
                  <a:lnTo>
                    <a:pt x="78" y="86"/>
                  </a:lnTo>
                  <a:lnTo>
                    <a:pt x="70" y="78"/>
                  </a:lnTo>
                  <a:lnTo>
                    <a:pt x="58" y="89"/>
                  </a:lnTo>
                  <a:lnTo>
                    <a:pt x="70" y="140"/>
                  </a:lnTo>
                  <a:lnTo>
                    <a:pt x="83" y="140"/>
                  </a:lnTo>
                  <a:lnTo>
                    <a:pt x="96" y="147"/>
                  </a:lnTo>
                  <a:lnTo>
                    <a:pt x="100" y="176"/>
                  </a:lnTo>
                  <a:lnTo>
                    <a:pt x="96" y="281"/>
                  </a:lnTo>
                  <a:lnTo>
                    <a:pt x="20" y="343"/>
                  </a:lnTo>
                  <a:lnTo>
                    <a:pt x="16" y="366"/>
                  </a:lnTo>
                  <a:lnTo>
                    <a:pt x="0" y="378"/>
                  </a:lnTo>
                  <a:lnTo>
                    <a:pt x="0" y="390"/>
                  </a:lnTo>
                  <a:lnTo>
                    <a:pt x="12" y="421"/>
                  </a:lnTo>
                  <a:lnTo>
                    <a:pt x="0" y="444"/>
                  </a:lnTo>
                  <a:lnTo>
                    <a:pt x="8" y="449"/>
                  </a:lnTo>
                  <a:lnTo>
                    <a:pt x="46" y="437"/>
                  </a:lnTo>
                  <a:lnTo>
                    <a:pt x="100" y="437"/>
                  </a:lnTo>
                  <a:lnTo>
                    <a:pt x="91" y="456"/>
                  </a:lnTo>
                  <a:lnTo>
                    <a:pt x="105" y="476"/>
                  </a:lnTo>
                  <a:lnTo>
                    <a:pt x="109" y="503"/>
                  </a:lnTo>
                  <a:lnTo>
                    <a:pt x="113" y="511"/>
                  </a:lnTo>
                  <a:lnTo>
                    <a:pt x="146" y="515"/>
                  </a:lnTo>
                  <a:lnTo>
                    <a:pt x="158" y="523"/>
                  </a:lnTo>
                  <a:lnTo>
                    <a:pt x="141" y="542"/>
                  </a:lnTo>
                  <a:lnTo>
                    <a:pt x="141" y="566"/>
                  </a:lnTo>
                  <a:lnTo>
                    <a:pt x="130" y="589"/>
                  </a:lnTo>
                  <a:lnTo>
                    <a:pt x="138" y="601"/>
                  </a:lnTo>
                  <a:lnTo>
                    <a:pt x="158" y="601"/>
                  </a:lnTo>
                  <a:lnTo>
                    <a:pt x="193" y="613"/>
                  </a:lnTo>
                  <a:lnTo>
                    <a:pt x="188" y="624"/>
                  </a:lnTo>
                  <a:lnTo>
                    <a:pt x="209" y="655"/>
                  </a:lnTo>
                  <a:lnTo>
                    <a:pt x="243" y="655"/>
                  </a:lnTo>
                  <a:lnTo>
                    <a:pt x="280" y="635"/>
                  </a:lnTo>
                  <a:lnTo>
                    <a:pt x="293" y="640"/>
                  </a:lnTo>
                  <a:lnTo>
                    <a:pt x="293" y="655"/>
                  </a:lnTo>
                  <a:lnTo>
                    <a:pt x="301" y="671"/>
                  </a:lnTo>
                  <a:lnTo>
                    <a:pt x="309" y="683"/>
                  </a:lnTo>
                  <a:lnTo>
                    <a:pt x="330" y="679"/>
                  </a:lnTo>
                  <a:lnTo>
                    <a:pt x="339" y="683"/>
                  </a:lnTo>
                  <a:lnTo>
                    <a:pt x="347" y="674"/>
                  </a:lnTo>
                  <a:lnTo>
                    <a:pt x="347" y="647"/>
                  </a:lnTo>
                  <a:lnTo>
                    <a:pt x="335" y="593"/>
                  </a:lnTo>
                  <a:lnTo>
                    <a:pt x="343" y="577"/>
                  </a:lnTo>
                  <a:lnTo>
                    <a:pt x="377" y="577"/>
                  </a:lnTo>
                  <a:lnTo>
                    <a:pt x="385" y="577"/>
                  </a:lnTo>
                  <a:lnTo>
                    <a:pt x="405" y="554"/>
                  </a:lnTo>
                  <a:lnTo>
                    <a:pt x="452" y="569"/>
                  </a:lnTo>
                  <a:lnTo>
                    <a:pt x="473" y="554"/>
                  </a:lnTo>
                  <a:lnTo>
                    <a:pt x="481" y="562"/>
                  </a:lnTo>
                  <a:lnTo>
                    <a:pt x="503" y="550"/>
                  </a:lnTo>
                  <a:lnTo>
                    <a:pt x="523" y="569"/>
                  </a:lnTo>
                  <a:lnTo>
                    <a:pt x="528" y="569"/>
                  </a:lnTo>
                  <a:lnTo>
                    <a:pt x="536" y="557"/>
                  </a:lnTo>
                  <a:lnTo>
                    <a:pt x="553" y="542"/>
                  </a:lnTo>
                  <a:lnTo>
                    <a:pt x="562" y="550"/>
                  </a:lnTo>
                  <a:lnTo>
                    <a:pt x="583" y="546"/>
                  </a:lnTo>
                  <a:lnTo>
                    <a:pt x="603" y="530"/>
                  </a:lnTo>
                  <a:lnTo>
                    <a:pt x="625" y="503"/>
                  </a:lnTo>
                  <a:lnTo>
                    <a:pt x="649" y="499"/>
                  </a:lnTo>
                  <a:lnTo>
                    <a:pt x="662" y="511"/>
                  </a:lnTo>
                  <a:lnTo>
                    <a:pt x="674" y="484"/>
                  </a:lnTo>
                  <a:lnTo>
                    <a:pt x="691" y="484"/>
                  </a:lnTo>
                  <a:lnTo>
                    <a:pt x="699" y="479"/>
                  </a:lnTo>
                  <a:lnTo>
                    <a:pt x="709" y="452"/>
                  </a:lnTo>
                  <a:lnTo>
                    <a:pt x="699" y="440"/>
                  </a:lnTo>
                  <a:lnTo>
                    <a:pt x="628" y="429"/>
                  </a:lnTo>
                  <a:lnTo>
                    <a:pt x="620" y="410"/>
                  </a:lnTo>
                  <a:lnTo>
                    <a:pt x="599" y="410"/>
                  </a:lnTo>
                  <a:lnTo>
                    <a:pt x="578" y="410"/>
                  </a:lnTo>
                  <a:lnTo>
                    <a:pt x="566" y="390"/>
                  </a:lnTo>
                  <a:lnTo>
                    <a:pt x="570" y="378"/>
                  </a:lnTo>
                  <a:lnTo>
                    <a:pt x="578" y="335"/>
                  </a:lnTo>
                  <a:lnTo>
                    <a:pt x="550" y="308"/>
                  </a:lnTo>
                  <a:lnTo>
                    <a:pt x="570" y="230"/>
                  </a:lnTo>
                  <a:lnTo>
                    <a:pt x="558" y="218"/>
                  </a:lnTo>
                  <a:lnTo>
                    <a:pt x="511" y="234"/>
                  </a:lnTo>
                  <a:lnTo>
                    <a:pt x="503" y="215"/>
                  </a:lnTo>
                  <a:lnTo>
                    <a:pt x="503" y="198"/>
                  </a:lnTo>
                  <a:lnTo>
                    <a:pt x="490" y="186"/>
                  </a:lnTo>
                  <a:lnTo>
                    <a:pt x="515" y="159"/>
                  </a:lnTo>
                  <a:lnTo>
                    <a:pt x="536" y="167"/>
                  </a:lnTo>
                  <a:lnTo>
                    <a:pt x="550" y="156"/>
                  </a:lnTo>
                  <a:lnTo>
                    <a:pt x="591" y="164"/>
                  </a:lnTo>
                  <a:lnTo>
                    <a:pt x="612" y="156"/>
                  </a:lnTo>
                  <a:lnTo>
                    <a:pt x="625" y="125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7383720" y="3532256"/>
              <a:ext cx="509316" cy="608535"/>
            </a:xfrm>
            <a:custGeom>
              <a:avLst/>
              <a:gdLst/>
              <a:ahLst/>
              <a:cxnLst>
                <a:cxn ang="0">
                  <a:pos x="0" y="302"/>
                </a:cxn>
                <a:cxn ang="0">
                  <a:pos x="8" y="234"/>
                </a:cxn>
                <a:cxn ang="0">
                  <a:pos x="20" y="215"/>
                </a:cxn>
                <a:cxn ang="0">
                  <a:pos x="28" y="200"/>
                </a:cxn>
                <a:cxn ang="0">
                  <a:pos x="42" y="168"/>
                </a:cxn>
                <a:cxn ang="0">
                  <a:pos x="34" y="161"/>
                </a:cxn>
                <a:cxn ang="0">
                  <a:pos x="38" y="133"/>
                </a:cxn>
                <a:cxn ang="0">
                  <a:pos x="70" y="98"/>
                </a:cxn>
                <a:cxn ang="0">
                  <a:pos x="67" y="75"/>
                </a:cxn>
                <a:cxn ang="0">
                  <a:pos x="91" y="39"/>
                </a:cxn>
                <a:cxn ang="0">
                  <a:pos x="113" y="43"/>
                </a:cxn>
                <a:cxn ang="0">
                  <a:pos x="154" y="16"/>
                </a:cxn>
                <a:cxn ang="0">
                  <a:pos x="163" y="0"/>
                </a:cxn>
                <a:cxn ang="0">
                  <a:pos x="193" y="4"/>
                </a:cxn>
                <a:cxn ang="0">
                  <a:pos x="205" y="36"/>
                </a:cxn>
                <a:cxn ang="0">
                  <a:pos x="217" y="59"/>
                </a:cxn>
                <a:cxn ang="0">
                  <a:pos x="248" y="59"/>
                </a:cxn>
                <a:cxn ang="0">
                  <a:pos x="264" y="39"/>
                </a:cxn>
                <a:cxn ang="0">
                  <a:pos x="289" y="63"/>
                </a:cxn>
                <a:cxn ang="0">
                  <a:pos x="335" y="48"/>
                </a:cxn>
                <a:cxn ang="0">
                  <a:pos x="306" y="114"/>
                </a:cxn>
                <a:cxn ang="0">
                  <a:pos x="289" y="106"/>
                </a:cxn>
                <a:cxn ang="0">
                  <a:pos x="276" y="110"/>
                </a:cxn>
                <a:cxn ang="0">
                  <a:pos x="276" y="117"/>
                </a:cxn>
                <a:cxn ang="0">
                  <a:pos x="292" y="133"/>
                </a:cxn>
                <a:cxn ang="0">
                  <a:pos x="289" y="192"/>
                </a:cxn>
                <a:cxn ang="0">
                  <a:pos x="292" y="212"/>
                </a:cxn>
                <a:cxn ang="0">
                  <a:pos x="289" y="215"/>
                </a:cxn>
                <a:cxn ang="0">
                  <a:pos x="268" y="212"/>
                </a:cxn>
                <a:cxn ang="0">
                  <a:pos x="256" y="224"/>
                </a:cxn>
                <a:cxn ang="0">
                  <a:pos x="264" y="239"/>
                </a:cxn>
                <a:cxn ang="0">
                  <a:pos x="243" y="258"/>
                </a:cxn>
                <a:cxn ang="0">
                  <a:pos x="248" y="266"/>
                </a:cxn>
                <a:cxn ang="0">
                  <a:pos x="226" y="278"/>
                </a:cxn>
                <a:cxn ang="0">
                  <a:pos x="229" y="293"/>
                </a:cxn>
                <a:cxn ang="0">
                  <a:pos x="221" y="302"/>
                </a:cxn>
                <a:cxn ang="0">
                  <a:pos x="193" y="302"/>
                </a:cxn>
                <a:cxn ang="0">
                  <a:pos x="176" y="313"/>
                </a:cxn>
                <a:cxn ang="0">
                  <a:pos x="172" y="317"/>
                </a:cxn>
                <a:cxn ang="0">
                  <a:pos x="188" y="329"/>
                </a:cxn>
                <a:cxn ang="0">
                  <a:pos x="172" y="352"/>
                </a:cxn>
                <a:cxn ang="0">
                  <a:pos x="150" y="375"/>
                </a:cxn>
                <a:cxn ang="0">
                  <a:pos x="142" y="371"/>
                </a:cxn>
                <a:cxn ang="0">
                  <a:pos x="122" y="395"/>
                </a:cxn>
                <a:cxn ang="0">
                  <a:pos x="96" y="344"/>
                </a:cxn>
                <a:cxn ang="0">
                  <a:pos x="75" y="317"/>
                </a:cxn>
                <a:cxn ang="0">
                  <a:pos x="59" y="321"/>
                </a:cxn>
                <a:cxn ang="0">
                  <a:pos x="50" y="313"/>
                </a:cxn>
                <a:cxn ang="0">
                  <a:pos x="0" y="302"/>
                </a:cxn>
              </a:cxnLst>
              <a:rect l="0" t="0" r="r" b="b"/>
              <a:pathLst>
                <a:path w="336" h="396">
                  <a:moveTo>
                    <a:pt x="0" y="302"/>
                  </a:moveTo>
                  <a:lnTo>
                    <a:pt x="8" y="234"/>
                  </a:lnTo>
                  <a:lnTo>
                    <a:pt x="20" y="215"/>
                  </a:lnTo>
                  <a:lnTo>
                    <a:pt x="28" y="200"/>
                  </a:lnTo>
                  <a:lnTo>
                    <a:pt x="42" y="168"/>
                  </a:lnTo>
                  <a:lnTo>
                    <a:pt x="34" y="161"/>
                  </a:lnTo>
                  <a:lnTo>
                    <a:pt x="38" y="133"/>
                  </a:lnTo>
                  <a:lnTo>
                    <a:pt x="70" y="98"/>
                  </a:lnTo>
                  <a:lnTo>
                    <a:pt x="67" y="75"/>
                  </a:lnTo>
                  <a:lnTo>
                    <a:pt x="91" y="39"/>
                  </a:lnTo>
                  <a:lnTo>
                    <a:pt x="113" y="43"/>
                  </a:lnTo>
                  <a:lnTo>
                    <a:pt x="154" y="16"/>
                  </a:lnTo>
                  <a:lnTo>
                    <a:pt x="163" y="0"/>
                  </a:lnTo>
                  <a:lnTo>
                    <a:pt x="193" y="4"/>
                  </a:lnTo>
                  <a:lnTo>
                    <a:pt x="205" y="36"/>
                  </a:lnTo>
                  <a:lnTo>
                    <a:pt x="217" y="59"/>
                  </a:lnTo>
                  <a:lnTo>
                    <a:pt x="248" y="59"/>
                  </a:lnTo>
                  <a:lnTo>
                    <a:pt x="264" y="39"/>
                  </a:lnTo>
                  <a:lnTo>
                    <a:pt x="289" y="63"/>
                  </a:lnTo>
                  <a:lnTo>
                    <a:pt x="335" y="48"/>
                  </a:lnTo>
                  <a:lnTo>
                    <a:pt x="306" y="114"/>
                  </a:lnTo>
                  <a:lnTo>
                    <a:pt x="289" y="106"/>
                  </a:lnTo>
                  <a:lnTo>
                    <a:pt x="276" y="110"/>
                  </a:lnTo>
                  <a:lnTo>
                    <a:pt x="276" y="117"/>
                  </a:lnTo>
                  <a:lnTo>
                    <a:pt x="292" y="133"/>
                  </a:lnTo>
                  <a:lnTo>
                    <a:pt x="289" y="192"/>
                  </a:lnTo>
                  <a:lnTo>
                    <a:pt x="292" y="212"/>
                  </a:lnTo>
                  <a:lnTo>
                    <a:pt x="289" y="215"/>
                  </a:lnTo>
                  <a:lnTo>
                    <a:pt x="268" y="212"/>
                  </a:lnTo>
                  <a:lnTo>
                    <a:pt x="256" y="224"/>
                  </a:lnTo>
                  <a:lnTo>
                    <a:pt x="264" y="239"/>
                  </a:lnTo>
                  <a:lnTo>
                    <a:pt x="243" y="258"/>
                  </a:lnTo>
                  <a:lnTo>
                    <a:pt x="248" y="266"/>
                  </a:lnTo>
                  <a:lnTo>
                    <a:pt x="226" y="278"/>
                  </a:lnTo>
                  <a:lnTo>
                    <a:pt x="229" y="293"/>
                  </a:lnTo>
                  <a:lnTo>
                    <a:pt x="221" y="302"/>
                  </a:lnTo>
                  <a:lnTo>
                    <a:pt x="193" y="302"/>
                  </a:lnTo>
                  <a:lnTo>
                    <a:pt x="176" y="313"/>
                  </a:lnTo>
                  <a:lnTo>
                    <a:pt x="172" y="317"/>
                  </a:lnTo>
                  <a:lnTo>
                    <a:pt x="188" y="329"/>
                  </a:lnTo>
                  <a:lnTo>
                    <a:pt x="172" y="352"/>
                  </a:lnTo>
                  <a:lnTo>
                    <a:pt x="150" y="375"/>
                  </a:lnTo>
                  <a:lnTo>
                    <a:pt x="142" y="371"/>
                  </a:lnTo>
                  <a:lnTo>
                    <a:pt x="122" y="395"/>
                  </a:lnTo>
                  <a:lnTo>
                    <a:pt x="96" y="344"/>
                  </a:lnTo>
                  <a:lnTo>
                    <a:pt x="75" y="317"/>
                  </a:lnTo>
                  <a:lnTo>
                    <a:pt x="59" y="321"/>
                  </a:lnTo>
                  <a:lnTo>
                    <a:pt x="50" y="313"/>
                  </a:lnTo>
                  <a:lnTo>
                    <a:pt x="0" y="302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7073083" y="3333615"/>
              <a:ext cx="562929" cy="740962"/>
            </a:xfrm>
            <a:custGeom>
              <a:avLst/>
              <a:gdLst/>
              <a:ahLst/>
              <a:cxnLst>
                <a:cxn ang="0">
                  <a:pos x="7" y="105"/>
                </a:cxn>
                <a:cxn ang="0">
                  <a:pos x="34" y="148"/>
                </a:cxn>
                <a:cxn ang="0">
                  <a:pos x="34" y="172"/>
                </a:cxn>
                <a:cxn ang="0">
                  <a:pos x="20" y="195"/>
                </a:cxn>
                <a:cxn ang="0">
                  <a:pos x="3" y="206"/>
                </a:cxn>
                <a:cxn ang="0">
                  <a:pos x="0" y="245"/>
                </a:cxn>
                <a:cxn ang="0">
                  <a:pos x="3" y="254"/>
                </a:cxn>
                <a:cxn ang="0">
                  <a:pos x="15" y="250"/>
                </a:cxn>
                <a:cxn ang="0">
                  <a:pos x="20" y="254"/>
                </a:cxn>
                <a:cxn ang="0">
                  <a:pos x="20" y="281"/>
                </a:cxn>
                <a:cxn ang="0">
                  <a:pos x="34" y="308"/>
                </a:cxn>
                <a:cxn ang="0">
                  <a:pos x="50" y="316"/>
                </a:cxn>
                <a:cxn ang="0">
                  <a:pos x="50" y="359"/>
                </a:cxn>
                <a:cxn ang="0">
                  <a:pos x="42" y="391"/>
                </a:cxn>
                <a:cxn ang="0">
                  <a:pos x="50" y="402"/>
                </a:cxn>
                <a:cxn ang="0">
                  <a:pos x="66" y="418"/>
                </a:cxn>
                <a:cxn ang="0">
                  <a:pos x="105" y="410"/>
                </a:cxn>
                <a:cxn ang="0">
                  <a:pos x="113" y="421"/>
                </a:cxn>
                <a:cxn ang="0">
                  <a:pos x="100" y="438"/>
                </a:cxn>
                <a:cxn ang="0">
                  <a:pos x="78" y="465"/>
                </a:cxn>
                <a:cxn ang="0">
                  <a:pos x="78" y="472"/>
                </a:cxn>
                <a:cxn ang="0">
                  <a:pos x="91" y="480"/>
                </a:cxn>
                <a:cxn ang="0">
                  <a:pos x="171" y="450"/>
                </a:cxn>
                <a:cxn ang="0">
                  <a:pos x="201" y="465"/>
                </a:cxn>
                <a:cxn ang="0">
                  <a:pos x="209" y="457"/>
                </a:cxn>
                <a:cxn ang="0">
                  <a:pos x="201" y="441"/>
                </a:cxn>
                <a:cxn ang="0">
                  <a:pos x="204" y="430"/>
                </a:cxn>
                <a:cxn ang="0">
                  <a:pos x="212" y="363"/>
                </a:cxn>
                <a:cxn ang="0">
                  <a:pos x="226" y="343"/>
                </a:cxn>
                <a:cxn ang="0">
                  <a:pos x="234" y="328"/>
                </a:cxn>
                <a:cxn ang="0">
                  <a:pos x="246" y="296"/>
                </a:cxn>
                <a:cxn ang="0">
                  <a:pos x="238" y="289"/>
                </a:cxn>
                <a:cxn ang="0">
                  <a:pos x="243" y="262"/>
                </a:cxn>
                <a:cxn ang="0">
                  <a:pos x="275" y="226"/>
                </a:cxn>
                <a:cxn ang="0">
                  <a:pos x="271" y="203"/>
                </a:cxn>
                <a:cxn ang="0">
                  <a:pos x="297" y="167"/>
                </a:cxn>
                <a:cxn ang="0">
                  <a:pos x="317" y="172"/>
                </a:cxn>
                <a:cxn ang="0">
                  <a:pos x="359" y="144"/>
                </a:cxn>
                <a:cxn ang="0">
                  <a:pos x="369" y="128"/>
                </a:cxn>
                <a:cxn ang="0">
                  <a:pos x="343" y="78"/>
                </a:cxn>
                <a:cxn ang="0">
                  <a:pos x="322" y="54"/>
                </a:cxn>
                <a:cxn ang="0">
                  <a:pos x="334" y="42"/>
                </a:cxn>
                <a:cxn ang="0">
                  <a:pos x="317" y="27"/>
                </a:cxn>
                <a:cxn ang="0">
                  <a:pos x="275" y="27"/>
                </a:cxn>
                <a:cxn ang="0">
                  <a:pos x="259" y="11"/>
                </a:cxn>
                <a:cxn ang="0">
                  <a:pos x="226" y="42"/>
                </a:cxn>
                <a:cxn ang="0">
                  <a:pos x="212" y="35"/>
                </a:cxn>
                <a:cxn ang="0">
                  <a:pos x="226" y="11"/>
                </a:cxn>
                <a:cxn ang="0">
                  <a:pos x="226" y="3"/>
                </a:cxn>
                <a:cxn ang="0">
                  <a:pos x="212" y="0"/>
                </a:cxn>
                <a:cxn ang="0">
                  <a:pos x="171" y="20"/>
                </a:cxn>
                <a:cxn ang="0">
                  <a:pos x="141" y="30"/>
                </a:cxn>
                <a:cxn ang="0">
                  <a:pos x="113" y="27"/>
                </a:cxn>
                <a:cxn ang="0">
                  <a:pos x="58" y="78"/>
                </a:cxn>
                <a:cxn ang="0">
                  <a:pos x="28" y="86"/>
                </a:cxn>
                <a:cxn ang="0">
                  <a:pos x="7" y="105"/>
                </a:cxn>
              </a:cxnLst>
              <a:rect l="0" t="0" r="r" b="b"/>
              <a:pathLst>
                <a:path w="370" h="481">
                  <a:moveTo>
                    <a:pt x="7" y="105"/>
                  </a:moveTo>
                  <a:lnTo>
                    <a:pt x="34" y="148"/>
                  </a:lnTo>
                  <a:lnTo>
                    <a:pt x="34" y="172"/>
                  </a:lnTo>
                  <a:lnTo>
                    <a:pt x="20" y="195"/>
                  </a:lnTo>
                  <a:lnTo>
                    <a:pt x="3" y="206"/>
                  </a:lnTo>
                  <a:lnTo>
                    <a:pt x="0" y="245"/>
                  </a:lnTo>
                  <a:lnTo>
                    <a:pt x="3" y="254"/>
                  </a:lnTo>
                  <a:lnTo>
                    <a:pt x="15" y="250"/>
                  </a:lnTo>
                  <a:lnTo>
                    <a:pt x="20" y="254"/>
                  </a:lnTo>
                  <a:lnTo>
                    <a:pt x="20" y="281"/>
                  </a:lnTo>
                  <a:lnTo>
                    <a:pt x="34" y="308"/>
                  </a:lnTo>
                  <a:lnTo>
                    <a:pt x="50" y="316"/>
                  </a:lnTo>
                  <a:lnTo>
                    <a:pt x="50" y="359"/>
                  </a:lnTo>
                  <a:lnTo>
                    <a:pt x="42" y="391"/>
                  </a:lnTo>
                  <a:lnTo>
                    <a:pt x="50" y="402"/>
                  </a:lnTo>
                  <a:lnTo>
                    <a:pt x="66" y="418"/>
                  </a:lnTo>
                  <a:lnTo>
                    <a:pt x="105" y="410"/>
                  </a:lnTo>
                  <a:lnTo>
                    <a:pt x="113" y="421"/>
                  </a:lnTo>
                  <a:lnTo>
                    <a:pt x="100" y="438"/>
                  </a:lnTo>
                  <a:lnTo>
                    <a:pt x="78" y="465"/>
                  </a:lnTo>
                  <a:lnTo>
                    <a:pt x="78" y="472"/>
                  </a:lnTo>
                  <a:lnTo>
                    <a:pt x="91" y="480"/>
                  </a:lnTo>
                  <a:lnTo>
                    <a:pt x="171" y="450"/>
                  </a:lnTo>
                  <a:lnTo>
                    <a:pt x="201" y="465"/>
                  </a:lnTo>
                  <a:lnTo>
                    <a:pt x="209" y="457"/>
                  </a:lnTo>
                  <a:lnTo>
                    <a:pt x="201" y="441"/>
                  </a:lnTo>
                  <a:lnTo>
                    <a:pt x="204" y="430"/>
                  </a:lnTo>
                  <a:lnTo>
                    <a:pt x="212" y="363"/>
                  </a:lnTo>
                  <a:lnTo>
                    <a:pt x="226" y="343"/>
                  </a:lnTo>
                  <a:lnTo>
                    <a:pt x="234" y="328"/>
                  </a:lnTo>
                  <a:lnTo>
                    <a:pt x="246" y="296"/>
                  </a:lnTo>
                  <a:lnTo>
                    <a:pt x="238" y="289"/>
                  </a:lnTo>
                  <a:lnTo>
                    <a:pt x="243" y="262"/>
                  </a:lnTo>
                  <a:lnTo>
                    <a:pt x="275" y="226"/>
                  </a:lnTo>
                  <a:lnTo>
                    <a:pt x="271" y="203"/>
                  </a:lnTo>
                  <a:lnTo>
                    <a:pt x="297" y="167"/>
                  </a:lnTo>
                  <a:lnTo>
                    <a:pt x="317" y="172"/>
                  </a:lnTo>
                  <a:lnTo>
                    <a:pt x="359" y="144"/>
                  </a:lnTo>
                  <a:lnTo>
                    <a:pt x="369" y="128"/>
                  </a:lnTo>
                  <a:lnTo>
                    <a:pt x="343" y="78"/>
                  </a:lnTo>
                  <a:lnTo>
                    <a:pt x="322" y="54"/>
                  </a:lnTo>
                  <a:lnTo>
                    <a:pt x="334" y="42"/>
                  </a:lnTo>
                  <a:lnTo>
                    <a:pt x="317" y="27"/>
                  </a:lnTo>
                  <a:lnTo>
                    <a:pt x="275" y="27"/>
                  </a:lnTo>
                  <a:lnTo>
                    <a:pt x="259" y="11"/>
                  </a:lnTo>
                  <a:lnTo>
                    <a:pt x="226" y="42"/>
                  </a:lnTo>
                  <a:lnTo>
                    <a:pt x="212" y="35"/>
                  </a:lnTo>
                  <a:lnTo>
                    <a:pt x="226" y="11"/>
                  </a:lnTo>
                  <a:lnTo>
                    <a:pt x="226" y="3"/>
                  </a:lnTo>
                  <a:lnTo>
                    <a:pt x="212" y="0"/>
                  </a:lnTo>
                  <a:lnTo>
                    <a:pt x="171" y="20"/>
                  </a:lnTo>
                  <a:lnTo>
                    <a:pt x="141" y="30"/>
                  </a:lnTo>
                  <a:lnTo>
                    <a:pt x="113" y="27"/>
                  </a:lnTo>
                  <a:lnTo>
                    <a:pt x="58" y="78"/>
                  </a:lnTo>
                  <a:lnTo>
                    <a:pt x="28" y="86"/>
                  </a:lnTo>
                  <a:lnTo>
                    <a:pt x="7" y="105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6500694" y="3406134"/>
              <a:ext cx="651229" cy="685785"/>
            </a:xfrm>
            <a:custGeom>
              <a:avLst/>
              <a:gdLst/>
              <a:ahLst/>
              <a:cxnLst>
                <a:cxn ang="0">
                  <a:pos x="368" y="54"/>
                </a:cxn>
                <a:cxn ang="0">
                  <a:pos x="359" y="15"/>
                </a:cxn>
                <a:cxn ang="0">
                  <a:pos x="327" y="23"/>
                </a:cxn>
                <a:cxn ang="0">
                  <a:pos x="305" y="35"/>
                </a:cxn>
                <a:cxn ang="0">
                  <a:pos x="280" y="20"/>
                </a:cxn>
                <a:cxn ang="0">
                  <a:pos x="242" y="27"/>
                </a:cxn>
                <a:cxn ang="0">
                  <a:pos x="117" y="0"/>
                </a:cxn>
                <a:cxn ang="0">
                  <a:pos x="125" y="31"/>
                </a:cxn>
                <a:cxn ang="0">
                  <a:pos x="70" y="31"/>
                </a:cxn>
                <a:cxn ang="0">
                  <a:pos x="20" y="86"/>
                </a:cxn>
                <a:cxn ang="0">
                  <a:pos x="42" y="211"/>
                </a:cxn>
                <a:cxn ang="0">
                  <a:pos x="3" y="257"/>
                </a:cxn>
                <a:cxn ang="0">
                  <a:pos x="54" y="266"/>
                </a:cxn>
                <a:cxn ang="0">
                  <a:pos x="62" y="344"/>
                </a:cxn>
                <a:cxn ang="0">
                  <a:pos x="104" y="325"/>
                </a:cxn>
                <a:cxn ang="0">
                  <a:pos x="121" y="344"/>
                </a:cxn>
                <a:cxn ang="0">
                  <a:pos x="159" y="316"/>
                </a:cxn>
                <a:cxn ang="0">
                  <a:pos x="201" y="316"/>
                </a:cxn>
                <a:cxn ang="0">
                  <a:pos x="222" y="347"/>
                </a:cxn>
                <a:cxn ang="0">
                  <a:pos x="196" y="403"/>
                </a:cxn>
                <a:cxn ang="0">
                  <a:pos x="196" y="425"/>
                </a:cxn>
                <a:cxn ang="0">
                  <a:pos x="233" y="445"/>
                </a:cxn>
                <a:cxn ang="0">
                  <a:pos x="267" y="433"/>
                </a:cxn>
                <a:cxn ang="0">
                  <a:pos x="280" y="403"/>
                </a:cxn>
                <a:cxn ang="0">
                  <a:pos x="309" y="394"/>
                </a:cxn>
                <a:cxn ang="0">
                  <a:pos x="351" y="398"/>
                </a:cxn>
                <a:cxn ang="0">
                  <a:pos x="343" y="379"/>
                </a:cxn>
                <a:cxn ang="0">
                  <a:pos x="406" y="371"/>
                </a:cxn>
                <a:cxn ang="0">
                  <a:pos x="418" y="344"/>
                </a:cxn>
                <a:cxn ang="0">
                  <a:pos x="427" y="269"/>
                </a:cxn>
                <a:cxn ang="0">
                  <a:pos x="398" y="234"/>
                </a:cxn>
                <a:cxn ang="0">
                  <a:pos x="393" y="203"/>
                </a:cxn>
                <a:cxn ang="0">
                  <a:pos x="376" y="199"/>
                </a:cxn>
                <a:cxn ang="0">
                  <a:pos x="398" y="149"/>
                </a:cxn>
                <a:cxn ang="0">
                  <a:pos x="410" y="101"/>
                </a:cxn>
              </a:cxnLst>
              <a:rect l="0" t="0" r="r" b="b"/>
              <a:pathLst>
                <a:path w="428" h="446">
                  <a:moveTo>
                    <a:pt x="384" y="59"/>
                  </a:moveTo>
                  <a:lnTo>
                    <a:pt x="368" y="54"/>
                  </a:lnTo>
                  <a:lnTo>
                    <a:pt x="359" y="42"/>
                  </a:lnTo>
                  <a:lnTo>
                    <a:pt x="359" y="15"/>
                  </a:lnTo>
                  <a:lnTo>
                    <a:pt x="348" y="3"/>
                  </a:lnTo>
                  <a:lnTo>
                    <a:pt x="327" y="23"/>
                  </a:lnTo>
                  <a:lnTo>
                    <a:pt x="317" y="35"/>
                  </a:lnTo>
                  <a:lnTo>
                    <a:pt x="305" y="35"/>
                  </a:lnTo>
                  <a:lnTo>
                    <a:pt x="301" y="15"/>
                  </a:lnTo>
                  <a:lnTo>
                    <a:pt x="280" y="20"/>
                  </a:lnTo>
                  <a:lnTo>
                    <a:pt x="259" y="35"/>
                  </a:lnTo>
                  <a:lnTo>
                    <a:pt x="242" y="27"/>
                  </a:lnTo>
                  <a:lnTo>
                    <a:pt x="209" y="8"/>
                  </a:lnTo>
                  <a:lnTo>
                    <a:pt x="117" y="0"/>
                  </a:lnTo>
                  <a:lnTo>
                    <a:pt x="108" y="12"/>
                  </a:lnTo>
                  <a:lnTo>
                    <a:pt x="125" y="31"/>
                  </a:lnTo>
                  <a:lnTo>
                    <a:pt x="104" y="42"/>
                  </a:lnTo>
                  <a:lnTo>
                    <a:pt x="70" y="31"/>
                  </a:lnTo>
                  <a:lnTo>
                    <a:pt x="33" y="59"/>
                  </a:lnTo>
                  <a:lnTo>
                    <a:pt x="20" y="86"/>
                  </a:lnTo>
                  <a:lnTo>
                    <a:pt x="24" y="149"/>
                  </a:lnTo>
                  <a:lnTo>
                    <a:pt x="42" y="211"/>
                  </a:lnTo>
                  <a:lnTo>
                    <a:pt x="0" y="254"/>
                  </a:lnTo>
                  <a:lnTo>
                    <a:pt x="3" y="257"/>
                  </a:lnTo>
                  <a:lnTo>
                    <a:pt x="42" y="250"/>
                  </a:lnTo>
                  <a:lnTo>
                    <a:pt x="54" y="266"/>
                  </a:lnTo>
                  <a:lnTo>
                    <a:pt x="42" y="313"/>
                  </a:lnTo>
                  <a:lnTo>
                    <a:pt x="62" y="344"/>
                  </a:lnTo>
                  <a:lnTo>
                    <a:pt x="83" y="352"/>
                  </a:lnTo>
                  <a:lnTo>
                    <a:pt x="104" y="325"/>
                  </a:lnTo>
                  <a:lnTo>
                    <a:pt x="113" y="344"/>
                  </a:lnTo>
                  <a:lnTo>
                    <a:pt x="121" y="344"/>
                  </a:lnTo>
                  <a:lnTo>
                    <a:pt x="149" y="316"/>
                  </a:lnTo>
                  <a:lnTo>
                    <a:pt x="159" y="316"/>
                  </a:lnTo>
                  <a:lnTo>
                    <a:pt x="175" y="308"/>
                  </a:lnTo>
                  <a:lnTo>
                    <a:pt x="201" y="316"/>
                  </a:lnTo>
                  <a:lnTo>
                    <a:pt x="201" y="344"/>
                  </a:lnTo>
                  <a:lnTo>
                    <a:pt x="222" y="347"/>
                  </a:lnTo>
                  <a:lnTo>
                    <a:pt x="212" y="374"/>
                  </a:lnTo>
                  <a:lnTo>
                    <a:pt x="196" y="403"/>
                  </a:lnTo>
                  <a:lnTo>
                    <a:pt x="188" y="425"/>
                  </a:lnTo>
                  <a:lnTo>
                    <a:pt x="196" y="425"/>
                  </a:lnTo>
                  <a:lnTo>
                    <a:pt x="217" y="406"/>
                  </a:lnTo>
                  <a:lnTo>
                    <a:pt x="233" y="445"/>
                  </a:lnTo>
                  <a:lnTo>
                    <a:pt x="251" y="433"/>
                  </a:lnTo>
                  <a:lnTo>
                    <a:pt x="267" y="433"/>
                  </a:lnTo>
                  <a:lnTo>
                    <a:pt x="280" y="425"/>
                  </a:lnTo>
                  <a:lnTo>
                    <a:pt x="280" y="403"/>
                  </a:lnTo>
                  <a:lnTo>
                    <a:pt x="288" y="394"/>
                  </a:lnTo>
                  <a:lnTo>
                    <a:pt x="309" y="394"/>
                  </a:lnTo>
                  <a:lnTo>
                    <a:pt x="343" y="410"/>
                  </a:lnTo>
                  <a:lnTo>
                    <a:pt x="351" y="398"/>
                  </a:lnTo>
                  <a:lnTo>
                    <a:pt x="343" y="386"/>
                  </a:lnTo>
                  <a:lnTo>
                    <a:pt x="343" y="379"/>
                  </a:lnTo>
                  <a:lnTo>
                    <a:pt x="368" y="359"/>
                  </a:lnTo>
                  <a:lnTo>
                    <a:pt x="406" y="371"/>
                  </a:lnTo>
                  <a:lnTo>
                    <a:pt x="427" y="355"/>
                  </a:lnTo>
                  <a:lnTo>
                    <a:pt x="418" y="344"/>
                  </a:lnTo>
                  <a:lnTo>
                    <a:pt x="427" y="313"/>
                  </a:lnTo>
                  <a:lnTo>
                    <a:pt x="427" y="269"/>
                  </a:lnTo>
                  <a:lnTo>
                    <a:pt x="410" y="262"/>
                  </a:lnTo>
                  <a:lnTo>
                    <a:pt x="398" y="234"/>
                  </a:lnTo>
                  <a:lnTo>
                    <a:pt x="398" y="207"/>
                  </a:lnTo>
                  <a:lnTo>
                    <a:pt x="393" y="203"/>
                  </a:lnTo>
                  <a:lnTo>
                    <a:pt x="380" y="207"/>
                  </a:lnTo>
                  <a:lnTo>
                    <a:pt x="376" y="199"/>
                  </a:lnTo>
                  <a:lnTo>
                    <a:pt x="380" y="160"/>
                  </a:lnTo>
                  <a:lnTo>
                    <a:pt x="398" y="149"/>
                  </a:lnTo>
                  <a:lnTo>
                    <a:pt x="410" y="125"/>
                  </a:lnTo>
                  <a:lnTo>
                    <a:pt x="410" y="101"/>
                  </a:lnTo>
                  <a:lnTo>
                    <a:pt x="384" y="59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5877846" y="3536987"/>
              <a:ext cx="725341" cy="603804"/>
            </a:xfrm>
            <a:custGeom>
              <a:avLst/>
              <a:gdLst/>
              <a:ahLst/>
              <a:cxnLst>
                <a:cxn ang="0">
                  <a:pos x="134" y="129"/>
                </a:cxn>
                <a:cxn ang="0">
                  <a:pos x="122" y="161"/>
                </a:cxn>
                <a:cxn ang="0">
                  <a:pos x="100" y="168"/>
                </a:cxn>
                <a:cxn ang="0">
                  <a:pos x="59" y="161"/>
                </a:cxn>
                <a:cxn ang="0">
                  <a:pos x="46" y="172"/>
                </a:cxn>
                <a:cxn ang="0">
                  <a:pos x="25" y="164"/>
                </a:cxn>
                <a:cxn ang="0">
                  <a:pos x="0" y="191"/>
                </a:cxn>
                <a:cxn ang="0">
                  <a:pos x="12" y="203"/>
                </a:cxn>
                <a:cxn ang="0">
                  <a:pos x="12" y="219"/>
                </a:cxn>
                <a:cxn ang="0">
                  <a:pos x="20" y="239"/>
                </a:cxn>
                <a:cxn ang="0">
                  <a:pos x="67" y="223"/>
                </a:cxn>
                <a:cxn ang="0">
                  <a:pos x="80" y="235"/>
                </a:cxn>
                <a:cxn ang="0">
                  <a:pos x="59" y="313"/>
                </a:cxn>
                <a:cxn ang="0">
                  <a:pos x="88" y="340"/>
                </a:cxn>
                <a:cxn ang="0">
                  <a:pos x="80" y="383"/>
                </a:cxn>
                <a:cxn ang="0">
                  <a:pos x="105" y="387"/>
                </a:cxn>
                <a:cxn ang="0">
                  <a:pos x="134" y="360"/>
                </a:cxn>
                <a:cxn ang="0">
                  <a:pos x="142" y="367"/>
                </a:cxn>
                <a:cxn ang="0">
                  <a:pos x="197" y="391"/>
                </a:cxn>
                <a:cxn ang="0">
                  <a:pos x="209" y="383"/>
                </a:cxn>
                <a:cxn ang="0">
                  <a:pos x="209" y="367"/>
                </a:cxn>
                <a:cxn ang="0">
                  <a:pos x="221" y="356"/>
                </a:cxn>
                <a:cxn ang="0">
                  <a:pos x="297" y="308"/>
                </a:cxn>
                <a:cxn ang="0">
                  <a:pos x="311" y="325"/>
                </a:cxn>
                <a:cxn ang="0">
                  <a:pos x="355" y="340"/>
                </a:cxn>
                <a:cxn ang="0">
                  <a:pos x="386" y="305"/>
                </a:cxn>
                <a:cxn ang="0">
                  <a:pos x="394" y="313"/>
                </a:cxn>
                <a:cxn ang="0">
                  <a:pos x="415" y="313"/>
                </a:cxn>
                <a:cxn ang="0">
                  <a:pos x="415" y="305"/>
                </a:cxn>
                <a:cxn ang="0">
                  <a:pos x="439" y="298"/>
                </a:cxn>
                <a:cxn ang="0">
                  <a:pos x="439" y="289"/>
                </a:cxn>
                <a:cxn ang="0">
                  <a:pos x="449" y="281"/>
                </a:cxn>
                <a:cxn ang="0">
                  <a:pos x="452" y="281"/>
                </a:cxn>
                <a:cxn ang="0">
                  <a:pos x="478" y="258"/>
                </a:cxn>
                <a:cxn ang="0">
                  <a:pos x="457" y="227"/>
                </a:cxn>
                <a:cxn ang="0">
                  <a:pos x="469" y="180"/>
                </a:cxn>
                <a:cxn ang="0">
                  <a:pos x="457" y="164"/>
                </a:cxn>
                <a:cxn ang="0">
                  <a:pos x="418" y="172"/>
                </a:cxn>
                <a:cxn ang="0">
                  <a:pos x="415" y="168"/>
                </a:cxn>
                <a:cxn ang="0">
                  <a:pos x="457" y="125"/>
                </a:cxn>
                <a:cxn ang="0">
                  <a:pos x="439" y="63"/>
                </a:cxn>
                <a:cxn ang="0">
                  <a:pos x="410" y="78"/>
                </a:cxn>
                <a:cxn ang="0">
                  <a:pos x="389" y="59"/>
                </a:cxn>
                <a:cxn ang="0">
                  <a:pos x="364" y="27"/>
                </a:cxn>
                <a:cxn ang="0">
                  <a:pos x="364" y="12"/>
                </a:cxn>
                <a:cxn ang="0">
                  <a:pos x="347" y="8"/>
                </a:cxn>
                <a:cxn ang="0">
                  <a:pos x="331" y="15"/>
                </a:cxn>
                <a:cxn ang="0">
                  <a:pos x="297" y="0"/>
                </a:cxn>
                <a:cxn ang="0">
                  <a:pos x="284" y="31"/>
                </a:cxn>
                <a:cxn ang="0">
                  <a:pos x="260" y="35"/>
                </a:cxn>
                <a:cxn ang="0">
                  <a:pos x="240" y="63"/>
                </a:cxn>
                <a:cxn ang="0">
                  <a:pos x="229" y="54"/>
                </a:cxn>
                <a:cxn ang="0">
                  <a:pos x="209" y="63"/>
                </a:cxn>
                <a:cxn ang="0">
                  <a:pos x="185" y="47"/>
                </a:cxn>
                <a:cxn ang="0">
                  <a:pos x="158" y="71"/>
                </a:cxn>
                <a:cxn ang="0">
                  <a:pos x="158" y="83"/>
                </a:cxn>
                <a:cxn ang="0">
                  <a:pos x="205" y="105"/>
                </a:cxn>
                <a:cxn ang="0">
                  <a:pos x="213" y="122"/>
                </a:cxn>
                <a:cxn ang="0">
                  <a:pos x="185" y="133"/>
                </a:cxn>
                <a:cxn ang="0">
                  <a:pos x="134" y="129"/>
                </a:cxn>
              </a:cxnLst>
              <a:rect l="0" t="0" r="r" b="b"/>
              <a:pathLst>
                <a:path w="479" h="392">
                  <a:moveTo>
                    <a:pt x="134" y="129"/>
                  </a:moveTo>
                  <a:lnTo>
                    <a:pt x="122" y="161"/>
                  </a:lnTo>
                  <a:lnTo>
                    <a:pt x="100" y="168"/>
                  </a:lnTo>
                  <a:lnTo>
                    <a:pt x="59" y="161"/>
                  </a:lnTo>
                  <a:lnTo>
                    <a:pt x="46" y="172"/>
                  </a:lnTo>
                  <a:lnTo>
                    <a:pt x="25" y="164"/>
                  </a:lnTo>
                  <a:lnTo>
                    <a:pt x="0" y="191"/>
                  </a:lnTo>
                  <a:lnTo>
                    <a:pt x="12" y="203"/>
                  </a:lnTo>
                  <a:lnTo>
                    <a:pt x="12" y="219"/>
                  </a:lnTo>
                  <a:lnTo>
                    <a:pt x="20" y="239"/>
                  </a:lnTo>
                  <a:lnTo>
                    <a:pt x="67" y="223"/>
                  </a:lnTo>
                  <a:lnTo>
                    <a:pt x="80" y="235"/>
                  </a:lnTo>
                  <a:lnTo>
                    <a:pt x="59" y="313"/>
                  </a:lnTo>
                  <a:lnTo>
                    <a:pt x="88" y="340"/>
                  </a:lnTo>
                  <a:lnTo>
                    <a:pt x="80" y="383"/>
                  </a:lnTo>
                  <a:lnTo>
                    <a:pt x="105" y="387"/>
                  </a:lnTo>
                  <a:lnTo>
                    <a:pt x="134" y="360"/>
                  </a:lnTo>
                  <a:lnTo>
                    <a:pt x="142" y="367"/>
                  </a:lnTo>
                  <a:lnTo>
                    <a:pt x="197" y="391"/>
                  </a:lnTo>
                  <a:lnTo>
                    <a:pt x="209" y="383"/>
                  </a:lnTo>
                  <a:lnTo>
                    <a:pt x="209" y="367"/>
                  </a:lnTo>
                  <a:lnTo>
                    <a:pt x="221" y="356"/>
                  </a:lnTo>
                  <a:lnTo>
                    <a:pt x="297" y="308"/>
                  </a:lnTo>
                  <a:lnTo>
                    <a:pt x="311" y="325"/>
                  </a:lnTo>
                  <a:lnTo>
                    <a:pt x="355" y="340"/>
                  </a:lnTo>
                  <a:lnTo>
                    <a:pt x="386" y="305"/>
                  </a:lnTo>
                  <a:lnTo>
                    <a:pt x="394" y="313"/>
                  </a:lnTo>
                  <a:lnTo>
                    <a:pt x="415" y="313"/>
                  </a:lnTo>
                  <a:lnTo>
                    <a:pt x="415" y="305"/>
                  </a:lnTo>
                  <a:lnTo>
                    <a:pt x="439" y="298"/>
                  </a:lnTo>
                  <a:lnTo>
                    <a:pt x="439" y="289"/>
                  </a:lnTo>
                  <a:lnTo>
                    <a:pt x="449" y="281"/>
                  </a:lnTo>
                  <a:lnTo>
                    <a:pt x="452" y="281"/>
                  </a:lnTo>
                  <a:lnTo>
                    <a:pt x="478" y="258"/>
                  </a:lnTo>
                  <a:lnTo>
                    <a:pt x="457" y="227"/>
                  </a:lnTo>
                  <a:lnTo>
                    <a:pt x="469" y="180"/>
                  </a:lnTo>
                  <a:lnTo>
                    <a:pt x="457" y="164"/>
                  </a:lnTo>
                  <a:lnTo>
                    <a:pt x="418" y="172"/>
                  </a:lnTo>
                  <a:lnTo>
                    <a:pt x="415" y="168"/>
                  </a:lnTo>
                  <a:lnTo>
                    <a:pt x="457" y="125"/>
                  </a:lnTo>
                  <a:lnTo>
                    <a:pt x="439" y="63"/>
                  </a:lnTo>
                  <a:lnTo>
                    <a:pt x="410" y="78"/>
                  </a:lnTo>
                  <a:lnTo>
                    <a:pt x="389" y="59"/>
                  </a:lnTo>
                  <a:lnTo>
                    <a:pt x="364" y="27"/>
                  </a:lnTo>
                  <a:lnTo>
                    <a:pt x="364" y="12"/>
                  </a:lnTo>
                  <a:lnTo>
                    <a:pt x="347" y="8"/>
                  </a:lnTo>
                  <a:lnTo>
                    <a:pt x="331" y="15"/>
                  </a:lnTo>
                  <a:lnTo>
                    <a:pt x="297" y="0"/>
                  </a:lnTo>
                  <a:lnTo>
                    <a:pt x="284" y="31"/>
                  </a:lnTo>
                  <a:lnTo>
                    <a:pt x="260" y="35"/>
                  </a:lnTo>
                  <a:lnTo>
                    <a:pt x="240" y="63"/>
                  </a:lnTo>
                  <a:lnTo>
                    <a:pt x="229" y="54"/>
                  </a:lnTo>
                  <a:lnTo>
                    <a:pt x="209" y="63"/>
                  </a:lnTo>
                  <a:lnTo>
                    <a:pt x="185" y="47"/>
                  </a:lnTo>
                  <a:lnTo>
                    <a:pt x="158" y="71"/>
                  </a:lnTo>
                  <a:lnTo>
                    <a:pt x="158" y="83"/>
                  </a:lnTo>
                  <a:lnTo>
                    <a:pt x="205" y="105"/>
                  </a:lnTo>
                  <a:lnTo>
                    <a:pt x="213" y="122"/>
                  </a:lnTo>
                  <a:lnTo>
                    <a:pt x="185" y="133"/>
                  </a:lnTo>
                  <a:lnTo>
                    <a:pt x="134" y="129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7565054" y="3127092"/>
              <a:ext cx="454127" cy="501332"/>
            </a:xfrm>
            <a:custGeom>
              <a:avLst/>
              <a:gdLst/>
              <a:ahLst/>
              <a:cxnLst>
                <a:cxn ang="0">
                  <a:pos x="217" y="310"/>
                </a:cxn>
                <a:cxn ang="0">
                  <a:pos x="171" y="325"/>
                </a:cxn>
                <a:cxn ang="0">
                  <a:pos x="146" y="301"/>
                </a:cxn>
                <a:cxn ang="0">
                  <a:pos x="130" y="321"/>
                </a:cxn>
                <a:cxn ang="0">
                  <a:pos x="99" y="321"/>
                </a:cxn>
                <a:cxn ang="0">
                  <a:pos x="87" y="298"/>
                </a:cxn>
                <a:cxn ang="0">
                  <a:pos x="75" y="266"/>
                </a:cxn>
                <a:cxn ang="0">
                  <a:pos x="46" y="262"/>
                </a:cxn>
                <a:cxn ang="0">
                  <a:pos x="20" y="212"/>
                </a:cxn>
                <a:cxn ang="0">
                  <a:pos x="0" y="188"/>
                </a:cxn>
                <a:cxn ang="0">
                  <a:pos x="12" y="176"/>
                </a:cxn>
                <a:cxn ang="0">
                  <a:pos x="20" y="173"/>
                </a:cxn>
                <a:cxn ang="0">
                  <a:pos x="50" y="134"/>
                </a:cxn>
                <a:cxn ang="0">
                  <a:pos x="46" y="98"/>
                </a:cxn>
                <a:cxn ang="0">
                  <a:pos x="58" y="86"/>
                </a:cxn>
                <a:cxn ang="0">
                  <a:pos x="78" y="83"/>
                </a:cxn>
                <a:cxn ang="0">
                  <a:pos x="87" y="75"/>
                </a:cxn>
                <a:cxn ang="0">
                  <a:pos x="78" y="59"/>
                </a:cxn>
                <a:cxn ang="0">
                  <a:pos x="91" y="43"/>
                </a:cxn>
                <a:cxn ang="0">
                  <a:pos x="91" y="12"/>
                </a:cxn>
                <a:cxn ang="0">
                  <a:pos x="108" y="4"/>
                </a:cxn>
                <a:cxn ang="0">
                  <a:pos x="133" y="20"/>
                </a:cxn>
                <a:cxn ang="0">
                  <a:pos x="171" y="27"/>
                </a:cxn>
                <a:cxn ang="0">
                  <a:pos x="193" y="0"/>
                </a:cxn>
                <a:cxn ang="0">
                  <a:pos x="221" y="24"/>
                </a:cxn>
                <a:cxn ang="0">
                  <a:pos x="209" y="32"/>
                </a:cxn>
                <a:cxn ang="0">
                  <a:pos x="193" y="51"/>
                </a:cxn>
                <a:cxn ang="0">
                  <a:pos x="171" y="59"/>
                </a:cxn>
                <a:cxn ang="0">
                  <a:pos x="162" y="63"/>
                </a:cxn>
                <a:cxn ang="0">
                  <a:pos x="182" y="75"/>
                </a:cxn>
                <a:cxn ang="0">
                  <a:pos x="225" y="59"/>
                </a:cxn>
                <a:cxn ang="0">
                  <a:pos x="292" y="86"/>
                </a:cxn>
                <a:cxn ang="0">
                  <a:pos x="297" y="137"/>
                </a:cxn>
                <a:cxn ang="0">
                  <a:pos x="271" y="137"/>
                </a:cxn>
                <a:cxn ang="0">
                  <a:pos x="271" y="153"/>
                </a:cxn>
                <a:cxn ang="0">
                  <a:pos x="284" y="176"/>
                </a:cxn>
                <a:cxn ang="0">
                  <a:pos x="271" y="188"/>
                </a:cxn>
                <a:cxn ang="0">
                  <a:pos x="284" y="208"/>
                </a:cxn>
                <a:cxn ang="0">
                  <a:pos x="263" y="235"/>
                </a:cxn>
                <a:cxn ang="0">
                  <a:pos x="254" y="223"/>
                </a:cxn>
                <a:cxn ang="0">
                  <a:pos x="221" y="298"/>
                </a:cxn>
                <a:cxn ang="0">
                  <a:pos x="217" y="310"/>
                </a:cxn>
              </a:cxnLst>
              <a:rect l="0" t="0" r="r" b="b"/>
              <a:pathLst>
                <a:path w="298" h="326">
                  <a:moveTo>
                    <a:pt x="217" y="310"/>
                  </a:moveTo>
                  <a:lnTo>
                    <a:pt x="171" y="325"/>
                  </a:lnTo>
                  <a:lnTo>
                    <a:pt x="146" y="301"/>
                  </a:lnTo>
                  <a:lnTo>
                    <a:pt x="130" y="321"/>
                  </a:lnTo>
                  <a:lnTo>
                    <a:pt x="99" y="321"/>
                  </a:lnTo>
                  <a:lnTo>
                    <a:pt x="87" y="298"/>
                  </a:lnTo>
                  <a:lnTo>
                    <a:pt x="75" y="266"/>
                  </a:lnTo>
                  <a:lnTo>
                    <a:pt x="46" y="262"/>
                  </a:lnTo>
                  <a:lnTo>
                    <a:pt x="20" y="212"/>
                  </a:lnTo>
                  <a:lnTo>
                    <a:pt x="0" y="188"/>
                  </a:lnTo>
                  <a:lnTo>
                    <a:pt x="12" y="176"/>
                  </a:lnTo>
                  <a:lnTo>
                    <a:pt x="20" y="173"/>
                  </a:lnTo>
                  <a:lnTo>
                    <a:pt x="50" y="134"/>
                  </a:lnTo>
                  <a:lnTo>
                    <a:pt x="46" y="98"/>
                  </a:lnTo>
                  <a:lnTo>
                    <a:pt x="58" y="86"/>
                  </a:lnTo>
                  <a:lnTo>
                    <a:pt x="78" y="83"/>
                  </a:lnTo>
                  <a:lnTo>
                    <a:pt x="87" y="75"/>
                  </a:lnTo>
                  <a:lnTo>
                    <a:pt x="78" y="59"/>
                  </a:lnTo>
                  <a:lnTo>
                    <a:pt x="91" y="43"/>
                  </a:lnTo>
                  <a:lnTo>
                    <a:pt x="91" y="12"/>
                  </a:lnTo>
                  <a:lnTo>
                    <a:pt x="108" y="4"/>
                  </a:lnTo>
                  <a:lnTo>
                    <a:pt x="133" y="20"/>
                  </a:lnTo>
                  <a:lnTo>
                    <a:pt x="171" y="27"/>
                  </a:lnTo>
                  <a:lnTo>
                    <a:pt x="193" y="0"/>
                  </a:lnTo>
                  <a:lnTo>
                    <a:pt x="221" y="24"/>
                  </a:lnTo>
                  <a:lnTo>
                    <a:pt x="209" y="32"/>
                  </a:lnTo>
                  <a:lnTo>
                    <a:pt x="193" y="51"/>
                  </a:lnTo>
                  <a:lnTo>
                    <a:pt x="171" y="59"/>
                  </a:lnTo>
                  <a:lnTo>
                    <a:pt x="162" y="63"/>
                  </a:lnTo>
                  <a:lnTo>
                    <a:pt x="182" y="75"/>
                  </a:lnTo>
                  <a:lnTo>
                    <a:pt x="225" y="59"/>
                  </a:lnTo>
                  <a:lnTo>
                    <a:pt x="292" y="86"/>
                  </a:lnTo>
                  <a:lnTo>
                    <a:pt x="297" y="137"/>
                  </a:lnTo>
                  <a:lnTo>
                    <a:pt x="271" y="137"/>
                  </a:lnTo>
                  <a:lnTo>
                    <a:pt x="271" y="153"/>
                  </a:lnTo>
                  <a:lnTo>
                    <a:pt x="284" y="176"/>
                  </a:lnTo>
                  <a:lnTo>
                    <a:pt x="271" y="188"/>
                  </a:lnTo>
                  <a:lnTo>
                    <a:pt x="284" y="208"/>
                  </a:lnTo>
                  <a:lnTo>
                    <a:pt x="263" y="235"/>
                  </a:lnTo>
                  <a:lnTo>
                    <a:pt x="254" y="223"/>
                  </a:lnTo>
                  <a:lnTo>
                    <a:pt x="221" y="298"/>
                  </a:lnTo>
                  <a:lnTo>
                    <a:pt x="217" y="310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0" name="Freeform 21"/>
            <p:cNvSpPr>
              <a:spLocks/>
            </p:cNvSpPr>
            <p:nvPr/>
          </p:nvSpPr>
          <p:spPr bwMode="auto">
            <a:xfrm>
              <a:off x="7137733" y="2761340"/>
              <a:ext cx="566081" cy="636913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154" y="35"/>
                </a:cxn>
                <a:cxn ang="0">
                  <a:pos x="204" y="54"/>
                </a:cxn>
                <a:cxn ang="0">
                  <a:pos x="225" y="59"/>
                </a:cxn>
                <a:cxn ang="0">
                  <a:pos x="242" y="108"/>
                </a:cxn>
                <a:cxn ang="0">
                  <a:pos x="280" y="132"/>
                </a:cxn>
                <a:cxn ang="0">
                  <a:pos x="309" y="113"/>
                </a:cxn>
                <a:cxn ang="0">
                  <a:pos x="317" y="144"/>
                </a:cxn>
                <a:cxn ang="0">
                  <a:pos x="285" y="159"/>
                </a:cxn>
                <a:cxn ang="0">
                  <a:pos x="267" y="186"/>
                </a:cxn>
                <a:cxn ang="0">
                  <a:pos x="309" y="222"/>
                </a:cxn>
                <a:cxn ang="0">
                  <a:pos x="372" y="249"/>
                </a:cxn>
                <a:cxn ang="0">
                  <a:pos x="359" y="296"/>
                </a:cxn>
                <a:cxn ang="0">
                  <a:pos x="359" y="320"/>
                </a:cxn>
                <a:cxn ang="0">
                  <a:pos x="326" y="335"/>
                </a:cxn>
                <a:cxn ang="0">
                  <a:pos x="301" y="410"/>
                </a:cxn>
                <a:cxn ang="0">
                  <a:pos x="275" y="398"/>
                </a:cxn>
                <a:cxn ang="0">
                  <a:pos x="217" y="382"/>
                </a:cxn>
                <a:cxn ang="0">
                  <a:pos x="170" y="405"/>
                </a:cxn>
                <a:cxn ang="0">
                  <a:pos x="183" y="374"/>
                </a:cxn>
                <a:cxn ang="0">
                  <a:pos x="129" y="390"/>
                </a:cxn>
                <a:cxn ang="0">
                  <a:pos x="104" y="304"/>
                </a:cxn>
                <a:cxn ang="0">
                  <a:pos x="78" y="288"/>
                </a:cxn>
                <a:cxn ang="0">
                  <a:pos x="58" y="245"/>
                </a:cxn>
                <a:cxn ang="0">
                  <a:pos x="83" y="215"/>
                </a:cxn>
                <a:cxn ang="0">
                  <a:pos x="70" y="176"/>
                </a:cxn>
                <a:cxn ang="0">
                  <a:pos x="20" y="171"/>
                </a:cxn>
                <a:cxn ang="0">
                  <a:pos x="20" y="128"/>
                </a:cxn>
                <a:cxn ang="0">
                  <a:pos x="42" y="93"/>
                </a:cxn>
                <a:cxn ang="0">
                  <a:pos x="50" y="50"/>
                </a:cxn>
                <a:cxn ang="0">
                  <a:pos x="78" y="78"/>
                </a:cxn>
                <a:cxn ang="0">
                  <a:pos x="113" y="54"/>
                </a:cxn>
                <a:cxn ang="0">
                  <a:pos x="78" y="20"/>
                </a:cxn>
              </a:cxnLst>
              <a:rect l="0" t="0" r="r" b="b"/>
              <a:pathLst>
                <a:path w="373" h="414">
                  <a:moveTo>
                    <a:pt x="75" y="3"/>
                  </a:moveTo>
                  <a:lnTo>
                    <a:pt x="86" y="0"/>
                  </a:lnTo>
                  <a:lnTo>
                    <a:pt x="133" y="15"/>
                  </a:lnTo>
                  <a:lnTo>
                    <a:pt x="154" y="35"/>
                  </a:lnTo>
                  <a:lnTo>
                    <a:pt x="188" y="47"/>
                  </a:lnTo>
                  <a:lnTo>
                    <a:pt x="204" y="54"/>
                  </a:lnTo>
                  <a:lnTo>
                    <a:pt x="222" y="54"/>
                  </a:lnTo>
                  <a:lnTo>
                    <a:pt x="225" y="59"/>
                  </a:lnTo>
                  <a:lnTo>
                    <a:pt x="222" y="101"/>
                  </a:lnTo>
                  <a:lnTo>
                    <a:pt x="242" y="108"/>
                  </a:lnTo>
                  <a:lnTo>
                    <a:pt x="250" y="125"/>
                  </a:lnTo>
                  <a:lnTo>
                    <a:pt x="280" y="132"/>
                  </a:lnTo>
                  <a:lnTo>
                    <a:pt x="293" y="113"/>
                  </a:lnTo>
                  <a:lnTo>
                    <a:pt x="309" y="113"/>
                  </a:lnTo>
                  <a:lnTo>
                    <a:pt x="321" y="128"/>
                  </a:lnTo>
                  <a:lnTo>
                    <a:pt x="317" y="144"/>
                  </a:lnTo>
                  <a:lnTo>
                    <a:pt x="285" y="147"/>
                  </a:lnTo>
                  <a:lnTo>
                    <a:pt x="285" y="159"/>
                  </a:lnTo>
                  <a:lnTo>
                    <a:pt x="285" y="171"/>
                  </a:lnTo>
                  <a:lnTo>
                    <a:pt x="267" y="186"/>
                  </a:lnTo>
                  <a:lnTo>
                    <a:pt x="280" y="203"/>
                  </a:lnTo>
                  <a:lnTo>
                    <a:pt x="309" y="222"/>
                  </a:lnTo>
                  <a:lnTo>
                    <a:pt x="309" y="245"/>
                  </a:lnTo>
                  <a:lnTo>
                    <a:pt x="372" y="249"/>
                  </a:lnTo>
                  <a:lnTo>
                    <a:pt x="372" y="281"/>
                  </a:lnTo>
                  <a:lnTo>
                    <a:pt x="359" y="296"/>
                  </a:lnTo>
                  <a:lnTo>
                    <a:pt x="368" y="312"/>
                  </a:lnTo>
                  <a:lnTo>
                    <a:pt x="359" y="320"/>
                  </a:lnTo>
                  <a:lnTo>
                    <a:pt x="338" y="323"/>
                  </a:lnTo>
                  <a:lnTo>
                    <a:pt x="326" y="335"/>
                  </a:lnTo>
                  <a:lnTo>
                    <a:pt x="329" y="371"/>
                  </a:lnTo>
                  <a:lnTo>
                    <a:pt x="301" y="410"/>
                  </a:lnTo>
                  <a:lnTo>
                    <a:pt x="293" y="413"/>
                  </a:lnTo>
                  <a:lnTo>
                    <a:pt x="275" y="398"/>
                  </a:lnTo>
                  <a:lnTo>
                    <a:pt x="233" y="398"/>
                  </a:lnTo>
                  <a:lnTo>
                    <a:pt x="217" y="382"/>
                  </a:lnTo>
                  <a:lnTo>
                    <a:pt x="183" y="413"/>
                  </a:lnTo>
                  <a:lnTo>
                    <a:pt x="170" y="405"/>
                  </a:lnTo>
                  <a:lnTo>
                    <a:pt x="183" y="382"/>
                  </a:lnTo>
                  <a:lnTo>
                    <a:pt x="183" y="374"/>
                  </a:lnTo>
                  <a:lnTo>
                    <a:pt x="170" y="371"/>
                  </a:lnTo>
                  <a:lnTo>
                    <a:pt x="129" y="390"/>
                  </a:lnTo>
                  <a:lnTo>
                    <a:pt x="91" y="323"/>
                  </a:lnTo>
                  <a:lnTo>
                    <a:pt x="104" y="304"/>
                  </a:lnTo>
                  <a:lnTo>
                    <a:pt x="99" y="296"/>
                  </a:lnTo>
                  <a:lnTo>
                    <a:pt x="78" y="288"/>
                  </a:lnTo>
                  <a:lnTo>
                    <a:pt x="45" y="273"/>
                  </a:lnTo>
                  <a:lnTo>
                    <a:pt x="58" y="245"/>
                  </a:lnTo>
                  <a:lnTo>
                    <a:pt x="78" y="237"/>
                  </a:lnTo>
                  <a:lnTo>
                    <a:pt x="83" y="215"/>
                  </a:lnTo>
                  <a:lnTo>
                    <a:pt x="75" y="179"/>
                  </a:lnTo>
                  <a:lnTo>
                    <a:pt x="70" y="176"/>
                  </a:lnTo>
                  <a:lnTo>
                    <a:pt x="54" y="195"/>
                  </a:lnTo>
                  <a:lnTo>
                    <a:pt x="20" y="171"/>
                  </a:lnTo>
                  <a:lnTo>
                    <a:pt x="0" y="144"/>
                  </a:lnTo>
                  <a:lnTo>
                    <a:pt x="20" y="128"/>
                  </a:lnTo>
                  <a:lnTo>
                    <a:pt x="28" y="101"/>
                  </a:lnTo>
                  <a:lnTo>
                    <a:pt x="42" y="93"/>
                  </a:lnTo>
                  <a:lnTo>
                    <a:pt x="42" y="59"/>
                  </a:lnTo>
                  <a:lnTo>
                    <a:pt x="50" y="50"/>
                  </a:lnTo>
                  <a:lnTo>
                    <a:pt x="66" y="62"/>
                  </a:lnTo>
                  <a:lnTo>
                    <a:pt x="78" y="78"/>
                  </a:lnTo>
                  <a:lnTo>
                    <a:pt x="104" y="62"/>
                  </a:lnTo>
                  <a:lnTo>
                    <a:pt x="113" y="54"/>
                  </a:lnTo>
                  <a:lnTo>
                    <a:pt x="107" y="35"/>
                  </a:lnTo>
                  <a:lnTo>
                    <a:pt x="78" y="20"/>
                  </a:lnTo>
                  <a:lnTo>
                    <a:pt x="75" y="3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7270187" y="2663596"/>
              <a:ext cx="670152" cy="507637"/>
            </a:xfrm>
            <a:custGeom>
              <a:avLst/>
              <a:gdLst/>
              <a:ahLst/>
              <a:cxnLst>
                <a:cxn ang="0">
                  <a:pos x="412" y="258"/>
                </a:cxn>
                <a:cxn ang="0">
                  <a:pos x="398" y="288"/>
                </a:cxn>
                <a:cxn ang="0">
                  <a:pos x="387" y="300"/>
                </a:cxn>
                <a:cxn ang="0">
                  <a:pos x="366" y="327"/>
                </a:cxn>
                <a:cxn ang="0">
                  <a:pos x="327" y="319"/>
                </a:cxn>
                <a:cxn ang="0">
                  <a:pos x="303" y="304"/>
                </a:cxn>
                <a:cxn ang="0">
                  <a:pos x="286" y="312"/>
                </a:cxn>
                <a:cxn ang="0">
                  <a:pos x="223" y="308"/>
                </a:cxn>
                <a:cxn ang="0">
                  <a:pos x="223" y="285"/>
                </a:cxn>
                <a:cxn ang="0">
                  <a:pos x="193" y="265"/>
                </a:cxn>
                <a:cxn ang="0">
                  <a:pos x="180" y="249"/>
                </a:cxn>
                <a:cxn ang="0">
                  <a:pos x="198" y="234"/>
                </a:cxn>
                <a:cxn ang="0">
                  <a:pos x="198" y="222"/>
                </a:cxn>
                <a:cxn ang="0">
                  <a:pos x="198" y="210"/>
                </a:cxn>
                <a:cxn ang="0">
                  <a:pos x="231" y="207"/>
                </a:cxn>
                <a:cxn ang="0">
                  <a:pos x="235" y="191"/>
                </a:cxn>
                <a:cxn ang="0">
                  <a:pos x="223" y="175"/>
                </a:cxn>
                <a:cxn ang="0">
                  <a:pos x="206" y="175"/>
                </a:cxn>
                <a:cxn ang="0">
                  <a:pos x="193" y="195"/>
                </a:cxn>
                <a:cxn ang="0">
                  <a:pos x="164" y="187"/>
                </a:cxn>
                <a:cxn ang="0">
                  <a:pos x="155" y="171"/>
                </a:cxn>
                <a:cxn ang="0">
                  <a:pos x="135" y="164"/>
                </a:cxn>
                <a:cxn ang="0">
                  <a:pos x="138" y="121"/>
                </a:cxn>
                <a:cxn ang="0">
                  <a:pos x="135" y="117"/>
                </a:cxn>
                <a:cxn ang="0">
                  <a:pos x="117" y="117"/>
                </a:cxn>
                <a:cxn ang="0">
                  <a:pos x="101" y="109"/>
                </a:cxn>
                <a:cxn ang="0">
                  <a:pos x="67" y="97"/>
                </a:cxn>
                <a:cxn ang="0">
                  <a:pos x="46" y="78"/>
                </a:cxn>
                <a:cxn ang="0">
                  <a:pos x="0" y="63"/>
                </a:cxn>
                <a:cxn ang="0">
                  <a:pos x="4" y="43"/>
                </a:cxn>
                <a:cxn ang="0">
                  <a:pos x="20" y="35"/>
                </a:cxn>
                <a:cxn ang="0">
                  <a:pos x="54" y="63"/>
                </a:cxn>
                <a:cxn ang="0">
                  <a:pos x="67" y="63"/>
                </a:cxn>
                <a:cxn ang="0">
                  <a:pos x="97" y="58"/>
                </a:cxn>
                <a:cxn ang="0">
                  <a:pos x="114" y="47"/>
                </a:cxn>
                <a:cxn ang="0">
                  <a:pos x="138" y="66"/>
                </a:cxn>
                <a:cxn ang="0">
                  <a:pos x="146" y="47"/>
                </a:cxn>
                <a:cxn ang="0">
                  <a:pos x="151" y="39"/>
                </a:cxn>
                <a:cxn ang="0">
                  <a:pos x="172" y="27"/>
                </a:cxn>
                <a:cxn ang="0">
                  <a:pos x="177" y="4"/>
                </a:cxn>
                <a:cxn ang="0">
                  <a:pos x="198" y="0"/>
                </a:cxn>
                <a:cxn ang="0">
                  <a:pos x="248" y="31"/>
                </a:cxn>
                <a:cxn ang="0">
                  <a:pos x="281" y="47"/>
                </a:cxn>
                <a:cxn ang="0">
                  <a:pos x="353" y="152"/>
                </a:cxn>
                <a:cxn ang="0">
                  <a:pos x="349" y="164"/>
                </a:cxn>
                <a:cxn ang="0">
                  <a:pos x="395" y="183"/>
                </a:cxn>
                <a:cxn ang="0">
                  <a:pos x="407" y="202"/>
                </a:cxn>
                <a:cxn ang="0">
                  <a:pos x="429" y="210"/>
                </a:cxn>
                <a:cxn ang="0">
                  <a:pos x="441" y="230"/>
                </a:cxn>
                <a:cxn ang="0">
                  <a:pos x="424" y="238"/>
                </a:cxn>
                <a:cxn ang="0">
                  <a:pos x="403" y="230"/>
                </a:cxn>
                <a:cxn ang="0">
                  <a:pos x="369" y="230"/>
                </a:cxn>
                <a:cxn ang="0">
                  <a:pos x="340" y="219"/>
                </a:cxn>
                <a:cxn ang="0">
                  <a:pos x="327" y="230"/>
                </a:cxn>
                <a:cxn ang="0">
                  <a:pos x="357" y="238"/>
                </a:cxn>
                <a:cxn ang="0">
                  <a:pos x="382" y="249"/>
                </a:cxn>
                <a:cxn ang="0">
                  <a:pos x="412" y="258"/>
                </a:cxn>
              </a:cxnLst>
              <a:rect l="0" t="0" r="r" b="b"/>
              <a:pathLst>
                <a:path w="442" h="328">
                  <a:moveTo>
                    <a:pt x="412" y="258"/>
                  </a:moveTo>
                  <a:lnTo>
                    <a:pt x="398" y="288"/>
                  </a:lnTo>
                  <a:lnTo>
                    <a:pt x="387" y="300"/>
                  </a:lnTo>
                  <a:lnTo>
                    <a:pt x="366" y="327"/>
                  </a:lnTo>
                  <a:lnTo>
                    <a:pt x="327" y="319"/>
                  </a:lnTo>
                  <a:lnTo>
                    <a:pt x="303" y="304"/>
                  </a:lnTo>
                  <a:lnTo>
                    <a:pt x="286" y="312"/>
                  </a:lnTo>
                  <a:lnTo>
                    <a:pt x="223" y="308"/>
                  </a:lnTo>
                  <a:lnTo>
                    <a:pt x="223" y="285"/>
                  </a:lnTo>
                  <a:lnTo>
                    <a:pt x="193" y="265"/>
                  </a:lnTo>
                  <a:lnTo>
                    <a:pt x="180" y="249"/>
                  </a:lnTo>
                  <a:lnTo>
                    <a:pt x="198" y="23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31" y="207"/>
                  </a:lnTo>
                  <a:lnTo>
                    <a:pt x="235" y="191"/>
                  </a:lnTo>
                  <a:lnTo>
                    <a:pt x="223" y="175"/>
                  </a:lnTo>
                  <a:lnTo>
                    <a:pt x="206" y="175"/>
                  </a:lnTo>
                  <a:lnTo>
                    <a:pt x="193" y="195"/>
                  </a:lnTo>
                  <a:lnTo>
                    <a:pt x="164" y="187"/>
                  </a:lnTo>
                  <a:lnTo>
                    <a:pt x="155" y="171"/>
                  </a:lnTo>
                  <a:lnTo>
                    <a:pt x="135" y="164"/>
                  </a:lnTo>
                  <a:lnTo>
                    <a:pt x="138" y="121"/>
                  </a:lnTo>
                  <a:lnTo>
                    <a:pt x="135" y="117"/>
                  </a:lnTo>
                  <a:lnTo>
                    <a:pt x="117" y="117"/>
                  </a:lnTo>
                  <a:lnTo>
                    <a:pt x="101" y="109"/>
                  </a:lnTo>
                  <a:lnTo>
                    <a:pt x="67" y="97"/>
                  </a:lnTo>
                  <a:lnTo>
                    <a:pt x="46" y="78"/>
                  </a:lnTo>
                  <a:lnTo>
                    <a:pt x="0" y="63"/>
                  </a:lnTo>
                  <a:lnTo>
                    <a:pt x="4" y="43"/>
                  </a:lnTo>
                  <a:lnTo>
                    <a:pt x="20" y="35"/>
                  </a:lnTo>
                  <a:lnTo>
                    <a:pt x="54" y="63"/>
                  </a:lnTo>
                  <a:lnTo>
                    <a:pt x="67" y="63"/>
                  </a:lnTo>
                  <a:lnTo>
                    <a:pt x="97" y="58"/>
                  </a:lnTo>
                  <a:lnTo>
                    <a:pt x="114" y="47"/>
                  </a:lnTo>
                  <a:lnTo>
                    <a:pt x="138" y="66"/>
                  </a:lnTo>
                  <a:lnTo>
                    <a:pt x="146" y="47"/>
                  </a:lnTo>
                  <a:lnTo>
                    <a:pt x="151" y="39"/>
                  </a:lnTo>
                  <a:lnTo>
                    <a:pt x="172" y="27"/>
                  </a:lnTo>
                  <a:lnTo>
                    <a:pt x="177" y="4"/>
                  </a:lnTo>
                  <a:lnTo>
                    <a:pt x="198" y="0"/>
                  </a:lnTo>
                  <a:lnTo>
                    <a:pt x="248" y="31"/>
                  </a:lnTo>
                  <a:lnTo>
                    <a:pt x="281" y="47"/>
                  </a:lnTo>
                  <a:lnTo>
                    <a:pt x="353" y="152"/>
                  </a:lnTo>
                  <a:lnTo>
                    <a:pt x="349" y="164"/>
                  </a:lnTo>
                  <a:lnTo>
                    <a:pt x="395" y="183"/>
                  </a:lnTo>
                  <a:lnTo>
                    <a:pt x="407" y="202"/>
                  </a:lnTo>
                  <a:lnTo>
                    <a:pt x="429" y="210"/>
                  </a:lnTo>
                  <a:lnTo>
                    <a:pt x="441" y="230"/>
                  </a:lnTo>
                  <a:lnTo>
                    <a:pt x="424" y="238"/>
                  </a:lnTo>
                  <a:lnTo>
                    <a:pt x="403" y="230"/>
                  </a:lnTo>
                  <a:lnTo>
                    <a:pt x="369" y="230"/>
                  </a:lnTo>
                  <a:lnTo>
                    <a:pt x="340" y="219"/>
                  </a:lnTo>
                  <a:lnTo>
                    <a:pt x="327" y="230"/>
                  </a:lnTo>
                  <a:lnTo>
                    <a:pt x="357" y="238"/>
                  </a:lnTo>
                  <a:lnTo>
                    <a:pt x="382" y="249"/>
                  </a:lnTo>
                  <a:lnTo>
                    <a:pt x="412" y="258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6426583" y="2997818"/>
              <a:ext cx="911407" cy="540744"/>
            </a:xfrm>
            <a:custGeom>
              <a:avLst/>
              <a:gdLst/>
              <a:ahLst/>
              <a:cxnLst>
                <a:cxn ang="0">
                  <a:pos x="83" y="324"/>
                </a:cxn>
                <a:cxn ang="0">
                  <a:pos x="154" y="308"/>
                </a:cxn>
                <a:cxn ang="0">
                  <a:pos x="157" y="277"/>
                </a:cxn>
                <a:cxn ang="0">
                  <a:pos x="259" y="273"/>
                </a:cxn>
                <a:cxn ang="0">
                  <a:pos x="309" y="300"/>
                </a:cxn>
                <a:cxn ang="0">
                  <a:pos x="351" y="281"/>
                </a:cxn>
                <a:cxn ang="0">
                  <a:pos x="368" y="300"/>
                </a:cxn>
                <a:cxn ang="0">
                  <a:pos x="397" y="269"/>
                </a:cxn>
                <a:cxn ang="0">
                  <a:pos x="409" y="308"/>
                </a:cxn>
                <a:cxn ang="0">
                  <a:pos x="435" y="324"/>
                </a:cxn>
                <a:cxn ang="0">
                  <a:pos x="484" y="297"/>
                </a:cxn>
                <a:cxn ang="0">
                  <a:pos x="569" y="249"/>
                </a:cxn>
                <a:cxn ang="0">
                  <a:pos x="560" y="171"/>
                </a:cxn>
                <a:cxn ang="0">
                  <a:pos x="569" y="144"/>
                </a:cxn>
                <a:cxn ang="0">
                  <a:pos x="514" y="121"/>
                </a:cxn>
                <a:cxn ang="0">
                  <a:pos x="476" y="121"/>
                </a:cxn>
                <a:cxn ang="0">
                  <a:pos x="421" y="102"/>
                </a:cxn>
                <a:cxn ang="0">
                  <a:pos x="388" y="70"/>
                </a:cxn>
                <a:cxn ang="0">
                  <a:pos x="359" y="66"/>
                </a:cxn>
                <a:cxn ang="0">
                  <a:pos x="292" y="66"/>
                </a:cxn>
                <a:cxn ang="0">
                  <a:pos x="176" y="0"/>
                </a:cxn>
                <a:cxn ang="0">
                  <a:pos x="146" y="8"/>
                </a:cxn>
                <a:cxn ang="0">
                  <a:pos x="74" y="8"/>
                </a:cxn>
                <a:cxn ang="0">
                  <a:pos x="83" y="35"/>
                </a:cxn>
                <a:cxn ang="0">
                  <a:pos x="116" y="43"/>
                </a:cxn>
                <a:cxn ang="0">
                  <a:pos x="78" y="66"/>
                </a:cxn>
                <a:cxn ang="0">
                  <a:pos x="78" y="98"/>
                </a:cxn>
                <a:cxn ang="0">
                  <a:pos x="100" y="129"/>
                </a:cxn>
                <a:cxn ang="0">
                  <a:pos x="125" y="191"/>
                </a:cxn>
                <a:cxn ang="0">
                  <a:pos x="108" y="203"/>
                </a:cxn>
                <a:cxn ang="0">
                  <a:pos x="16" y="238"/>
                </a:cxn>
                <a:cxn ang="0">
                  <a:pos x="11" y="269"/>
                </a:cxn>
                <a:cxn ang="0">
                  <a:pos x="28" y="304"/>
                </a:cxn>
              </a:cxnLst>
              <a:rect l="0" t="0" r="r" b="b"/>
              <a:pathLst>
                <a:path w="599" h="352">
                  <a:moveTo>
                    <a:pt x="70" y="351"/>
                  </a:moveTo>
                  <a:lnTo>
                    <a:pt x="83" y="324"/>
                  </a:lnTo>
                  <a:lnTo>
                    <a:pt x="121" y="297"/>
                  </a:lnTo>
                  <a:lnTo>
                    <a:pt x="154" y="308"/>
                  </a:lnTo>
                  <a:lnTo>
                    <a:pt x="176" y="297"/>
                  </a:lnTo>
                  <a:lnTo>
                    <a:pt x="157" y="277"/>
                  </a:lnTo>
                  <a:lnTo>
                    <a:pt x="168" y="265"/>
                  </a:lnTo>
                  <a:lnTo>
                    <a:pt x="259" y="273"/>
                  </a:lnTo>
                  <a:lnTo>
                    <a:pt x="292" y="293"/>
                  </a:lnTo>
                  <a:lnTo>
                    <a:pt x="309" y="300"/>
                  </a:lnTo>
                  <a:lnTo>
                    <a:pt x="330" y="285"/>
                  </a:lnTo>
                  <a:lnTo>
                    <a:pt x="351" y="281"/>
                  </a:lnTo>
                  <a:lnTo>
                    <a:pt x="355" y="300"/>
                  </a:lnTo>
                  <a:lnTo>
                    <a:pt x="368" y="300"/>
                  </a:lnTo>
                  <a:lnTo>
                    <a:pt x="377" y="288"/>
                  </a:lnTo>
                  <a:lnTo>
                    <a:pt x="397" y="269"/>
                  </a:lnTo>
                  <a:lnTo>
                    <a:pt x="409" y="281"/>
                  </a:lnTo>
                  <a:lnTo>
                    <a:pt x="409" y="308"/>
                  </a:lnTo>
                  <a:lnTo>
                    <a:pt x="418" y="320"/>
                  </a:lnTo>
                  <a:lnTo>
                    <a:pt x="435" y="324"/>
                  </a:lnTo>
                  <a:lnTo>
                    <a:pt x="456" y="304"/>
                  </a:lnTo>
                  <a:lnTo>
                    <a:pt x="484" y="297"/>
                  </a:lnTo>
                  <a:lnTo>
                    <a:pt x="539" y="246"/>
                  </a:lnTo>
                  <a:lnTo>
                    <a:pt x="569" y="249"/>
                  </a:lnTo>
                  <a:lnTo>
                    <a:pt x="598" y="238"/>
                  </a:lnTo>
                  <a:lnTo>
                    <a:pt x="560" y="171"/>
                  </a:lnTo>
                  <a:lnTo>
                    <a:pt x="573" y="152"/>
                  </a:lnTo>
                  <a:lnTo>
                    <a:pt x="569" y="144"/>
                  </a:lnTo>
                  <a:lnTo>
                    <a:pt x="547" y="137"/>
                  </a:lnTo>
                  <a:lnTo>
                    <a:pt x="514" y="121"/>
                  </a:lnTo>
                  <a:lnTo>
                    <a:pt x="497" y="109"/>
                  </a:lnTo>
                  <a:lnTo>
                    <a:pt x="476" y="121"/>
                  </a:lnTo>
                  <a:lnTo>
                    <a:pt x="451" y="102"/>
                  </a:lnTo>
                  <a:lnTo>
                    <a:pt x="421" y="102"/>
                  </a:lnTo>
                  <a:lnTo>
                    <a:pt x="397" y="90"/>
                  </a:lnTo>
                  <a:lnTo>
                    <a:pt x="388" y="70"/>
                  </a:lnTo>
                  <a:lnTo>
                    <a:pt x="377" y="59"/>
                  </a:lnTo>
                  <a:lnTo>
                    <a:pt x="359" y="66"/>
                  </a:lnTo>
                  <a:lnTo>
                    <a:pt x="343" y="59"/>
                  </a:lnTo>
                  <a:lnTo>
                    <a:pt x="292" y="66"/>
                  </a:lnTo>
                  <a:lnTo>
                    <a:pt x="238" y="54"/>
                  </a:lnTo>
                  <a:lnTo>
                    <a:pt x="176" y="0"/>
                  </a:lnTo>
                  <a:lnTo>
                    <a:pt x="154" y="15"/>
                  </a:lnTo>
                  <a:lnTo>
                    <a:pt x="146" y="8"/>
                  </a:lnTo>
                  <a:lnTo>
                    <a:pt x="133" y="8"/>
                  </a:lnTo>
                  <a:lnTo>
                    <a:pt x="74" y="8"/>
                  </a:lnTo>
                  <a:lnTo>
                    <a:pt x="66" y="15"/>
                  </a:lnTo>
                  <a:lnTo>
                    <a:pt x="83" y="35"/>
                  </a:lnTo>
                  <a:lnTo>
                    <a:pt x="100" y="39"/>
                  </a:lnTo>
                  <a:lnTo>
                    <a:pt x="116" y="43"/>
                  </a:lnTo>
                  <a:lnTo>
                    <a:pt x="108" y="54"/>
                  </a:lnTo>
                  <a:lnTo>
                    <a:pt x="78" y="66"/>
                  </a:lnTo>
                  <a:lnTo>
                    <a:pt x="74" y="90"/>
                  </a:lnTo>
                  <a:lnTo>
                    <a:pt x="78" y="98"/>
                  </a:lnTo>
                  <a:lnTo>
                    <a:pt x="83" y="125"/>
                  </a:lnTo>
                  <a:lnTo>
                    <a:pt x="100" y="129"/>
                  </a:lnTo>
                  <a:lnTo>
                    <a:pt x="121" y="148"/>
                  </a:lnTo>
                  <a:lnTo>
                    <a:pt x="125" y="191"/>
                  </a:lnTo>
                  <a:lnTo>
                    <a:pt x="121" y="207"/>
                  </a:lnTo>
                  <a:lnTo>
                    <a:pt x="108" y="203"/>
                  </a:lnTo>
                  <a:lnTo>
                    <a:pt x="74" y="230"/>
                  </a:lnTo>
                  <a:lnTo>
                    <a:pt x="16" y="238"/>
                  </a:lnTo>
                  <a:lnTo>
                    <a:pt x="0" y="254"/>
                  </a:lnTo>
                  <a:lnTo>
                    <a:pt x="11" y="269"/>
                  </a:lnTo>
                  <a:lnTo>
                    <a:pt x="16" y="300"/>
                  </a:lnTo>
                  <a:lnTo>
                    <a:pt x="28" y="304"/>
                  </a:lnTo>
                  <a:lnTo>
                    <a:pt x="70" y="35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5165120" y="2918991"/>
              <a:ext cx="1456990" cy="1048383"/>
            </a:xfrm>
            <a:custGeom>
              <a:avLst/>
              <a:gdLst/>
              <a:ahLst/>
              <a:cxnLst>
                <a:cxn ang="0">
                  <a:pos x="373" y="59"/>
                </a:cxn>
                <a:cxn ang="0">
                  <a:pos x="355" y="20"/>
                </a:cxn>
                <a:cxn ang="0">
                  <a:pos x="418" y="0"/>
                </a:cxn>
                <a:cxn ang="0">
                  <a:pos x="431" y="39"/>
                </a:cxn>
                <a:cxn ang="0">
                  <a:pos x="486" y="86"/>
                </a:cxn>
                <a:cxn ang="0">
                  <a:pos x="516" y="86"/>
                </a:cxn>
                <a:cxn ang="0">
                  <a:pos x="541" y="129"/>
                </a:cxn>
                <a:cxn ang="0">
                  <a:pos x="604" y="121"/>
                </a:cxn>
                <a:cxn ang="0">
                  <a:pos x="628" y="102"/>
                </a:cxn>
                <a:cxn ang="0">
                  <a:pos x="648" y="121"/>
                </a:cxn>
                <a:cxn ang="0">
                  <a:pos x="711" y="114"/>
                </a:cxn>
                <a:cxn ang="0">
                  <a:pos x="725" y="133"/>
                </a:cxn>
                <a:cxn ang="0">
                  <a:pos x="796" y="156"/>
                </a:cxn>
                <a:cxn ang="0">
                  <a:pos x="876" y="168"/>
                </a:cxn>
                <a:cxn ang="0">
                  <a:pos x="917" y="176"/>
                </a:cxn>
                <a:cxn ang="0">
                  <a:pos x="955" y="200"/>
                </a:cxn>
                <a:cxn ang="0">
                  <a:pos x="955" y="258"/>
                </a:cxn>
                <a:cxn ang="0">
                  <a:pos x="908" y="281"/>
                </a:cxn>
                <a:cxn ang="0">
                  <a:pos x="834" y="305"/>
                </a:cxn>
                <a:cxn ang="0">
                  <a:pos x="850" y="351"/>
                </a:cxn>
                <a:cxn ang="0">
                  <a:pos x="905" y="402"/>
                </a:cxn>
                <a:cxn ang="0">
                  <a:pos x="879" y="480"/>
                </a:cxn>
                <a:cxn ang="0">
                  <a:pos x="834" y="429"/>
                </a:cxn>
                <a:cxn ang="0">
                  <a:pos x="816" y="410"/>
                </a:cxn>
                <a:cxn ang="0">
                  <a:pos x="766" y="402"/>
                </a:cxn>
                <a:cxn ang="0">
                  <a:pos x="730" y="437"/>
                </a:cxn>
                <a:cxn ang="0">
                  <a:pos x="699" y="457"/>
                </a:cxn>
                <a:cxn ang="0">
                  <a:pos x="654" y="449"/>
                </a:cxn>
                <a:cxn ang="0">
                  <a:pos x="628" y="485"/>
                </a:cxn>
                <a:cxn ang="0">
                  <a:pos x="683" y="524"/>
                </a:cxn>
                <a:cxn ang="0">
                  <a:pos x="604" y="531"/>
                </a:cxn>
                <a:cxn ang="0">
                  <a:pos x="577" y="508"/>
                </a:cxn>
                <a:cxn ang="0">
                  <a:pos x="528" y="515"/>
                </a:cxn>
                <a:cxn ang="0">
                  <a:pos x="516" y="480"/>
                </a:cxn>
                <a:cxn ang="0">
                  <a:pos x="489" y="461"/>
                </a:cxn>
                <a:cxn ang="0">
                  <a:pos x="486" y="488"/>
                </a:cxn>
                <a:cxn ang="0">
                  <a:pos x="457" y="512"/>
                </a:cxn>
                <a:cxn ang="0">
                  <a:pos x="410" y="582"/>
                </a:cxn>
                <a:cxn ang="0">
                  <a:pos x="398" y="664"/>
                </a:cxn>
                <a:cxn ang="0">
                  <a:pos x="335" y="680"/>
                </a:cxn>
                <a:cxn ang="0">
                  <a:pos x="247" y="543"/>
                </a:cxn>
                <a:cxn ang="0">
                  <a:pos x="196" y="519"/>
                </a:cxn>
                <a:cxn ang="0">
                  <a:pos x="201" y="485"/>
                </a:cxn>
                <a:cxn ang="0">
                  <a:pos x="154" y="488"/>
                </a:cxn>
                <a:cxn ang="0">
                  <a:pos x="113" y="422"/>
                </a:cxn>
                <a:cxn ang="0">
                  <a:pos x="105" y="297"/>
                </a:cxn>
                <a:cxn ang="0">
                  <a:pos x="99" y="234"/>
                </a:cxn>
                <a:cxn ang="0">
                  <a:pos x="0" y="114"/>
                </a:cxn>
                <a:cxn ang="0">
                  <a:pos x="12" y="82"/>
                </a:cxn>
                <a:cxn ang="0">
                  <a:pos x="151" y="86"/>
                </a:cxn>
                <a:cxn ang="0">
                  <a:pos x="193" y="94"/>
                </a:cxn>
                <a:cxn ang="0">
                  <a:pos x="264" y="125"/>
                </a:cxn>
                <a:cxn ang="0">
                  <a:pos x="272" y="90"/>
                </a:cxn>
                <a:cxn ang="0">
                  <a:pos x="319" y="94"/>
                </a:cxn>
                <a:cxn ang="0">
                  <a:pos x="360" y="86"/>
                </a:cxn>
              </a:cxnLst>
              <a:rect l="0" t="0" r="r" b="b"/>
              <a:pathLst>
                <a:path w="961" h="681">
                  <a:moveTo>
                    <a:pt x="360" y="86"/>
                  </a:moveTo>
                  <a:lnTo>
                    <a:pt x="373" y="59"/>
                  </a:lnTo>
                  <a:lnTo>
                    <a:pt x="360" y="43"/>
                  </a:lnTo>
                  <a:lnTo>
                    <a:pt x="355" y="20"/>
                  </a:lnTo>
                  <a:lnTo>
                    <a:pt x="406" y="0"/>
                  </a:lnTo>
                  <a:lnTo>
                    <a:pt x="418" y="0"/>
                  </a:lnTo>
                  <a:lnTo>
                    <a:pt x="426" y="16"/>
                  </a:lnTo>
                  <a:lnTo>
                    <a:pt x="431" y="39"/>
                  </a:lnTo>
                  <a:lnTo>
                    <a:pt x="457" y="55"/>
                  </a:lnTo>
                  <a:lnTo>
                    <a:pt x="486" y="86"/>
                  </a:lnTo>
                  <a:lnTo>
                    <a:pt x="506" y="75"/>
                  </a:lnTo>
                  <a:lnTo>
                    <a:pt x="516" y="86"/>
                  </a:lnTo>
                  <a:lnTo>
                    <a:pt x="520" y="114"/>
                  </a:lnTo>
                  <a:lnTo>
                    <a:pt x="541" y="129"/>
                  </a:lnTo>
                  <a:lnTo>
                    <a:pt x="594" y="133"/>
                  </a:lnTo>
                  <a:lnTo>
                    <a:pt x="604" y="121"/>
                  </a:lnTo>
                  <a:lnTo>
                    <a:pt x="599" y="110"/>
                  </a:lnTo>
                  <a:lnTo>
                    <a:pt x="628" y="102"/>
                  </a:lnTo>
                  <a:lnTo>
                    <a:pt x="645" y="105"/>
                  </a:lnTo>
                  <a:lnTo>
                    <a:pt x="648" y="121"/>
                  </a:lnTo>
                  <a:lnTo>
                    <a:pt x="662" y="125"/>
                  </a:lnTo>
                  <a:lnTo>
                    <a:pt x="711" y="114"/>
                  </a:lnTo>
                  <a:lnTo>
                    <a:pt x="725" y="117"/>
                  </a:lnTo>
                  <a:lnTo>
                    <a:pt x="725" y="133"/>
                  </a:lnTo>
                  <a:lnTo>
                    <a:pt x="750" y="137"/>
                  </a:lnTo>
                  <a:lnTo>
                    <a:pt x="796" y="156"/>
                  </a:lnTo>
                  <a:lnTo>
                    <a:pt x="821" y="149"/>
                  </a:lnTo>
                  <a:lnTo>
                    <a:pt x="876" y="168"/>
                  </a:lnTo>
                  <a:lnTo>
                    <a:pt x="887" y="183"/>
                  </a:lnTo>
                  <a:lnTo>
                    <a:pt x="917" y="176"/>
                  </a:lnTo>
                  <a:lnTo>
                    <a:pt x="934" y="180"/>
                  </a:lnTo>
                  <a:lnTo>
                    <a:pt x="955" y="200"/>
                  </a:lnTo>
                  <a:lnTo>
                    <a:pt x="960" y="242"/>
                  </a:lnTo>
                  <a:lnTo>
                    <a:pt x="955" y="258"/>
                  </a:lnTo>
                  <a:lnTo>
                    <a:pt x="942" y="254"/>
                  </a:lnTo>
                  <a:lnTo>
                    <a:pt x="908" y="281"/>
                  </a:lnTo>
                  <a:lnTo>
                    <a:pt x="850" y="290"/>
                  </a:lnTo>
                  <a:lnTo>
                    <a:pt x="834" y="305"/>
                  </a:lnTo>
                  <a:lnTo>
                    <a:pt x="845" y="320"/>
                  </a:lnTo>
                  <a:lnTo>
                    <a:pt x="850" y="351"/>
                  </a:lnTo>
                  <a:lnTo>
                    <a:pt x="863" y="356"/>
                  </a:lnTo>
                  <a:lnTo>
                    <a:pt x="905" y="402"/>
                  </a:lnTo>
                  <a:lnTo>
                    <a:pt x="908" y="465"/>
                  </a:lnTo>
                  <a:lnTo>
                    <a:pt x="879" y="480"/>
                  </a:lnTo>
                  <a:lnTo>
                    <a:pt x="859" y="461"/>
                  </a:lnTo>
                  <a:lnTo>
                    <a:pt x="834" y="429"/>
                  </a:lnTo>
                  <a:lnTo>
                    <a:pt x="834" y="414"/>
                  </a:lnTo>
                  <a:lnTo>
                    <a:pt x="816" y="410"/>
                  </a:lnTo>
                  <a:lnTo>
                    <a:pt x="800" y="418"/>
                  </a:lnTo>
                  <a:lnTo>
                    <a:pt x="766" y="402"/>
                  </a:lnTo>
                  <a:lnTo>
                    <a:pt x="754" y="434"/>
                  </a:lnTo>
                  <a:lnTo>
                    <a:pt x="730" y="437"/>
                  </a:lnTo>
                  <a:lnTo>
                    <a:pt x="708" y="465"/>
                  </a:lnTo>
                  <a:lnTo>
                    <a:pt x="699" y="457"/>
                  </a:lnTo>
                  <a:lnTo>
                    <a:pt x="678" y="465"/>
                  </a:lnTo>
                  <a:lnTo>
                    <a:pt x="654" y="449"/>
                  </a:lnTo>
                  <a:lnTo>
                    <a:pt x="628" y="473"/>
                  </a:lnTo>
                  <a:lnTo>
                    <a:pt x="628" y="485"/>
                  </a:lnTo>
                  <a:lnTo>
                    <a:pt x="675" y="508"/>
                  </a:lnTo>
                  <a:lnTo>
                    <a:pt x="683" y="524"/>
                  </a:lnTo>
                  <a:lnTo>
                    <a:pt x="654" y="535"/>
                  </a:lnTo>
                  <a:lnTo>
                    <a:pt x="604" y="531"/>
                  </a:lnTo>
                  <a:lnTo>
                    <a:pt x="599" y="515"/>
                  </a:lnTo>
                  <a:lnTo>
                    <a:pt x="577" y="508"/>
                  </a:lnTo>
                  <a:lnTo>
                    <a:pt x="549" y="524"/>
                  </a:lnTo>
                  <a:lnTo>
                    <a:pt x="528" y="515"/>
                  </a:lnTo>
                  <a:lnTo>
                    <a:pt x="528" y="492"/>
                  </a:lnTo>
                  <a:lnTo>
                    <a:pt x="516" y="480"/>
                  </a:lnTo>
                  <a:lnTo>
                    <a:pt x="516" y="469"/>
                  </a:lnTo>
                  <a:lnTo>
                    <a:pt x="489" y="461"/>
                  </a:lnTo>
                  <a:lnTo>
                    <a:pt x="481" y="469"/>
                  </a:lnTo>
                  <a:lnTo>
                    <a:pt x="486" y="488"/>
                  </a:lnTo>
                  <a:lnTo>
                    <a:pt x="461" y="496"/>
                  </a:lnTo>
                  <a:lnTo>
                    <a:pt x="457" y="512"/>
                  </a:lnTo>
                  <a:lnTo>
                    <a:pt x="461" y="527"/>
                  </a:lnTo>
                  <a:lnTo>
                    <a:pt x="410" y="582"/>
                  </a:lnTo>
                  <a:lnTo>
                    <a:pt x="418" y="644"/>
                  </a:lnTo>
                  <a:lnTo>
                    <a:pt x="398" y="664"/>
                  </a:lnTo>
                  <a:lnTo>
                    <a:pt x="385" y="652"/>
                  </a:lnTo>
                  <a:lnTo>
                    <a:pt x="335" y="680"/>
                  </a:lnTo>
                  <a:lnTo>
                    <a:pt x="319" y="668"/>
                  </a:lnTo>
                  <a:lnTo>
                    <a:pt x="247" y="543"/>
                  </a:lnTo>
                  <a:lnTo>
                    <a:pt x="217" y="524"/>
                  </a:lnTo>
                  <a:lnTo>
                    <a:pt x="196" y="519"/>
                  </a:lnTo>
                  <a:lnTo>
                    <a:pt x="188" y="504"/>
                  </a:lnTo>
                  <a:lnTo>
                    <a:pt x="201" y="485"/>
                  </a:lnTo>
                  <a:lnTo>
                    <a:pt x="180" y="469"/>
                  </a:lnTo>
                  <a:lnTo>
                    <a:pt x="154" y="488"/>
                  </a:lnTo>
                  <a:lnTo>
                    <a:pt x="130" y="492"/>
                  </a:lnTo>
                  <a:lnTo>
                    <a:pt x="113" y="422"/>
                  </a:lnTo>
                  <a:lnTo>
                    <a:pt x="109" y="407"/>
                  </a:lnTo>
                  <a:lnTo>
                    <a:pt x="105" y="297"/>
                  </a:lnTo>
                  <a:lnTo>
                    <a:pt x="83" y="242"/>
                  </a:lnTo>
                  <a:lnTo>
                    <a:pt x="99" y="234"/>
                  </a:lnTo>
                  <a:lnTo>
                    <a:pt x="54" y="153"/>
                  </a:lnTo>
                  <a:lnTo>
                    <a:pt x="0" y="114"/>
                  </a:lnTo>
                  <a:lnTo>
                    <a:pt x="4" y="90"/>
                  </a:lnTo>
                  <a:lnTo>
                    <a:pt x="12" y="82"/>
                  </a:lnTo>
                  <a:lnTo>
                    <a:pt x="96" y="70"/>
                  </a:lnTo>
                  <a:lnTo>
                    <a:pt x="151" y="86"/>
                  </a:lnTo>
                  <a:lnTo>
                    <a:pt x="180" y="75"/>
                  </a:lnTo>
                  <a:lnTo>
                    <a:pt x="193" y="94"/>
                  </a:lnTo>
                  <a:lnTo>
                    <a:pt x="234" y="133"/>
                  </a:lnTo>
                  <a:lnTo>
                    <a:pt x="264" y="125"/>
                  </a:lnTo>
                  <a:lnTo>
                    <a:pt x="264" y="102"/>
                  </a:lnTo>
                  <a:lnTo>
                    <a:pt x="272" y="90"/>
                  </a:lnTo>
                  <a:lnTo>
                    <a:pt x="305" y="78"/>
                  </a:lnTo>
                  <a:lnTo>
                    <a:pt x="319" y="94"/>
                  </a:lnTo>
                  <a:lnTo>
                    <a:pt x="335" y="82"/>
                  </a:lnTo>
                  <a:lnTo>
                    <a:pt x="360" y="86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4" name="Freeform 27"/>
            <p:cNvSpPr>
              <a:spLocks/>
            </p:cNvSpPr>
            <p:nvPr/>
          </p:nvSpPr>
          <p:spPr bwMode="auto">
            <a:xfrm>
              <a:off x="3033247" y="2520134"/>
              <a:ext cx="2305325" cy="1179232"/>
            </a:xfrm>
            <a:custGeom>
              <a:avLst/>
              <a:gdLst/>
              <a:ahLst/>
              <a:cxnLst>
                <a:cxn ang="0">
                  <a:pos x="921" y="730"/>
                </a:cxn>
                <a:cxn ang="0">
                  <a:pos x="947" y="757"/>
                </a:cxn>
                <a:cxn ang="0">
                  <a:pos x="1022" y="730"/>
                </a:cxn>
                <a:cxn ang="0">
                  <a:pos x="1068" y="699"/>
                </a:cxn>
                <a:cxn ang="0">
                  <a:pos x="1126" y="679"/>
                </a:cxn>
                <a:cxn ang="0">
                  <a:pos x="1189" y="660"/>
                </a:cxn>
                <a:cxn ang="0">
                  <a:pos x="1286" y="645"/>
                </a:cxn>
                <a:cxn ang="0">
                  <a:pos x="1290" y="679"/>
                </a:cxn>
                <a:cxn ang="0">
                  <a:pos x="1319" y="684"/>
                </a:cxn>
                <a:cxn ang="0">
                  <a:pos x="1303" y="726"/>
                </a:cxn>
                <a:cxn ang="0">
                  <a:pos x="1319" y="730"/>
                </a:cxn>
                <a:cxn ang="0">
                  <a:pos x="1403" y="726"/>
                </a:cxn>
                <a:cxn ang="0">
                  <a:pos x="1453" y="742"/>
                </a:cxn>
                <a:cxn ang="0">
                  <a:pos x="1474" y="750"/>
                </a:cxn>
                <a:cxn ang="0">
                  <a:pos x="1479" y="699"/>
                </a:cxn>
                <a:cxn ang="0">
                  <a:pos x="1513" y="664"/>
                </a:cxn>
                <a:cxn ang="0">
                  <a:pos x="1487" y="499"/>
                </a:cxn>
                <a:cxn ang="0">
                  <a:pos x="1458" y="410"/>
                </a:cxn>
                <a:cxn ang="0">
                  <a:pos x="1387" y="379"/>
                </a:cxn>
                <a:cxn ang="0">
                  <a:pos x="1340" y="460"/>
                </a:cxn>
                <a:cxn ang="0">
                  <a:pos x="1252" y="418"/>
                </a:cxn>
                <a:cxn ang="0">
                  <a:pos x="1094" y="362"/>
                </a:cxn>
                <a:cxn ang="0">
                  <a:pos x="1026" y="355"/>
                </a:cxn>
                <a:cxn ang="0">
                  <a:pos x="896" y="304"/>
                </a:cxn>
                <a:cxn ang="0">
                  <a:pos x="833" y="164"/>
                </a:cxn>
                <a:cxn ang="0">
                  <a:pos x="858" y="120"/>
                </a:cxn>
                <a:cxn ang="0">
                  <a:pos x="853" y="62"/>
                </a:cxn>
                <a:cxn ang="0">
                  <a:pos x="867" y="31"/>
                </a:cxn>
                <a:cxn ang="0">
                  <a:pos x="754" y="0"/>
                </a:cxn>
                <a:cxn ang="0">
                  <a:pos x="670" y="12"/>
                </a:cxn>
                <a:cxn ang="0">
                  <a:pos x="569" y="42"/>
                </a:cxn>
                <a:cxn ang="0">
                  <a:pos x="469" y="54"/>
                </a:cxn>
                <a:cxn ang="0">
                  <a:pos x="402" y="20"/>
                </a:cxn>
                <a:cxn ang="0">
                  <a:pos x="288" y="39"/>
                </a:cxn>
                <a:cxn ang="0">
                  <a:pos x="247" y="15"/>
                </a:cxn>
                <a:cxn ang="0">
                  <a:pos x="162" y="23"/>
                </a:cxn>
                <a:cxn ang="0">
                  <a:pos x="121" y="74"/>
                </a:cxn>
                <a:cxn ang="0">
                  <a:pos x="99" y="101"/>
                </a:cxn>
                <a:cxn ang="0">
                  <a:pos x="70" y="113"/>
                </a:cxn>
                <a:cxn ang="0">
                  <a:pos x="58" y="132"/>
                </a:cxn>
                <a:cxn ang="0">
                  <a:pos x="78" y="176"/>
                </a:cxn>
                <a:cxn ang="0">
                  <a:pos x="75" y="222"/>
                </a:cxn>
                <a:cxn ang="0">
                  <a:pos x="20" y="206"/>
                </a:cxn>
                <a:cxn ang="0">
                  <a:pos x="0" y="222"/>
                </a:cxn>
                <a:cxn ang="0">
                  <a:pos x="12" y="265"/>
                </a:cxn>
                <a:cxn ang="0">
                  <a:pos x="4" y="304"/>
                </a:cxn>
                <a:cxn ang="0">
                  <a:pos x="33" y="316"/>
                </a:cxn>
                <a:cxn ang="0">
                  <a:pos x="99" y="379"/>
                </a:cxn>
                <a:cxn ang="0">
                  <a:pos x="138" y="433"/>
                </a:cxn>
                <a:cxn ang="0">
                  <a:pos x="162" y="449"/>
                </a:cxn>
                <a:cxn ang="0">
                  <a:pos x="209" y="445"/>
                </a:cxn>
                <a:cxn ang="0">
                  <a:pos x="319" y="558"/>
                </a:cxn>
                <a:cxn ang="0">
                  <a:pos x="351" y="547"/>
                </a:cxn>
                <a:cxn ang="0">
                  <a:pos x="360" y="589"/>
                </a:cxn>
                <a:cxn ang="0">
                  <a:pos x="426" y="616"/>
                </a:cxn>
                <a:cxn ang="0">
                  <a:pos x="481" y="667"/>
                </a:cxn>
                <a:cxn ang="0">
                  <a:pos x="494" y="691"/>
                </a:cxn>
                <a:cxn ang="0">
                  <a:pos x="552" y="687"/>
                </a:cxn>
                <a:cxn ang="0">
                  <a:pos x="658" y="711"/>
                </a:cxn>
                <a:cxn ang="0">
                  <a:pos x="707" y="723"/>
                </a:cxn>
                <a:cxn ang="0">
                  <a:pos x="707" y="765"/>
                </a:cxn>
                <a:cxn ang="0">
                  <a:pos x="801" y="699"/>
                </a:cxn>
                <a:cxn ang="0">
                  <a:pos x="872" y="726"/>
                </a:cxn>
              </a:cxnLst>
              <a:rect l="0" t="0" r="r" b="b"/>
              <a:pathLst>
                <a:path w="1514" h="766">
                  <a:moveTo>
                    <a:pt x="872" y="726"/>
                  </a:moveTo>
                  <a:lnTo>
                    <a:pt x="921" y="730"/>
                  </a:lnTo>
                  <a:lnTo>
                    <a:pt x="938" y="753"/>
                  </a:lnTo>
                  <a:lnTo>
                    <a:pt x="947" y="757"/>
                  </a:lnTo>
                  <a:lnTo>
                    <a:pt x="1018" y="742"/>
                  </a:lnTo>
                  <a:lnTo>
                    <a:pt x="1022" y="730"/>
                  </a:lnTo>
                  <a:lnTo>
                    <a:pt x="1034" y="726"/>
                  </a:lnTo>
                  <a:lnTo>
                    <a:pt x="1068" y="699"/>
                  </a:lnTo>
                  <a:lnTo>
                    <a:pt x="1102" y="694"/>
                  </a:lnTo>
                  <a:lnTo>
                    <a:pt x="1126" y="679"/>
                  </a:lnTo>
                  <a:lnTo>
                    <a:pt x="1181" y="648"/>
                  </a:lnTo>
                  <a:lnTo>
                    <a:pt x="1189" y="660"/>
                  </a:lnTo>
                  <a:lnTo>
                    <a:pt x="1228" y="672"/>
                  </a:lnTo>
                  <a:lnTo>
                    <a:pt x="1286" y="645"/>
                  </a:lnTo>
                  <a:lnTo>
                    <a:pt x="1306" y="655"/>
                  </a:lnTo>
                  <a:lnTo>
                    <a:pt x="1290" y="679"/>
                  </a:lnTo>
                  <a:lnTo>
                    <a:pt x="1294" y="684"/>
                  </a:lnTo>
                  <a:lnTo>
                    <a:pt x="1319" y="684"/>
                  </a:lnTo>
                  <a:lnTo>
                    <a:pt x="1319" y="691"/>
                  </a:lnTo>
                  <a:lnTo>
                    <a:pt x="1303" y="726"/>
                  </a:lnTo>
                  <a:lnTo>
                    <a:pt x="1306" y="730"/>
                  </a:lnTo>
                  <a:lnTo>
                    <a:pt x="1319" y="730"/>
                  </a:lnTo>
                  <a:lnTo>
                    <a:pt x="1377" y="745"/>
                  </a:lnTo>
                  <a:lnTo>
                    <a:pt x="1403" y="726"/>
                  </a:lnTo>
                  <a:lnTo>
                    <a:pt x="1440" y="753"/>
                  </a:lnTo>
                  <a:lnTo>
                    <a:pt x="1453" y="742"/>
                  </a:lnTo>
                  <a:lnTo>
                    <a:pt x="1461" y="750"/>
                  </a:lnTo>
                  <a:lnTo>
                    <a:pt x="1474" y="750"/>
                  </a:lnTo>
                  <a:lnTo>
                    <a:pt x="1483" y="742"/>
                  </a:lnTo>
                  <a:lnTo>
                    <a:pt x="1479" y="699"/>
                  </a:lnTo>
                  <a:lnTo>
                    <a:pt x="1492" y="691"/>
                  </a:lnTo>
                  <a:lnTo>
                    <a:pt x="1513" y="664"/>
                  </a:lnTo>
                  <a:lnTo>
                    <a:pt x="1508" y="554"/>
                  </a:lnTo>
                  <a:lnTo>
                    <a:pt x="1487" y="499"/>
                  </a:lnTo>
                  <a:lnTo>
                    <a:pt x="1503" y="492"/>
                  </a:lnTo>
                  <a:lnTo>
                    <a:pt x="1458" y="410"/>
                  </a:lnTo>
                  <a:lnTo>
                    <a:pt x="1403" y="371"/>
                  </a:lnTo>
                  <a:lnTo>
                    <a:pt x="1387" y="379"/>
                  </a:lnTo>
                  <a:lnTo>
                    <a:pt x="1387" y="401"/>
                  </a:lnTo>
                  <a:lnTo>
                    <a:pt x="1340" y="460"/>
                  </a:lnTo>
                  <a:lnTo>
                    <a:pt x="1256" y="445"/>
                  </a:lnTo>
                  <a:lnTo>
                    <a:pt x="1252" y="418"/>
                  </a:lnTo>
                  <a:lnTo>
                    <a:pt x="1201" y="382"/>
                  </a:lnTo>
                  <a:lnTo>
                    <a:pt x="1094" y="362"/>
                  </a:lnTo>
                  <a:lnTo>
                    <a:pt x="1042" y="355"/>
                  </a:lnTo>
                  <a:lnTo>
                    <a:pt x="1026" y="355"/>
                  </a:lnTo>
                  <a:lnTo>
                    <a:pt x="984" y="323"/>
                  </a:lnTo>
                  <a:lnTo>
                    <a:pt x="896" y="304"/>
                  </a:lnTo>
                  <a:lnTo>
                    <a:pt x="837" y="195"/>
                  </a:lnTo>
                  <a:lnTo>
                    <a:pt x="833" y="164"/>
                  </a:lnTo>
                  <a:lnTo>
                    <a:pt x="858" y="156"/>
                  </a:lnTo>
                  <a:lnTo>
                    <a:pt x="858" y="120"/>
                  </a:lnTo>
                  <a:lnTo>
                    <a:pt x="875" y="78"/>
                  </a:lnTo>
                  <a:lnTo>
                    <a:pt x="853" y="62"/>
                  </a:lnTo>
                  <a:lnTo>
                    <a:pt x="884" y="39"/>
                  </a:lnTo>
                  <a:lnTo>
                    <a:pt x="867" y="31"/>
                  </a:lnTo>
                  <a:lnTo>
                    <a:pt x="825" y="31"/>
                  </a:lnTo>
                  <a:lnTo>
                    <a:pt x="754" y="0"/>
                  </a:lnTo>
                  <a:lnTo>
                    <a:pt x="707" y="0"/>
                  </a:lnTo>
                  <a:lnTo>
                    <a:pt x="670" y="12"/>
                  </a:lnTo>
                  <a:lnTo>
                    <a:pt x="632" y="12"/>
                  </a:lnTo>
                  <a:lnTo>
                    <a:pt x="569" y="42"/>
                  </a:lnTo>
                  <a:lnTo>
                    <a:pt x="519" y="35"/>
                  </a:lnTo>
                  <a:lnTo>
                    <a:pt x="469" y="54"/>
                  </a:lnTo>
                  <a:lnTo>
                    <a:pt x="426" y="39"/>
                  </a:lnTo>
                  <a:lnTo>
                    <a:pt x="402" y="20"/>
                  </a:lnTo>
                  <a:lnTo>
                    <a:pt x="335" y="12"/>
                  </a:lnTo>
                  <a:lnTo>
                    <a:pt x="288" y="39"/>
                  </a:lnTo>
                  <a:lnTo>
                    <a:pt x="264" y="27"/>
                  </a:lnTo>
                  <a:lnTo>
                    <a:pt x="247" y="15"/>
                  </a:lnTo>
                  <a:lnTo>
                    <a:pt x="196" y="3"/>
                  </a:lnTo>
                  <a:lnTo>
                    <a:pt x="162" y="23"/>
                  </a:lnTo>
                  <a:lnTo>
                    <a:pt x="151" y="59"/>
                  </a:lnTo>
                  <a:lnTo>
                    <a:pt x="121" y="74"/>
                  </a:lnTo>
                  <a:lnTo>
                    <a:pt x="117" y="93"/>
                  </a:lnTo>
                  <a:lnTo>
                    <a:pt x="99" y="101"/>
                  </a:lnTo>
                  <a:lnTo>
                    <a:pt x="78" y="98"/>
                  </a:lnTo>
                  <a:lnTo>
                    <a:pt x="70" y="113"/>
                  </a:lnTo>
                  <a:lnTo>
                    <a:pt x="67" y="132"/>
                  </a:lnTo>
                  <a:lnTo>
                    <a:pt x="58" y="132"/>
                  </a:lnTo>
                  <a:lnTo>
                    <a:pt x="54" y="156"/>
                  </a:lnTo>
                  <a:lnTo>
                    <a:pt x="78" y="176"/>
                  </a:lnTo>
                  <a:lnTo>
                    <a:pt x="83" y="211"/>
                  </a:lnTo>
                  <a:lnTo>
                    <a:pt x="75" y="222"/>
                  </a:lnTo>
                  <a:lnTo>
                    <a:pt x="37" y="226"/>
                  </a:lnTo>
                  <a:lnTo>
                    <a:pt x="20" y="206"/>
                  </a:lnTo>
                  <a:lnTo>
                    <a:pt x="0" y="211"/>
                  </a:lnTo>
                  <a:lnTo>
                    <a:pt x="0" y="222"/>
                  </a:lnTo>
                  <a:lnTo>
                    <a:pt x="8" y="250"/>
                  </a:lnTo>
                  <a:lnTo>
                    <a:pt x="12" y="265"/>
                  </a:lnTo>
                  <a:lnTo>
                    <a:pt x="12" y="289"/>
                  </a:lnTo>
                  <a:lnTo>
                    <a:pt x="4" y="304"/>
                  </a:lnTo>
                  <a:lnTo>
                    <a:pt x="8" y="316"/>
                  </a:lnTo>
                  <a:lnTo>
                    <a:pt x="33" y="316"/>
                  </a:lnTo>
                  <a:lnTo>
                    <a:pt x="46" y="340"/>
                  </a:lnTo>
                  <a:lnTo>
                    <a:pt x="99" y="379"/>
                  </a:lnTo>
                  <a:lnTo>
                    <a:pt x="99" y="391"/>
                  </a:lnTo>
                  <a:lnTo>
                    <a:pt x="138" y="433"/>
                  </a:lnTo>
                  <a:lnTo>
                    <a:pt x="151" y="445"/>
                  </a:lnTo>
                  <a:lnTo>
                    <a:pt x="162" y="449"/>
                  </a:lnTo>
                  <a:lnTo>
                    <a:pt x="188" y="430"/>
                  </a:lnTo>
                  <a:lnTo>
                    <a:pt x="209" y="445"/>
                  </a:lnTo>
                  <a:lnTo>
                    <a:pt x="300" y="519"/>
                  </a:lnTo>
                  <a:lnTo>
                    <a:pt x="319" y="558"/>
                  </a:lnTo>
                  <a:lnTo>
                    <a:pt x="339" y="558"/>
                  </a:lnTo>
                  <a:lnTo>
                    <a:pt x="351" y="547"/>
                  </a:lnTo>
                  <a:lnTo>
                    <a:pt x="360" y="554"/>
                  </a:lnTo>
                  <a:lnTo>
                    <a:pt x="360" y="589"/>
                  </a:lnTo>
                  <a:lnTo>
                    <a:pt x="414" y="616"/>
                  </a:lnTo>
                  <a:lnTo>
                    <a:pt x="426" y="616"/>
                  </a:lnTo>
                  <a:lnTo>
                    <a:pt x="434" y="645"/>
                  </a:lnTo>
                  <a:lnTo>
                    <a:pt x="481" y="667"/>
                  </a:lnTo>
                  <a:lnTo>
                    <a:pt x="486" y="684"/>
                  </a:lnTo>
                  <a:lnTo>
                    <a:pt x="494" y="691"/>
                  </a:lnTo>
                  <a:lnTo>
                    <a:pt x="532" y="687"/>
                  </a:lnTo>
                  <a:lnTo>
                    <a:pt x="552" y="687"/>
                  </a:lnTo>
                  <a:lnTo>
                    <a:pt x="587" y="711"/>
                  </a:lnTo>
                  <a:lnTo>
                    <a:pt x="658" y="711"/>
                  </a:lnTo>
                  <a:lnTo>
                    <a:pt x="699" y="706"/>
                  </a:lnTo>
                  <a:lnTo>
                    <a:pt x="707" y="723"/>
                  </a:lnTo>
                  <a:lnTo>
                    <a:pt x="699" y="753"/>
                  </a:lnTo>
                  <a:lnTo>
                    <a:pt x="707" y="765"/>
                  </a:lnTo>
                  <a:lnTo>
                    <a:pt x="749" y="734"/>
                  </a:lnTo>
                  <a:lnTo>
                    <a:pt x="801" y="699"/>
                  </a:lnTo>
                  <a:lnTo>
                    <a:pt x="837" y="706"/>
                  </a:lnTo>
                  <a:lnTo>
                    <a:pt x="872" y="726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5" name="Freeform 28"/>
            <p:cNvSpPr>
              <a:spLocks/>
            </p:cNvSpPr>
            <p:nvPr/>
          </p:nvSpPr>
          <p:spPr bwMode="auto">
            <a:xfrm>
              <a:off x="4299440" y="2225325"/>
              <a:ext cx="1494833" cy="1004238"/>
            </a:xfrm>
            <a:custGeom>
              <a:avLst/>
              <a:gdLst/>
              <a:ahLst/>
              <a:cxnLst>
                <a:cxn ang="0">
                  <a:pos x="80" y="242"/>
                </a:cxn>
                <a:cxn ang="0">
                  <a:pos x="125" y="215"/>
                </a:cxn>
                <a:cxn ang="0">
                  <a:pos x="109" y="204"/>
                </a:cxn>
                <a:cxn ang="0">
                  <a:pos x="138" y="176"/>
                </a:cxn>
                <a:cxn ang="0">
                  <a:pos x="101" y="106"/>
                </a:cxn>
                <a:cxn ang="0">
                  <a:pos x="122" y="43"/>
                </a:cxn>
                <a:cxn ang="0">
                  <a:pos x="323" y="0"/>
                </a:cxn>
                <a:cxn ang="0">
                  <a:pos x="440" y="24"/>
                </a:cxn>
                <a:cxn ang="0">
                  <a:pos x="512" y="63"/>
                </a:cxn>
                <a:cxn ang="0">
                  <a:pos x="575" y="36"/>
                </a:cxn>
                <a:cxn ang="0">
                  <a:pos x="662" y="28"/>
                </a:cxn>
                <a:cxn ang="0">
                  <a:pos x="772" y="55"/>
                </a:cxn>
                <a:cxn ang="0">
                  <a:pos x="838" y="129"/>
                </a:cxn>
                <a:cxn ang="0">
                  <a:pos x="901" y="149"/>
                </a:cxn>
                <a:cxn ang="0">
                  <a:pos x="965" y="251"/>
                </a:cxn>
                <a:cxn ang="0">
                  <a:pos x="977" y="320"/>
                </a:cxn>
                <a:cxn ang="0">
                  <a:pos x="944" y="371"/>
                </a:cxn>
                <a:cxn ang="0">
                  <a:pos x="906" y="402"/>
                </a:cxn>
                <a:cxn ang="0">
                  <a:pos x="890" y="449"/>
                </a:cxn>
                <a:cxn ang="0">
                  <a:pos x="848" y="426"/>
                </a:cxn>
                <a:cxn ang="0">
                  <a:pos x="851" y="461"/>
                </a:cxn>
                <a:cxn ang="0">
                  <a:pos x="914" y="493"/>
                </a:cxn>
                <a:cxn ang="0">
                  <a:pos x="944" y="508"/>
                </a:cxn>
                <a:cxn ang="0">
                  <a:pos x="906" y="532"/>
                </a:cxn>
                <a:cxn ang="0">
                  <a:pos x="876" y="527"/>
                </a:cxn>
                <a:cxn ang="0">
                  <a:pos x="835" y="551"/>
                </a:cxn>
                <a:cxn ang="0">
                  <a:pos x="805" y="583"/>
                </a:cxn>
                <a:cxn ang="0">
                  <a:pos x="750" y="524"/>
                </a:cxn>
                <a:cxn ang="0">
                  <a:pos x="667" y="520"/>
                </a:cxn>
                <a:cxn ang="0">
                  <a:pos x="575" y="539"/>
                </a:cxn>
                <a:cxn ang="0">
                  <a:pos x="553" y="571"/>
                </a:cxn>
                <a:cxn ang="0">
                  <a:pos x="508" y="652"/>
                </a:cxn>
                <a:cxn ang="0">
                  <a:pos x="418" y="610"/>
                </a:cxn>
                <a:cxn ang="0">
                  <a:pos x="260" y="554"/>
                </a:cxn>
                <a:cxn ang="0">
                  <a:pos x="193" y="547"/>
                </a:cxn>
                <a:cxn ang="0">
                  <a:pos x="62" y="496"/>
                </a:cxn>
                <a:cxn ang="0">
                  <a:pos x="0" y="356"/>
                </a:cxn>
                <a:cxn ang="0">
                  <a:pos x="25" y="312"/>
                </a:cxn>
                <a:cxn ang="0">
                  <a:pos x="20" y="254"/>
                </a:cxn>
              </a:cxnLst>
              <a:rect l="0" t="0" r="r" b="b"/>
              <a:pathLst>
                <a:path w="983" h="653">
                  <a:moveTo>
                    <a:pt x="51" y="231"/>
                  </a:moveTo>
                  <a:lnTo>
                    <a:pt x="80" y="242"/>
                  </a:lnTo>
                  <a:lnTo>
                    <a:pt x="135" y="227"/>
                  </a:lnTo>
                  <a:lnTo>
                    <a:pt x="125" y="215"/>
                  </a:lnTo>
                  <a:lnTo>
                    <a:pt x="114" y="215"/>
                  </a:lnTo>
                  <a:lnTo>
                    <a:pt x="109" y="204"/>
                  </a:lnTo>
                  <a:lnTo>
                    <a:pt x="114" y="188"/>
                  </a:lnTo>
                  <a:lnTo>
                    <a:pt x="138" y="176"/>
                  </a:lnTo>
                  <a:lnTo>
                    <a:pt x="155" y="149"/>
                  </a:lnTo>
                  <a:lnTo>
                    <a:pt x="101" y="106"/>
                  </a:lnTo>
                  <a:lnTo>
                    <a:pt x="96" y="63"/>
                  </a:lnTo>
                  <a:lnTo>
                    <a:pt x="122" y="43"/>
                  </a:lnTo>
                  <a:lnTo>
                    <a:pt x="311" y="9"/>
                  </a:lnTo>
                  <a:lnTo>
                    <a:pt x="323" y="0"/>
                  </a:lnTo>
                  <a:lnTo>
                    <a:pt x="347" y="4"/>
                  </a:lnTo>
                  <a:lnTo>
                    <a:pt x="440" y="24"/>
                  </a:lnTo>
                  <a:lnTo>
                    <a:pt x="470" y="39"/>
                  </a:lnTo>
                  <a:lnTo>
                    <a:pt x="512" y="63"/>
                  </a:lnTo>
                  <a:lnTo>
                    <a:pt x="536" y="59"/>
                  </a:lnTo>
                  <a:lnTo>
                    <a:pt x="575" y="36"/>
                  </a:lnTo>
                  <a:lnTo>
                    <a:pt x="629" y="43"/>
                  </a:lnTo>
                  <a:lnTo>
                    <a:pt x="662" y="28"/>
                  </a:lnTo>
                  <a:lnTo>
                    <a:pt x="733" y="71"/>
                  </a:lnTo>
                  <a:lnTo>
                    <a:pt x="772" y="55"/>
                  </a:lnTo>
                  <a:lnTo>
                    <a:pt x="793" y="102"/>
                  </a:lnTo>
                  <a:lnTo>
                    <a:pt x="838" y="129"/>
                  </a:lnTo>
                  <a:lnTo>
                    <a:pt x="876" y="161"/>
                  </a:lnTo>
                  <a:lnTo>
                    <a:pt x="901" y="149"/>
                  </a:lnTo>
                  <a:lnTo>
                    <a:pt x="953" y="212"/>
                  </a:lnTo>
                  <a:lnTo>
                    <a:pt x="965" y="251"/>
                  </a:lnTo>
                  <a:lnTo>
                    <a:pt x="982" y="273"/>
                  </a:lnTo>
                  <a:lnTo>
                    <a:pt x="977" y="320"/>
                  </a:lnTo>
                  <a:lnTo>
                    <a:pt x="935" y="351"/>
                  </a:lnTo>
                  <a:lnTo>
                    <a:pt x="944" y="371"/>
                  </a:lnTo>
                  <a:lnTo>
                    <a:pt x="927" y="387"/>
                  </a:lnTo>
                  <a:lnTo>
                    <a:pt x="906" y="402"/>
                  </a:lnTo>
                  <a:lnTo>
                    <a:pt x="906" y="434"/>
                  </a:lnTo>
                  <a:lnTo>
                    <a:pt x="890" y="449"/>
                  </a:lnTo>
                  <a:lnTo>
                    <a:pt x="868" y="442"/>
                  </a:lnTo>
                  <a:lnTo>
                    <a:pt x="848" y="426"/>
                  </a:lnTo>
                  <a:lnTo>
                    <a:pt x="838" y="446"/>
                  </a:lnTo>
                  <a:lnTo>
                    <a:pt x="851" y="461"/>
                  </a:lnTo>
                  <a:lnTo>
                    <a:pt x="880" y="465"/>
                  </a:lnTo>
                  <a:lnTo>
                    <a:pt x="914" y="493"/>
                  </a:lnTo>
                  <a:lnTo>
                    <a:pt x="931" y="493"/>
                  </a:lnTo>
                  <a:lnTo>
                    <a:pt x="944" y="508"/>
                  </a:lnTo>
                  <a:lnTo>
                    <a:pt x="931" y="535"/>
                  </a:lnTo>
                  <a:lnTo>
                    <a:pt x="906" y="532"/>
                  </a:lnTo>
                  <a:lnTo>
                    <a:pt x="890" y="544"/>
                  </a:lnTo>
                  <a:lnTo>
                    <a:pt x="876" y="527"/>
                  </a:lnTo>
                  <a:lnTo>
                    <a:pt x="843" y="539"/>
                  </a:lnTo>
                  <a:lnTo>
                    <a:pt x="835" y="551"/>
                  </a:lnTo>
                  <a:lnTo>
                    <a:pt x="835" y="574"/>
                  </a:lnTo>
                  <a:lnTo>
                    <a:pt x="805" y="583"/>
                  </a:lnTo>
                  <a:lnTo>
                    <a:pt x="764" y="544"/>
                  </a:lnTo>
                  <a:lnTo>
                    <a:pt x="750" y="524"/>
                  </a:lnTo>
                  <a:lnTo>
                    <a:pt x="722" y="535"/>
                  </a:lnTo>
                  <a:lnTo>
                    <a:pt x="667" y="520"/>
                  </a:lnTo>
                  <a:lnTo>
                    <a:pt x="583" y="532"/>
                  </a:lnTo>
                  <a:lnTo>
                    <a:pt x="575" y="539"/>
                  </a:lnTo>
                  <a:lnTo>
                    <a:pt x="571" y="563"/>
                  </a:lnTo>
                  <a:lnTo>
                    <a:pt x="553" y="571"/>
                  </a:lnTo>
                  <a:lnTo>
                    <a:pt x="553" y="593"/>
                  </a:lnTo>
                  <a:lnTo>
                    <a:pt x="508" y="652"/>
                  </a:lnTo>
                  <a:lnTo>
                    <a:pt x="423" y="637"/>
                  </a:lnTo>
                  <a:lnTo>
                    <a:pt x="418" y="610"/>
                  </a:lnTo>
                  <a:lnTo>
                    <a:pt x="369" y="574"/>
                  </a:lnTo>
                  <a:lnTo>
                    <a:pt x="260" y="554"/>
                  </a:lnTo>
                  <a:lnTo>
                    <a:pt x="209" y="547"/>
                  </a:lnTo>
                  <a:lnTo>
                    <a:pt x="193" y="547"/>
                  </a:lnTo>
                  <a:lnTo>
                    <a:pt x="151" y="515"/>
                  </a:lnTo>
                  <a:lnTo>
                    <a:pt x="62" y="496"/>
                  </a:lnTo>
                  <a:lnTo>
                    <a:pt x="4" y="387"/>
                  </a:lnTo>
                  <a:lnTo>
                    <a:pt x="0" y="356"/>
                  </a:lnTo>
                  <a:lnTo>
                    <a:pt x="25" y="348"/>
                  </a:lnTo>
                  <a:lnTo>
                    <a:pt x="25" y="312"/>
                  </a:lnTo>
                  <a:lnTo>
                    <a:pt x="42" y="270"/>
                  </a:lnTo>
                  <a:lnTo>
                    <a:pt x="20" y="254"/>
                  </a:lnTo>
                  <a:lnTo>
                    <a:pt x="51" y="231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6" name="Freeform 30"/>
            <p:cNvSpPr>
              <a:spLocks/>
            </p:cNvSpPr>
            <p:nvPr/>
          </p:nvSpPr>
          <p:spPr bwMode="auto">
            <a:xfrm>
              <a:off x="4815064" y="1823314"/>
              <a:ext cx="1613098" cy="1300624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37" y="117"/>
                </a:cxn>
                <a:cxn ang="0">
                  <a:pos x="162" y="55"/>
                </a:cxn>
                <a:cxn ang="0">
                  <a:pos x="193" y="12"/>
                </a:cxn>
                <a:cxn ang="0">
                  <a:pos x="217" y="0"/>
                </a:cxn>
                <a:cxn ang="0">
                  <a:pos x="267" y="27"/>
                </a:cxn>
                <a:cxn ang="0">
                  <a:pos x="272" y="114"/>
                </a:cxn>
                <a:cxn ang="0">
                  <a:pos x="335" y="183"/>
                </a:cxn>
                <a:cxn ang="0">
                  <a:pos x="440" y="161"/>
                </a:cxn>
                <a:cxn ang="0">
                  <a:pos x="469" y="180"/>
                </a:cxn>
                <a:cxn ang="0">
                  <a:pos x="423" y="227"/>
                </a:cxn>
                <a:cxn ang="0">
                  <a:pos x="473" y="273"/>
                </a:cxn>
                <a:cxn ang="0">
                  <a:pos x="494" y="281"/>
                </a:cxn>
                <a:cxn ang="0">
                  <a:pos x="519" y="317"/>
                </a:cxn>
                <a:cxn ang="0">
                  <a:pos x="620" y="317"/>
                </a:cxn>
                <a:cxn ang="0">
                  <a:pos x="709" y="285"/>
                </a:cxn>
                <a:cxn ang="0">
                  <a:pos x="717" y="336"/>
                </a:cxn>
                <a:cxn ang="0">
                  <a:pos x="691" y="368"/>
                </a:cxn>
                <a:cxn ang="0">
                  <a:pos x="687" y="414"/>
                </a:cxn>
                <a:cxn ang="0">
                  <a:pos x="750" y="437"/>
                </a:cxn>
                <a:cxn ang="0">
                  <a:pos x="817" y="547"/>
                </a:cxn>
                <a:cxn ang="0">
                  <a:pos x="851" y="590"/>
                </a:cxn>
                <a:cxn ang="0">
                  <a:pos x="884" y="613"/>
                </a:cxn>
                <a:cxn ang="0">
                  <a:pos x="892" y="586"/>
                </a:cxn>
                <a:cxn ang="0">
                  <a:pos x="927" y="551"/>
                </a:cxn>
                <a:cxn ang="0">
                  <a:pos x="892" y="523"/>
                </a:cxn>
                <a:cxn ang="0">
                  <a:pos x="914" y="457"/>
                </a:cxn>
                <a:cxn ang="0">
                  <a:pos x="947" y="461"/>
                </a:cxn>
                <a:cxn ang="0">
                  <a:pos x="1018" y="503"/>
                </a:cxn>
                <a:cxn ang="0">
                  <a:pos x="1061" y="542"/>
                </a:cxn>
                <a:cxn ang="0">
                  <a:pos x="1052" y="593"/>
                </a:cxn>
                <a:cxn ang="0">
                  <a:pos x="998" y="613"/>
                </a:cxn>
                <a:cxn ang="0">
                  <a:pos x="990" y="625"/>
                </a:cxn>
                <a:cxn ang="0">
                  <a:pos x="951" y="640"/>
                </a:cxn>
                <a:cxn ang="0">
                  <a:pos x="906" y="632"/>
                </a:cxn>
                <a:cxn ang="0">
                  <a:pos x="906" y="652"/>
                </a:cxn>
                <a:cxn ang="0">
                  <a:pos x="888" y="679"/>
                </a:cxn>
                <a:cxn ang="0">
                  <a:pos x="898" y="730"/>
                </a:cxn>
                <a:cxn ang="0">
                  <a:pos x="901" y="757"/>
                </a:cxn>
                <a:cxn ang="0">
                  <a:pos x="856" y="766"/>
                </a:cxn>
                <a:cxn ang="0">
                  <a:pos x="859" y="813"/>
                </a:cxn>
                <a:cxn ang="0">
                  <a:pos x="835" y="832"/>
                </a:cxn>
                <a:cxn ang="0">
                  <a:pos x="772" y="840"/>
                </a:cxn>
                <a:cxn ang="0">
                  <a:pos x="746" y="796"/>
                </a:cxn>
                <a:cxn ang="0">
                  <a:pos x="717" y="796"/>
                </a:cxn>
                <a:cxn ang="0">
                  <a:pos x="662" y="750"/>
                </a:cxn>
                <a:cxn ang="0">
                  <a:pos x="650" y="711"/>
                </a:cxn>
                <a:cxn ang="0">
                  <a:pos x="587" y="730"/>
                </a:cxn>
                <a:cxn ang="0">
                  <a:pos x="574" y="754"/>
                </a:cxn>
                <a:cxn ang="0">
                  <a:pos x="511" y="722"/>
                </a:cxn>
                <a:cxn ang="0">
                  <a:pos x="508" y="688"/>
                </a:cxn>
                <a:cxn ang="0">
                  <a:pos x="549" y="711"/>
                </a:cxn>
                <a:cxn ang="0">
                  <a:pos x="566" y="664"/>
                </a:cxn>
                <a:cxn ang="0">
                  <a:pos x="604" y="632"/>
                </a:cxn>
                <a:cxn ang="0">
                  <a:pos x="637" y="581"/>
                </a:cxn>
                <a:cxn ang="0">
                  <a:pos x="624" y="512"/>
                </a:cxn>
                <a:cxn ang="0">
                  <a:pos x="560" y="410"/>
                </a:cxn>
                <a:cxn ang="0">
                  <a:pos x="499" y="391"/>
                </a:cxn>
                <a:cxn ang="0">
                  <a:pos x="432" y="317"/>
                </a:cxn>
                <a:cxn ang="0">
                  <a:pos x="322" y="290"/>
                </a:cxn>
                <a:cxn ang="0">
                  <a:pos x="235" y="297"/>
                </a:cxn>
                <a:cxn ang="0">
                  <a:pos x="172" y="324"/>
                </a:cxn>
                <a:cxn ang="0">
                  <a:pos x="100" y="285"/>
                </a:cxn>
              </a:cxnLst>
              <a:rect l="0" t="0" r="r" b="b"/>
              <a:pathLst>
                <a:path w="1062" h="845">
                  <a:moveTo>
                    <a:pt x="8" y="266"/>
                  </a:moveTo>
                  <a:lnTo>
                    <a:pt x="0" y="156"/>
                  </a:lnTo>
                  <a:lnTo>
                    <a:pt x="4" y="133"/>
                  </a:lnTo>
                  <a:lnTo>
                    <a:pt x="37" y="117"/>
                  </a:lnTo>
                  <a:lnTo>
                    <a:pt x="88" y="82"/>
                  </a:lnTo>
                  <a:lnTo>
                    <a:pt x="162" y="55"/>
                  </a:lnTo>
                  <a:lnTo>
                    <a:pt x="193" y="39"/>
                  </a:lnTo>
                  <a:lnTo>
                    <a:pt x="193" y="12"/>
                  </a:lnTo>
                  <a:lnTo>
                    <a:pt x="204" y="0"/>
                  </a:lnTo>
                  <a:lnTo>
                    <a:pt x="217" y="0"/>
                  </a:lnTo>
                  <a:lnTo>
                    <a:pt x="267" y="8"/>
                  </a:lnTo>
                  <a:lnTo>
                    <a:pt x="267" y="27"/>
                  </a:lnTo>
                  <a:lnTo>
                    <a:pt x="276" y="59"/>
                  </a:lnTo>
                  <a:lnTo>
                    <a:pt x="272" y="114"/>
                  </a:lnTo>
                  <a:lnTo>
                    <a:pt x="314" y="172"/>
                  </a:lnTo>
                  <a:lnTo>
                    <a:pt x="335" y="183"/>
                  </a:lnTo>
                  <a:lnTo>
                    <a:pt x="369" y="161"/>
                  </a:lnTo>
                  <a:lnTo>
                    <a:pt x="440" y="161"/>
                  </a:lnTo>
                  <a:lnTo>
                    <a:pt x="461" y="164"/>
                  </a:lnTo>
                  <a:lnTo>
                    <a:pt x="469" y="180"/>
                  </a:lnTo>
                  <a:lnTo>
                    <a:pt x="461" y="195"/>
                  </a:lnTo>
                  <a:lnTo>
                    <a:pt x="423" y="227"/>
                  </a:lnTo>
                  <a:lnTo>
                    <a:pt x="426" y="242"/>
                  </a:lnTo>
                  <a:lnTo>
                    <a:pt x="473" y="273"/>
                  </a:lnTo>
                  <a:lnTo>
                    <a:pt x="489" y="273"/>
                  </a:lnTo>
                  <a:lnTo>
                    <a:pt x="494" y="281"/>
                  </a:lnTo>
                  <a:lnTo>
                    <a:pt x="489" y="293"/>
                  </a:lnTo>
                  <a:lnTo>
                    <a:pt x="519" y="317"/>
                  </a:lnTo>
                  <a:lnTo>
                    <a:pt x="587" y="324"/>
                  </a:lnTo>
                  <a:lnTo>
                    <a:pt x="620" y="317"/>
                  </a:lnTo>
                  <a:lnTo>
                    <a:pt x="658" y="281"/>
                  </a:lnTo>
                  <a:lnTo>
                    <a:pt x="709" y="285"/>
                  </a:lnTo>
                  <a:lnTo>
                    <a:pt x="730" y="312"/>
                  </a:lnTo>
                  <a:lnTo>
                    <a:pt x="717" y="336"/>
                  </a:lnTo>
                  <a:lnTo>
                    <a:pt x="721" y="351"/>
                  </a:lnTo>
                  <a:lnTo>
                    <a:pt x="691" y="368"/>
                  </a:lnTo>
                  <a:lnTo>
                    <a:pt x="683" y="383"/>
                  </a:lnTo>
                  <a:lnTo>
                    <a:pt x="687" y="414"/>
                  </a:lnTo>
                  <a:lnTo>
                    <a:pt x="733" y="442"/>
                  </a:lnTo>
                  <a:lnTo>
                    <a:pt x="750" y="437"/>
                  </a:lnTo>
                  <a:lnTo>
                    <a:pt x="804" y="500"/>
                  </a:lnTo>
                  <a:lnTo>
                    <a:pt x="817" y="547"/>
                  </a:lnTo>
                  <a:lnTo>
                    <a:pt x="813" y="571"/>
                  </a:lnTo>
                  <a:lnTo>
                    <a:pt x="851" y="590"/>
                  </a:lnTo>
                  <a:lnTo>
                    <a:pt x="851" y="605"/>
                  </a:lnTo>
                  <a:lnTo>
                    <a:pt x="884" y="613"/>
                  </a:lnTo>
                  <a:lnTo>
                    <a:pt x="892" y="613"/>
                  </a:lnTo>
                  <a:lnTo>
                    <a:pt x="892" y="586"/>
                  </a:lnTo>
                  <a:lnTo>
                    <a:pt x="922" y="581"/>
                  </a:lnTo>
                  <a:lnTo>
                    <a:pt x="927" y="551"/>
                  </a:lnTo>
                  <a:lnTo>
                    <a:pt x="909" y="535"/>
                  </a:lnTo>
                  <a:lnTo>
                    <a:pt x="892" y="523"/>
                  </a:lnTo>
                  <a:lnTo>
                    <a:pt x="901" y="465"/>
                  </a:lnTo>
                  <a:lnTo>
                    <a:pt x="914" y="457"/>
                  </a:lnTo>
                  <a:lnTo>
                    <a:pt x="939" y="465"/>
                  </a:lnTo>
                  <a:lnTo>
                    <a:pt x="947" y="461"/>
                  </a:lnTo>
                  <a:lnTo>
                    <a:pt x="955" y="473"/>
                  </a:lnTo>
                  <a:lnTo>
                    <a:pt x="1018" y="503"/>
                  </a:lnTo>
                  <a:lnTo>
                    <a:pt x="1052" y="523"/>
                  </a:lnTo>
                  <a:lnTo>
                    <a:pt x="1061" y="542"/>
                  </a:lnTo>
                  <a:lnTo>
                    <a:pt x="1040" y="566"/>
                  </a:lnTo>
                  <a:lnTo>
                    <a:pt x="1052" y="593"/>
                  </a:lnTo>
                  <a:lnTo>
                    <a:pt x="1044" y="610"/>
                  </a:lnTo>
                  <a:lnTo>
                    <a:pt x="998" y="613"/>
                  </a:lnTo>
                  <a:lnTo>
                    <a:pt x="990" y="617"/>
                  </a:lnTo>
                  <a:lnTo>
                    <a:pt x="990" y="625"/>
                  </a:lnTo>
                  <a:lnTo>
                    <a:pt x="990" y="637"/>
                  </a:lnTo>
                  <a:lnTo>
                    <a:pt x="951" y="640"/>
                  </a:lnTo>
                  <a:lnTo>
                    <a:pt x="935" y="632"/>
                  </a:lnTo>
                  <a:lnTo>
                    <a:pt x="906" y="632"/>
                  </a:lnTo>
                  <a:lnTo>
                    <a:pt x="901" y="637"/>
                  </a:lnTo>
                  <a:lnTo>
                    <a:pt x="906" y="652"/>
                  </a:lnTo>
                  <a:lnTo>
                    <a:pt x="892" y="664"/>
                  </a:lnTo>
                  <a:lnTo>
                    <a:pt x="888" y="679"/>
                  </a:lnTo>
                  <a:lnTo>
                    <a:pt x="914" y="699"/>
                  </a:lnTo>
                  <a:lnTo>
                    <a:pt x="898" y="730"/>
                  </a:lnTo>
                  <a:lnTo>
                    <a:pt x="906" y="750"/>
                  </a:lnTo>
                  <a:lnTo>
                    <a:pt x="901" y="757"/>
                  </a:lnTo>
                  <a:lnTo>
                    <a:pt x="876" y="757"/>
                  </a:lnTo>
                  <a:lnTo>
                    <a:pt x="856" y="766"/>
                  </a:lnTo>
                  <a:lnTo>
                    <a:pt x="872" y="785"/>
                  </a:lnTo>
                  <a:lnTo>
                    <a:pt x="859" y="813"/>
                  </a:lnTo>
                  <a:lnTo>
                    <a:pt x="830" y="820"/>
                  </a:lnTo>
                  <a:lnTo>
                    <a:pt x="835" y="832"/>
                  </a:lnTo>
                  <a:lnTo>
                    <a:pt x="825" y="844"/>
                  </a:lnTo>
                  <a:lnTo>
                    <a:pt x="772" y="840"/>
                  </a:lnTo>
                  <a:lnTo>
                    <a:pt x="750" y="824"/>
                  </a:lnTo>
                  <a:lnTo>
                    <a:pt x="746" y="796"/>
                  </a:lnTo>
                  <a:lnTo>
                    <a:pt x="738" y="785"/>
                  </a:lnTo>
                  <a:lnTo>
                    <a:pt x="717" y="796"/>
                  </a:lnTo>
                  <a:lnTo>
                    <a:pt x="687" y="766"/>
                  </a:lnTo>
                  <a:lnTo>
                    <a:pt x="662" y="750"/>
                  </a:lnTo>
                  <a:lnTo>
                    <a:pt x="658" y="727"/>
                  </a:lnTo>
                  <a:lnTo>
                    <a:pt x="650" y="711"/>
                  </a:lnTo>
                  <a:lnTo>
                    <a:pt x="637" y="711"/>
                  </a:lnTo>
                  <a:lnTo>
                    <a:pt x="587" y="730"/>
                  </a:lnTo>
                  <a:lnTo>
                    <a:pt x="591" y="754"/>
                  </a:lnTo>
                  <a:lnTo>
                    <a:pt x="574" y="754"/>
                  </a:lnTo>
                  <a:lnTo>
                    <a:pt x="540" y="727"/>
                  </a:lnTo>
                  <a:lnTo>
                    <a:pt x="511" y="722"/>
                  </a:lnTo>
                  <a:lnTo>
                    <a:pt x="499" y="707"/>
                  </a:lnTo>
                  <a:lnTo>
                    <a:pt x="508" y="688"/>
                  </a:lnTo>
                  <a:lnTo>
                    <a:pt x="528" y="703"/>
                  </a:lnTo>
                  <a:lnTo>
                    <a:pt x="549" y="711"/>
                  </a:lnTo>
                  <a:lnTo>
                    <a:pt x="566" y="695"/>
                  </a:lnTo>
                  <a:lnTo>
                    <a:pt x="566" y="664"/>
                  </a:lnTo>
                  <a:lnTo>
                    <a:pt x="587" y="649"/>
                  </a:lnTo>
                  <a:lnTo>
                    <a:pt x="604" y="632"/>
                  </a:lnTo>
                  <a:lnTo>
                    <a:pt x="595" y="613"/>
                  </a:lnTo>
                  <a:lnTo>
                    <a:pt x="637" y="581"/>
                  </a:lnTo>
                  <a:lnTo>
                    <a:pt x="642" y="535"/>
                  </a:lnTo>
                  <a:lnTo>
                    <a:pt x="624" y="512"/>
                  </a:lnTo>
                  <a:lnTo>
                    <a:pt x="612" y="473"/>
                  </a:lnTo>
                  <a:lnTo>
                    <a:pt x="560" y="410"/>
                  </a:lnTo>
                  <a:lnTo>
                    <a:pt x="536" y="422"/>
                  </a:lnTo>
                  <a:lnTo>
                    <a:pt x="499" y="391"/>
                  </a:lnTo>
                  <a:lnTo>
                    <a:pt x="453" y="363"/>
                  </a:lnTo>
                  <a:lnTo>
                    <a:pt x="432" y="317"/>
                  </a:lnTo>
                  <a:lnTo>
                    <a:pt x="393" y="332"/>
                  </a:lnTo>
                  <a:lnTo>
                    <a:pt x="322" y="290"/>
                  </a:lnTo>
                  <a:lnTo>
                    <a:pt x="288" y="305"/>
                  </a:lnTo>
                  <a:lnTo>
                    <a:pt x="235" y="297"/>
                  </a:lnTo>
                  <a:lnTo>
                    <a:pt x="196" y="320"/>
                  </a:lnTo>
                  <a:lnTo>
                    <a:pt x="172" y="324"/>
                  </a:lnTo>
                  <a:lnTo>
                    <a:pt x="130" y="300"/>
                  </a:lnTo>
                  <a:lnTo>
                    <a:pt x="100" y="285"/>
                  </a:lnTo>
                  <a:lnTo>
                    <a:pt x="8" y="266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7" name="Freeform 32"/>
            <p:cNvSpPr>
              <a:spLocks/>
            </p:cNvSpPr>
            <p:nvPr/>
          </p:nvSpPr>
          <p:spPr bwMode="auto">
            <a:xfrm>
              <a:off x="2757302" y="897902"/>
              <a:ext cx="2373128" cy="1710517"/>
            </a:xfrm>
            <a:custGeom>
              <a:avLst/>
              <a:gdLst/>
              <a:ahLst/>
              <a:cxnLst>
                <a:cxn ang="0">
                  <a:pos x="1089" y="54"/>
                </a:cxn>
                <a:cxn ang="0">
                  <a:pos x="1131" y="117"/>
                </a:cxn>
                <a:cxn ang="0">
                  <a:pos x="1198" y="137"/>
                </a:cxn>
                <a:cxn ang="0">
                  <a:pos x="1235" y="277"/>
                </a:cxn>
                <a:cxn ang="0">
                  <a:pos x="1223" y="355"/>
                </a:cxn>
                <a:cxn ang="0">
                  <a:pos x="1475" y="453"/>
                </a:cxn>
                <a:cxn ang="0">
                  <a:pos x="1519" y="516"/>
                </a:cxn>
                <a:cxn ang="0">
                  <a:pos x="1550" y="614"/>
                </a:cxn>
                <a:cxn ang="0">
                  <a:pos x="1445" y="684"/>
                </a:cxn>
                <a:cxn ang="0">
                  <a:pos x="1357" y="758"/>
                </a:cxn>
                <a:cxn ang="0">
                  <a:pos x="1328" y="872"/>
                </a:cxn>
                <a:cxn ang="0">
                  <a:pos x="1118" y="970"/>
                </a:cxn>
                <a:cxn ang="0">
                  <a:pos x="1131" y="1051"/>
                </a:cxn>
                <a:cxn ang="0">
                  <a:pos x="1143" y="1079"/>
                </a:cxn>
                <a:cxn ang="0">
                  <a:pos x="1068" y="1095"/>
                </a:cxn>
                <a:cxn ang="0">
                  <a:pos x="938" y="1056"/>
                </a:cxn>
                <a:cxn ang="0">
                  <a:pos x="817" y="1068"/>
                </a:cxn>
                <a:cxn ang="0">
                  <a:pos x="653" y="1110"/>
                </a:cxn>
                <a:cxn ang="0">
                  <a:pos x="519" y="1068"/>
                </a:cxn>
                <a:cxn ang="0">
                  <a:pos x="430" y="1071"/>
                </a:cxn>
                <a:cxn ang="0">
                  <a:pos x="351" y="1048"/>
                </a:cxn>
                <a:cxn ang="0">
                  <a:pos x="217" y="1020"/>
                </a:cxn>
                <a:cxn ang="0">
                  <a:pos x="99" y="966"/>
                </a:cxn>
                <a:cxn ang="0">
                  <a:pos x="91" y="892"/>
                </a:cxn>
                <a:cxn ang="0">
                  <a:pos x="8" y="836"/>
                </a:cxn>
                <a:cxn ang="0">
                  <a:pos x="45" y="824"/>
                </a:cxn>
                <a:cxn ang="0">
                  <a:pos x="62" y="731"/>
                </a:cxn>
                <a:cxn ang="0">
                  <a:pos x="0" y="684"/>
                </a:cxn>
                <a:cxn ang="0">
                  <a:pos x="32" y="614"/>
                </a:cxn>
                <a:cxn ang="0">
                  <a:pos x="94" y="579"/>
                </a:cxn>
                <a:cxn ang="0">
                  <a:pos x="157" y="567"/>
                </a:cxn>
                <a:cxn ang="0">
                  <a:pos x="184" y="598"/>
                </a:cxn>
                <a:cxn ang="0">
                  <a:pos x="335" y="570"/>
                </a:cxn>
                <a:cxn ang="0">
                  <a:pos x="497" y="504"/>
                </a:cxn>
                <a:cxn ang="0">
                  <a:pos x="548" y="438"/>
                </a:cxn>
                <a:cxn ang="0">
                  <a:pos x="527" y="289"/>
                </a:cxn>
                <a:cxn ang="0">
                  <a:pos x="644" y="266"/>
                </a:cxn>
                <a:cxn ang="0">
                  <a:pos x="694" y="289"/>
                </a:cxn>
                <a:cxn ang="0">
                  <a:pos x="757" y="140"/>
                </a:cxn>
                <a:cxn ang="0">
                  <a:pos x="850" y="160"/>
                </a:cxn>
                <a:cxn ang="0">
                  <a:pos x="933" y="71"/>
                </a:cxn>
                <a:cxn ang="0">
                  <a:pos x="1005" y="31"/>
                </a:cxn>
                <a:cxn ang="0">
                  <a:pos x="1084" y="8"/>
                </a:cxn>
              </a:cxnLst>
              <a:rect l="0" t="0" r="r" b="b"/>
              <a:pathLst>
                <a:path w="1563" h="1111">
                  <a:moveTo>
                    <a:pt x="1084" y="8"/>
                  </a:moveTo>
                  <a:lnTo>
                    <a:pt x="1072" y="39"/>
                  </a:lnTo>
                  <a:lnTo>
                    <a:pt x="1089" y="54"/>
                  </a:lnTo>
                  <a:lnTo>
                    <a:pt x="1089" y="66"/>
                  </a:lnTo>
                  <a:lnTo>
                    <a:pt x="1122" y="93"/>
                  </a:lnTo>
                  <a:lnTo>
                    <a:pt x="1131" y="117"/>
                  </a:lnTo>
                  <a:lnTo>
                    <a:pt x="1172" y="121"/>
                  </a:lnTo>
                  <a:lnTo>
                    <a:pt x="1190" y="137"/>
                  </a:lnTo>
                  <a:lnTo>
                    <a:pt x="1198" y="137"/>
                  </a:lnTo>
                  <a:lnTo>
                    <a:pt x="1223" y="184"/>
                  </a:lnTo>
                  <a:lnTo>
                    <a:pt x="1247" y="242"/>
                  </a:lnTo>
                  <a:lnTo>
                    <a:pt x="1235" y="277"/>
                  </a:lnTo>
                  <a:lnTo>
                    <a:pt x="1239" y="289"/>
                  </a:lnTo>
                  <a:lnTo>
                    <a:pt x="1215" y="328"/>
                  </a:lnTo>
                  <a:lnTo>
                    <a:pt x="1223" y="355"/>
                  </a:lnTo>
                  <a:lnTo>
                    <a:pt x="1298" y="387"/>
                  </a:lnTo>
                  <a:lnTo>
                    <a:pt x="1385" y="399"/>
                  </a:lnTo>
                  <a:lnTo>
                    <a:pt x="1475" y="453"/>
                  </a:lnTo>
                  <a:lnTo>
                    <a:pt x="1499" y="465"/>
                  </a:lnTo>
                  <a:lnTo>
                    <a:pt x="1503" y="477"/>
                  </a:lnTo>
                  <a:lnTo>
                    <a:pt x="1519" y="516"/>
                  </a:lnTo>
                  <a:lnTo>
                    <a:pt x="1541" y="563"/>
                  </a:lnTo>
                  <a:lnTo>
                    <a:pt x="1562" y="602"/>
                  </a:lnTo>
                  <a:lnTo>
                    <a:pt x="1550" y="614"/>
                  </a:lnTo>
                  <a:lnTo>
                    <a:pt x="1550" y="641"/>
                  </a:lnTo>
                  <a:lnTo>
                    <a:pt x="1519" y="657"/>
                  </a:lnTo>
                  <a:lnTo>
                    <a:pt x="1445" y="684"/>
                  </a:lnTo>
                  <a:lnTo>
                    <a:pt x="1394" y="719"/>
                  </a:lnTo>
                  <a:lnTo>
                    <a:pt x="1361" y="735"/>
                  </a:lnTo>
                  <a:lnTo>
                    <a:pt x="1357" y="758"/>
                  </a:lnTo>
                  <a:lnTo>
                    <a:pt x="1365" y="868"/>
                  </a:lnTo>
                  <a:lnTo>
                    <a:pt x="1341" y="863"/>
                  </a:lnTo>
                  <a:lnTo>
                    <a:pt x="1328" y="872"/>
                  </a:lnTo>
                  <a:lnTo>
                    <a:pt x="1139" y="907"/>
                  </a:lnTo>
                  <a:lnTo>
                    <a:pt x="1113" y="926"/>
                  </a:lnTo>
                  <a:lnTo>
                    <a:pt x="1118" y="970"/>
                  </a:lnTo>
                  <a:lnTo>
                    <a:pt x="1172" y="1012"/>
                  </a:lnTo>
                  <a:lnTo>
                    <a:pt x="1155" y="1039"/>
                  </a:lnTo>
                  <a:lnTo>
                    <a:pt x="1131" y="1051"/>
                  </a:lnTo>
                  <a:lnTo>
                    <a:pt x="1127" y="1068"/>
                  </a:lnTo>
                  <a:lnTo>
                    <a:pt x="1131" y="1079"/>
                  </a:lnTo>
                  <a:lnTo>
                    <a:pt x="1143" y="1079"/>
                  </a:lnTo>
                  <a:lnTo>
                    <a:pt x="1152" y="1090"/>
                  </a:lnTo>
                  <a:lnTo>
                    <a:pt x="1097" y="1106"/>
                  </a:lnTo>
                  <a:lnTo>
                    <a:pt x="1068" y="1095"/>
                  </a:lnTo>
                  <a:lnTo>
                    <a:pt x="1050" y="1087"/>
                  </a:lnTo>
                  <a:lnTo>
                    <a:pt x="1009" y="1087"/>
                  </a:lnTo>
                  <a:lnTo>
                    <a:pt x="938" y="1056"/>
                  </a:lnTo>
                  <a:lnTo>
                    <a:pt x="891" y="1056"/>
                  </a:lnTo>
                  <a:lnTo>
                    <a:pt x="854" y="1068"/>
                  </a:lnTo>
                  <a:lnTo>
                    <a:pt x="817" y="1068"/>
                  </a:lnTo>
                  <a:lnTo>
                    <a:pt x="754" y="1098"/>
                  </a:lnTo>
                  <a:lnTo>
                    <a:pt x="702" y="1090"/>
                  </a:lnTo>
                  <a:lnTo>
                    <a:pt x="653" y="1110"/>
                  </a:lnTo>
                  <a:lnTo>
                    <a:pt x="611" y="1095"/>
                  </a:lnTo>
                  <a:lnTo>
                    <a:pt x="587" y="1075"/>
                  </a:lnTo>
                  <a:lnTo>
                    <a:pt x="519" y="1068"/>
                  </a:lnTo>
                  <a:lnTo>
                    <a:pt x="472" y="1095"/>
                  </a:lnTo>
                  <a:lnTo>
                    <a:pt x="448" y="1083"/>
                  </a:lnTo>
                  <a:lnTo>
                    <a:pt x="430" y="1071"/>
                  </a:lnTo>
                  <a:lnTo>
                    <a:pt x="381" y="1059"/>
                  </a:lnTo>
                  <a:lnTo>
                    <a:pt x="371" y="1051"/>
                  </a:lnTo>
                  <a:lnTo>
                    <a:pt x="351" y="1048"/>
                  </a:lnTo>
                  <a:lnTo>
                    <a:pt x="322" y="1005"/>
                  </a:lnTo>
                  <a:lnTo>
                    <a:pt x="292" y="997"/>
                  </a:lnTo>
                  <a:lnTo>
                    <a:pt x="217" y="1020"/>
                  </a:lnTo>
                  <a:lnTo>
                    <a:pt x="184" y="1012"/>
                  </a:lnTo>
                  <a:lnTo>
                    <a:pt x="116" y="970"/>
                  </a:lnTo>
                  <a:lnTo>
                    <a:pt x="99" y="966"/>
                  </a:lnTo>
                  <a:lnTo>
                    <a:pt x="83" y="938"/>
                  </a:lnTo>
                  <a:lnTo>
                    <a:pt x="94" y="907"/>
                  </a:lnTo>
                  <a:lnTo>
                    <a:pt x="91" y="892"/>
                  </a:lnTo>
                  <a:lnTo>
                    <a:pt x="66" y="875"/>
                  </a:lnTo>
                  <a:lnTo>
                    <a:pt x="58" y="860"/>
                  </a:lnTo>
                  <a:lnTo>
                    <a:pt x="8" y="836"/>
                  </a:lnTo>
                  <a:lnTo>
                    <a:pt x="8" y="829"/>
                  </a:lnTo>
                  <a:lnTo>
                    <a:pt x="32" y="817"/>
                  </a:lnTo>
                  <a:lnTo>
                    <a:pt x="45" y="824"/>
                  </a:lnTo>
                  <a:lnTo>
                    <a:pt x="62" y="813"/>
                  </a:lnTo>
                  <a:lnTo>
                    <a:pt x="58" y="766"/>
                  </a:lnTo>
                  <a:lnTo>
                    <a:pt x="62" y="731"/>
                  </a:lnTo>
                  <a:lnTo>
                    <a:pt x="28" y="699"/>
                  </a:lnTo>
                  <a:lnTo>
                    <a:pt x="8" y="704"/>
                  </a:lnTo>
                  <a:lnTo>
                    <a:pt x="0" y="684"/>
                  </a:lnTo>
                  <a:lnTo>
                    <a:pt x="11" y="660"/>
                  </a:lnTo>
                  <a:lnTo>
                    <a:pt x="3" y="641"/>
                  </a:lnTo>
                  <a:lnTo>
                    <a:pt x="32" y="614"/>
                  </a:lnTo>
                  <a:lnTo>
                    <a:pt x="32" y="598"/>
                  </a:lnTo>
                  <a:lnTo>
                    <a:pt x="66" y="582"/>
                  </a:lnTo>
                  <a:lnTo>
                    <a:pt x="94" y="579"/>
                  </a:lnTo>
                  <a:lnTo>
                    <a:pt x="121" y="567"/>
                  </a:lnTo>
                  <a:lnTo>
                    <a:pt x="141" y="575"/>
                  </a:lnTo>
                  <a:lnTo>
                    <a:pt x="157" y="567"/>
                  </a:lnTo>
                  <a:lnTo>
                    <a:pt x="167" y="570"/>
                  </a:lnTo>
                  <a:lnTo>
                    <a:pt x="167" y="590"/>
                  </a:lnTo>
                  <a:lnTo>
                    <a:pt x="184" y="598"/>
                  </a:lnTo>
                  <a:lnTo>
                    <a:pt x="217" y="594"/>
                  </a:lnTo>
                  <a:lnTo>
                    <a:pt x="255" y="555"/>
                  </a:lnTo>
                  <a:lnTo>
                    <a:pt x="335" y="570"/>
                  </a:lnTo>
                  <a:lnTo>
                    <a:pt x="371" y="543"/>
                  </a:lnTo>
                  <a:lnTo>
                    <a:pt x="489" y="520"/>
                  </a:lnTo>
                  <a:lnTo>
                    <a:pt x="497" y="504"/>
                  </a:lnTo>
                  <a:lnTo>
                    <a:pt x="505" y="465"/>
                  </a:lnTo>
                  <a:lnTo>
                    <a:pt x="540" y="438"/>
                  </a:lnTo>
                  <a:lnTo>
                    <a:pt x="548" y="438"/>
                  </a:lnTo>
                  <a:lnTo>
                    <a:pt x="552" y="325"/>
                  </a:lnTo>
                  <a:lnTo>
                    <a:pt x="556" y="301"/>
                  </a:lnTo>
                  <a:lnTo>
                    <a:pt x="527" y="289"/>
                  </a:lnTo>
                  <a:lnTo>
                    <a:pt x="524" y="281"/>
                  </a:lnTo>
                  <a:lnTo>
                    <a:pt x="556" y="274"/>
                  </a:lnTo>
                  <a:lnTo>
                    <a:pt x="644" y="266"/>
                  </a:lnTo>
                  <a:lnTo>
                    <a:pt x="657" y="281"/>
                  </a:lnTo>
                  <a:lnTo>
                    <a:pt x="686" y="289"/>
                  </a:lnTo>
                  <a:lnTo>
                    <a:pt x="694" y="289"/>
                  </a:lnTo>
                  <a:lnTo>
                    <a:pt x="707" y="277"/>
                  </a:lnTo>
                  <a:lnTo>
                    <a:pt x="691" y="262"/>
                  </a:lnTo>
                  <a:lnTo>
                    <a:pt x="757" y="140"/>
                  </a:lnTo>
                  <a:lnTo>
                    <a:pt x="765" y="133"/>
                  </a:lnTo>
                  <a:lnTo>
                    <a:pt x="825" y="160"/>
                  </a:lnTo>
                  <a:lnTo>
                    <a:pt x="850" y="160"/>
                  </a:lnTo>
                  <a:lnTo>
                    <a:pt x="862" y="176"/>
                  </a:lnTo>
                  <a:lnTo>
                    <a:pt x="922" y="156"/>
                  </a:lnTo>
                  <a:lnTo>
                    <a:pt x="933" y="71"/>
                  </a:lnTo>
                  <a:lnTo>
                    <a:pt x="958" y="54"/>
                  </a:lnTo>
                  <a:lnTo>
                    <a:pt x="988" y="54"/>
                  </a:lnTo>
                  <a:lnTo>
                    <a:pt x="1005" y="31"/>
                  </a:lnTo>
                  <a:lnTo>
                    <a:pt x="1013" y="8"/>
                  </a:lnTo>
                  <a:lnTo>
                    <a:pt x="1029" y="0"/>
                  </a:lnTo>
                  <a:lnTo>
                    <a:pt x="1084" y="8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auto">
            <a:xfrm>
              <a:off x="6111217" y="2200103"/>
              <a:ext cx="585004" cy="1001086"/>
            </a:xfrm>
            <a:custGeom>
              <a:avLst/>
              <a:gdLst/>
              <a:ahLst/>
              <a:cxnLst>
                <a:cxn ang="0">
                  <a:pos x="317" y="386"/>
                </a:cxn>
                <a:cxn ang="0">
                  <a:pos x="309" y="219"/>
                </a:cxn>
                <a:cxn ang="0">
                  <a:pos x="334" y="164"/>
                </a:cxn>
                <a:cxn ang="0">
                  <a:pos x="334" y="86"/>
                </a:cxn>
                <a:cxn ang="0">
                  <a:pos x="350" y="35"/>
                </a:cxn>
                <a:cxn ang="0">
                  <a:pos x="338" y="0"/>
                </a:cxn>
                <a:cxn ang="0">
                  <a:pos x="279" y="20"/>
                </a:cxn>
                <a:cxn ang="0">
                  <a:pos x="259" y="66"/>
                </a:cxn>
                <a:cxn ang="0">
                  <a:pos x="238" y="82"/>
                </a:cxn>
                <a:cxn ang="0">
                  <a:pos x="163" y="164"/>
                </a:cxn>
                <a:cxn ang="0">
                  <a:pos x="108" y="164"/>
                </a:cxn>
                <a:cxn ang="0">
                  <a:pos x="91" y="215"/>
                </a:cxn>
                <a:cxn ang="0">
                  <a:pos x="163" y="257"/>
                </a:cxn>
                <a:cxn ang="0">
                  <a:pos x="204" y="296"/>
                </a:cxn>
                <a:cxn ang="0">
                  <a:pos x="196" y="347"/>
                </a:cxn>
                <a:cxn ang="0">
                  <a:pos x="141" y="367"/>
                </a:cxn>
                <a:cxn ang="0">
                  <a:pos x="133" y="379"/>
                </a:cxn>
                <a:cxn ang="0">
                  <a:pos x="94" y="394"/>
                </a:cxn>
                <a:cxn ang="0">
                  <a:pos x="50" y="386"/>
                </a:cxn>
                <a:cxn ang="0">
                  <a:pos x="50" y="406"/>
                </a:cxn>
                <a:cxn ang="0">
                  <a:pos x="33" y="433"/>
                </a:cxn>
                <a:cxn ang="0">
                  <a:pos x="42" y="484"/>
                </a:cxn>
                <a:cxn ang="0">
                  <a:pos x="45" y="511"/>
                </a:cxn>
                <a:cxn ang="0">
                  <a:pos x="0" y="520"/>
                </a:cxn>
                <a:cxn ang="0">
                  <a:pos x="3" y="567"/>
                </a:cxn>
                <a:cxn ang="0">
                  <a:pos x="23" y="586"/>
                </a:cxn>
                <a:cxn ang="0">
                  <a:pos x="86" y="579"/>
                </a:cxn>
                <a:cxn ang="0">
                  <a:pos x="100" y="598"/>
                </a:cxn>
                <a:cxn ang="0">
                  <a:pos x="171" y="621"/>
                </a:cxn>
                <a:cxn ang="0">
                  <a:pos x="251" y="633"/>
                </a:cxn>
                <a:cxn ang="0">
                  <a:pos x="293" y="640"/>
                </a:cxn>
                <a:cxn ang="0">
                  <a:pos x="283" y="606"/>
                </a:cxn>
                <a:cxn ang="0">
                  <a:pos x="317" y="570"/>
                </a:cxn>
                <a:cxn ang="0">
                  <a:pos x="309" y="555"/>
                </a:cxn>
                <a:cxn ang="0">
                  <a:pos x="275" y="531"/>
                </a:cxn>
                <a:cxn ang="0">
                  <a:pos x="342" y="523"/>
                </a:cxn>
                <a:cxn ang="0">
                  <a:pos x="364" y="531"/>
                </a:cxn>
                <a:cxn ang="0">
                  <a:pos x="385" y="496"/>
                </a:cxn>
                <a:cxn ang="0">
                  <a:pos x="330" y="410"/>
                </a:cxn>
              </a:cxnLst>
              <a:rect l="0" t="0" r="r" b="b"/>
              <a:pathLst>
                <a:path w="386" h="649">
                  <a:moveTo>
                    <a:pt x="330" y="410"/>
                  </a:moveTo>
                  <a:lnTo>
                    <a:pt x="317" y="386"/>
                  </a:lnTo>
                  <a:lnTo>
                    <a:pt x="334" y="328"/>
                  </a:lnTo>
                  <a:lnTo>
                    <a:pt x="309" y="219"/>
                  </a:lnTo>
                  <a:lnTo>
                    <a:pt x="330" y="188"/>
                  </a:lnTo>
                  <a:lnTo>
                    <a:pt x="334" y="164"/>
                  </a:lnTo>
                  <a:lnTo>
                    <a:pt x="314" y="117"/>
                  </a:lnTo>
                  <a:lnTo>
                    <a:pt x="334" y="86"/>
                  </a:lnTo>
                  <a:lnTo>
                    <a:pt x="338" y="54"/>
                  </a:lnTo>
                  <a:lnTo>
                    <a:pt x="350" y="35"/>
                  </a:lnTo>
                  <a:lnTo>
                    <a:pt x="346" y="8"/>
                  </a:lnTo>
                  <a:lnTo>
                    <a:pt x="338" y="0"/>
                  </a:lnTo>
                  <a:lnTo>
                    <a:pt x="322" y="15"/>
                  </a:lnTo>
                  <a:lnTo>
                    <a:pt x="279" y="20"/>
                  </a:lnTo>
                  <a:lnTo>
                    <a:pt x="259" y="47"/>
                  </a:lnTo>
                  <a:lnTo>
                    <a:pt x="259" y="66"/>
                  </a:lnTo>
                  <a:lnTo>
                    <a:pt x="254" y="78"/>
                  </a:lnTo>
                  <a:lnTo>
                    <a:pt x="238" y="82"/>
                  </a:lnTo>
                  <a:lnTo>
                    <a:pt x="171" y="171"/>
                  </a:lnTo>
                  <a:lnTo>
                    <a:pt x="163" y="164"/>
                  </a:lnTo>
                  <a:lnTo>
                    <a:pt x="146" y="161"/>
                  </a:lnTo>
                  <a:lnTo>
                    <a:pt x="108" y="164"/>
                  </a:lnTo>
                  <a:lnTo>
                    <a:pt x="94" y="180"/>
                  </a:lnTo>
                  <a:lnTo>
                    <a:pt x="91" y="215"/>
                  </a:lnTo>
                  <a:lnTo>
                    <a:pt x="100" y="227"/>
                  </a:lnTo>
                  <a:lnTo>
                    <a:pt x="163" y="257"/>
                  </a:lnTo>
                  <a:lnTo>
                    <a:pt x="196" y="277"/>
                  </a:lnTo>
                  <a:lnTo>
                    <a:pt x="204" y="296"/>
                  </a:lnTo>
                  <a:lnTo>
                    <a:pt x="183" y="320"/>
                  </a:lnTo>
                  <a:lnTo>
                    <a:pt x="196" y="347"/>
                  </a:lnTo>
                  <a:lnTo>
                    <a:pt x="188" y="364"/>
                  </a:lnTo>
                  <a:lnTo>
                    <a:pt x="141" y="367"/>
                  </a:lnTo>
                  <a:lnTo>
                    <a:pt x="133" y="371"/>
                  </a:lnTo>
                  <a:lnTo>
                    <a:pt x="133" y="379"/>
                  </a:lnTo>
                  <a:lnTo>
                    <a:pt x="133" y="391"/>
                  </a:lnTo>
                  <a:lnTo>
                    <a:pt x="94" y="394"/>
                  </a:lnTo>
                  <a:lnTo>
                    <a:pt x="78" y="386"/>
                  </a:lnTo>
                  <a:lnTo>
                    <a:pt x="50" y="386"/>
                  </a:lnTo>
                  <a:lnTo>
                    <a:pt x="45" y="391"/>
                  </a:lnTo>
                  <a:lnTo>
                    <a:pt x="50" y="406"/>
                  </a:lnTo>
                  <a:lnTo>
                    <a:pt x="37" y="418"/>
                  </a:lnTo>
                  <a:lnTo>
                    <a:pt x="33" y="433"/>
                  </a:lnTo>
                  <a:lnTo>
                    <a:pt x="58" y="453"/>
                  </a:lnTo>
                  <a:lnTo>
                    <a:pt x="42" y="484"/>
                  </a:lnTo>
                  <a:lnTo>
                    <a:pt x="50" y="504"/>
                  </a:lnTo>
                  <a:lnTo>
                    <a:pt x="45" y="511"/>
                  </a:lnTo>
                  <a:lnTo>
                    <a:pt x="20" y="511"/>
                  </a:lnTo>
                  <a:lnTo>
                    <a:pt x="0" y="520"/>
                  </a:lnTo>
                  <a:lnTo>
                    <a:pt x="15" y="539"/>
                  </a:lnTo>
                  <a:lnTo>
                    <a:pt x="3" y="567"/>
                  </a:lnTo>
                  <a:lnTo>
                    <a:pt x="20" y="570"/>
                  </a:lnTo>
                  <a:lnTo>
                    <a:pt x="23" y="586"/>
                  </a:lnTo>
                  <a:lnTo>
                    <a:pt x="37" y="589"/>
                  </a:lnTo>
                  <a:lnTo>
                    <a:pt x="86" y="579"/>
                  </a:lnTo>
                  <a:lnTo>
                    <a:pt x="100" y="582"/>
                  </a:lnTo>
                  <a:lnTo>
                    <a:pt x="100" y="598"/>
                  </a:lnTo>
                  <a:lnTo>
                    <a:pt x="125" y="601"/>
                  </a:lnTo>
                  <a:lnTo>
                    <a:pt x="171" y="621"/>
                  </a:lnTo>
                  <a:lnTo>
                    <a:pt x="196" y="613"/>
                  </a:lnTo>
                  <a:lnTo>
                    <a:pt x="251" y="633"/>
                  </a:lnTo>
                  <a:lnTo>
                    <a:pt x="262" y="648"/>
                  </a:lnTo>
                  <a:lnTo>
                    <a:pt x="293" y="640"/>
                  </a:lnTo>
                  <a:lnTo>
                    <a:pt x="287" y="613"/>
                  </a:lnTo>
                  <a:lnTo>
                    <a:pt x="283" y="606"/>
                  </a:lnTo>
                  <a:lnTo>
                    <a:pt x="287" y="582"/>
                  </a:lnTo>
                  <a:lnTo>
                    <a:pt x="317" y="570"/>
                  </a:lnTo>
                  <a:lnTo>
                    <a:pt x="325" y="559"/>
                  </a:lnTo>
                  <a:lnTo>
                    <a:pt x="309" y="555"/>
                  </a:lnTo>
                  <a:lnTo>
                    <a:pt x="293" y="550"/>
                  </a:lnTo>
                  <a:lnTo>
                    <a:pt x="275" y="531"/>
                  </a:lnTo>
                  <a:lnTo>
                    <a:pt x="283" y="523"/>
                  </a:lnTo>
                  <a:lnTo>
                    <a:pt x="342" y="523"/>
                  </a:lnTo>
                  <a:lnTo>
                    <a:pt x="356" y="523"/>
                  </a:lnTo>
                  <a:lnTo>
                    <a:pt x="364" y="531"/>
                  </a:lnTo>
                  <a:lnTo>
                    <a:pt x="385" y="516"/>
                  </a:lnTo>
                  <a:lnTo>
                    <a:pt x="385" y="496"/>
                  </a:lnTo>
                  <a:lnTo>
                    <a:pt x="330" y="418"/>
                  </a:lnTo>
                  <a:lnTo>
                    <a:pt x="330" y="410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6609495" y="2580041"/>
              <a:ext cx="701691" cy="603806"/>
            </a:xfrm>
            <a:custGeom>
              <a:avLst/>
              <a:gdLst/>
              <a:ahLst/>
              <a:cxnLst>
                <a:cxn ang="0">
                  <a:pos x="54" y="269"/>
                </a:cxn>
                <a:cxn ang="0">
                  <a:pos x="117" y="324"/>
                </a:cxn>
                <a:cxn ang="0">
                  <a:pos x="172" y="336"/>
                </a:cxn>
                <a:cxn ang="0">
                  <a:pos x="221" y="328"/>
                </a:cxn>
                <a:cxn ang="0">
                  <a:pos x="239" y="336"/>
                </a:cxn>
                <a:cxn ang="0">
                  <a:pos x="256" y="328"/>
                </a:cxn>
                <a:cxn ang="0">
                  <a:pos x="267" y="340"/>
                </a:cxn>
                <a:cxn ang="0">
                  <a:pos x="276" y="360"/>
                </a:cxn>
                <a:cxn ang="0">
                  <a:pos x="301" y="371"/>
                </a:cxn>
                <a:cxn ang="0">
                  <a:pos x="330" y="371"/>
                </a:cxn>
                <a:cxn ang="0">
                  <a:pos x="355" y="391"/>
                </a:cxn>
                <a:cxn ang="0">
                  <a:pos x="377" y="379"/>
                </a:cxn>
                <a:cxn ang="0">
                  <a:pos x="393" y="391"/>
                </a:cxn>
                <a:cxn ang="0">
                  <a:pos x="406" y="363"/>
                </a:cxn>
                <a:cxn ang="0">
                  <a:pos x="426" y="355"/>
                </a:cxn>
                <a:cxn ang="0">
                  <a:pos x="432" y="332"/>
                </a:cxn>
                <a:cxn ang="0">
                  <a:pos x="423" y="297"/>
                </a:cxn>
                <a:cxn ang="0">
                  <a:pos x="418" y="293"/>
                </a:cxn>
                <a:cxn ang="0">
                  <a:pos x="402" y="313"/>
                </a:cxn>
                <a:cxn ang="0">
                  <a:pos x="369" y="289"/>
                </a:cxn>
                <a:cxn ang="0">
                  <a:pos x="347" y="262"/>
                </a:cxn>
                <a:cxn ang="0">
                  <a:pos x="369" y="245"/>
                </a:cxn>
                <a:cxn ang="0">
                  <a:pos x="377" y="218"/>
                </a:cxn>
                <a:cxn ang="0">
                  <a:pos x="390" y="211"/>
                </a:cxn>
                <a:cxn ang="0">
                  <a:pos x="390" y="176"/>
                </a:cxn>
                <a:cxn ang="0">
                  <a:pos x="398" y="167"/>
                </a:cxn>
                <a:cxn ang="0">
                  <a:pos x="414" y="179"/>
                </a:cxn>
                <a:cxn ang="0">
                  <a:pos x="426" y="196"/>
                </a:cxn>
                <a:cxn ang="0">
                  <a:pos x="452" y="179"/>
                </a:cxn>
                <a:cxn ang="0">
                  <a:pos x="461" y="172"/>
                </a:cxn>
                <a:cxn ang="0">
                  <a:pos x="456" y="152"/>
                </a:cxn>
                <a:cxn ang="0">
                  <a:pos x="426" y="137"/>
                </a:cxn>
                <a:cxn ang="0">
                  <a:pos x="423" y="121"/>
                </a:cxn>
                <a:cxn ang="0">
                  <a:pos x="372" y="125"/>
                </a:cxn>
                <a:cxn ang="0">
                  <a:pos x="339" y="101"/>
                </a:cxn>
                <a:cxn ang="0">
                  <a:pos x="327" y="98"/>
                </a:cxn>
                <a:cxn ang="0">
                  <a:pos x="327" y="78"/>
                </a:cxn>
                <a:cxn ang="0">
                  <a:pos x="398" y="8"/>
                </a:cxn>
                <a:cxn ang="0">
                  <a:pos x="369" y="11"/>
                </a:cxn>
                <a:cxn ang="0">
                  <a:pos x="355" y="23"/>
                </a:cxn>
                <a:cxn ang="0">
                  <a:pos x="347" y="15"/>
                </a:cxn>
                <a:cxn ang="0">
                  <a:pos x="347" y="3"/>
                </a:cxn>
                <a:cxn ang="0">
                  <a:pos x="335" y="0"/>
                </a:cxn>
                <a:cxn ang="0">
                  <a:pos x="306" y="11"/>
                </a:cxn>
                <a:cxn ang="0">
                  <a:pos x="221" y="0"/>
                </a:cxn>
                <a:cxn ang="0">
                  <a:pos x="217" y="62"/>
                </a:cxn>
                <a:cxn ang="0">
                  <a:pos x="180" y="89"/>
                </a:cxn>
                <a:cxn ang="0">
                  <a:pos x="130" y="101"/>
                </a:cxn>
                <a:cxn ang="0">
                  <a:pos x="54" y="148"/>
                </a:cxn>
                <a:cxn ang="0">
                  <a:pos x="0" y="164"/>
                </a:cxn>
                <a:cxn ang="0">
                  <a:pos x="0" y="172"/>
                </a:cxn>
                <a:cxn ang="0">
                  <a:pos x="54" y="250"/>
                </a:cxn>
                <a:cxn ang="0">
                  <a:pos x="54" y="269"/>
                </a:cxn>
              </a:cxnLst>
              <a:rect l="0" t="0" r="r" b="b"/>
              <a:pathLst>
                <a:path w="462" h="392">
                  <a:moveTo>
                    <a:pt x="54" y="269"/>
                  </a:moveTo>
                  <a:lnTo>
                    <a:pt x="117" y="324"/>
                  </a:lnTo>
                  <a:lnTo>
                    <a:pt x="172" y="336"/>
                  </a:lnTo>
                  <a:lnTo>
                    <a:pt x="221" y="328"/>
                  </a:lnTo>
                  <a:lnTo>
                    <a:pt x="239" y="336"/>
                  </a:lnTo>
                  <a:lnTo>
                    <a:pt x="256" y="328"/>
                  </a:lnTo>
                  <a:lnTo>
                    <a:pt x="267" y="340"/>
                  </a:lnTo>
                  <a:lnTo>
                    <a:pt x="276" y="360"/>
                  </a:lnTo>
                  <a:lnTo>
                    <a:pt x="301" y="371"/>
                  </a:lnTo>
                  <a:lnTo>
                    <a:pt x="330" y="371"/>
                  </a:lnTo>
                  <a:lnTo>
                    <a:pt x="355" y="391"/>
                  </a:lnTo>
                  <a:lnTo>
                    <a:pt x="377" y="379"/>
                  </a:lnTo>
                  <a:lnTo>
                    <a:pt x="393" y="391"/>
                  </a:lnTo>
                  <a:lnTo>
                    <a:pt x="406" y="363"/>
                  </a:lnTo>
                  <a:lnTo>
                    <a:pt x="426" y="355"/>
                  </a:lnTo>
                  <a:lnTo>
                    <a:pt x="432" y="332"/>
                  </a:lnTo>
                  <a:lnTo>
                    <a:pt x="423" y="297"/>
                  </a:lnTo>
                  <a:lnTo>
                    <a:pt x="418" y="293"/>
                  </a:lnTo>
                  <a:lnTo>
                    <a:pt x="402" y="313"/>
                  </a:lnTo>
                  <a:lnTo>
                    <a:pt x="369" y="289"/>
                  </a:lnTo>
                  <a:lnTo>
                    <a:pt x="347" y="262"/>
                  </a:lnTo>
                  <a:lnTo>
                    <a:pt x="369" y="245"/>
                  </a:lnTo>
                  <a:lnTo>
                    <a:pt x="377" y="218"/>
                  </a:lnTo>
                  <a:lnTo>
                    <a:pt x="390" y="211"/>
                  </a:lnTo>
                  <a:lnTo>
                    <a:pt x="390" y="176"/>
                  </a:lnTo>
                  <a:lnTo>
                    <a:pt x="398" y="167"/>
                  </a:lnTo>
                  <a:lnTo>
                    <a:pt x="414" y="179"/>
                  </a:lnTo>
                  <a:lnTo>
                    <a:pt x="426" y="196"/>
                  </a:lnTo>
                  <a:lnTo>
                    <a:pt x="452" y="179"/>
                  </a:lnTo>
                  <a:lnTo>
                    <a:pt x="461" y="172"/>
                  </a:lnTo>
                  <a:lnTo>
                    <a:pt x="456" y="152"/>
                  </a:lnTo>
                  <a:lnTo>
                    <a:pt x="426" y="137"/>
                  </a:lnTo>
                  <a:lnTo>
                    <a:pt x="423" y="121"/>
                  </a:lnTo>
                  <a:lnTo>
                    <a:pt x="372" y="125"/>
                  </a:lnTo>
                  <a:lnTo>
                    <a:pt x="339" y="101"/>
                  </a:lnTo>
                  <a:lnTo>
                    <a:pt x="327" y="98"/>
                  </a:lnTo>
                  <a:lnTo>
                    <a:pt x="327" y="78"/>
                  </a:lnTo>
                  <a:lnTo>
                    <a:pt x="398" y="8"/>
                  </a:lnTo>
                  <a:lnTo>
                    <a:pt x="369" y="11"/>
                  </a:lnTo>
                  <a:lnTo>
                    <a:pt x="355" y="23"/>
                  </a:lnTo>
                  <a:lnTo>
                    <a:pt x="347" y="15"/>
                  </a:lnTo>
                  <a:lnTo>
                    <a:pt x="347" y="3"/>
                  </a:lnTo>
                  <a:lnTo>
                    <a:pt x="335" y="0"/>
                  </a:lnTo>
                  <a:lnTo>
                    <a:pt x="306" y="11"/>
                  </a:lnTo>
                  <a:lnTo>
                    <a:pt x="221" y="0"/>
                  </a:lnTo>
                  <a:lnTo>
                    <a:pt x="217" y="62"/>
                  </a:lnTo>
                  <a:lnTo>
                    <a:pt x="180" y="89"/>
                  </a:lnTo>
                  <a:lnTo>
                    <a:pt x="130" y="101"/>
                  </a:lnTo>
                  <a:lnTo>
                    <a:pt x="54" y="148"/>
                  </a:lnTo>
                  <a:lnTo>
                    <a:pt x="0" y="164"/>
                  </a:lnTo>
                  <a:lnTo>
                    <a:pt x="0" y="172"/>
                  </a:lnTo>
                  <a:lnTo>
                    <a:pt x="54" y="250"/>
                  </a:lnTo>
                  <a:lnTo>
                    <a:pt x="54" y="269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0" name="Freeform 37"/>
            <p:cNvSpPr>
              <a:spLocks/>
            </p:cNvSpPr>
            <p:nvPr/>
          </p:nvSpPr>
          <p:spPr bwMode="auto">
            <a:xfrm>
              <a:off x="6579536" y="2042451"/>
              <a:ext cx="406822" cy="789834"/>
            </a:xfrm>
            <a:custGeom>
              <a:avLst/>
              <a:gdLst/>
              <a:ahLst/>
              <a:cxnLst>
                <a:cxn ang="0">
                  <a:pos x="20" y="515"/>
                </a:cxn>
                <a:cxn ang="0">
                  <a:pos x="75" y="499"/>
                </a:cxn>
                <a:cxn ang="0">
                  <a:pos x="150" y="452"/>
                </a:cxn>
                <a:cxn ang="0">
                  <a:pos x="200" y="440"/>
                </a:cxn>
                <a:cxn ang="0">
                  <a:pos x="238" y="413"/>
                </a:cxn>
                <a:cxn ang="0">
                  <a:pos x="243" y="351"/>
                </a:cxn>
                <a:cxn ang="0">
                  <a:pos x="224" y="332"/>
                </a:cxn>
                <a:cxn ang="0">
                  <a:pos x="229" y="312"/>
                </a:cxn>
                <a:cxn ang="0">
                  <a:pos x="243" y="293"/>
                </a:cxn>
                <a:cxn ang="0">
                  <a:pos x="246" y="269"/>
                </a:cxn>
                <a:cxn ang="0">
                  <a:pos x="259" y="249"/>
                </a:cxn>
                <a:cxn ang="0">
                  <a:pos x="238" y="210"/>
                </a:cxn>
                <a:cxn ang="0">
                  <a:pos x="213" y="183"/>
                </a:cxn>
                <a:cxn ang="0">
                  <a:pos x="224" y="132"/>
                </a:cxn>
                <a:cxn ang="0">
                  <a:pos x="263" y="113"/>
                </a:cxn>
                <a:cxn ang="0">
                  <a:pos x="267" y="81"/>
                </a:cxn>
                <a:cxn ang="0">
                  <a:pos x="255" y="54"/>
                </a:cxn>
                <a:cxn ang="0">
                  <a:pos x="255" y="20"/>
                </a:cxn>
                <a:cxn ang="0">
                  <a:pos x="229" y="0"/>
                </a:cxn>
                <a:cxn ang="0">
                  <a:pos x="180" y="23"/>
                </a:cxn>
                <a:cxn ang="0">
                  <a:pos x="172" y="15"/>
                </a:cxn>
                <a:cxn ang="0">
                  <a:pos x="141" y="35"/>
                </a:cxn>
                <a:cxn ang="0">
                  <a:pos x="120" y="35"/>
                </a:cxn>
                <a:cxn ang="0">
                  <a:pos x="75" y="93"/>
                </a:cxn>
                <a:cxn ang="0">
                  <a:pos x="62" y="93"/>
                </a:cxn>
                <a:cxn ang="0">
                  <a:pos x="37" y="113"/>
                </a:cxn>
                <a:cxn ang="0">
                  <a:pos x="42" y="140"/>
                </a:cxn>
                <a:cxn ang="0">
                  <a:pos x="28" y="159"/>
                </a:cxn>
                <a:cxn ang="0">
                  <a:pos x="25" y="191"/>
                </a:cxn>
                <a:cxn ang="0">
                  <a:pos x="4" y="222"/>
                </a:cxn>
                <a:cxn ang="0">
                  <a:pos x="25" y="269"/>
                </a:cxn>
                <a:cxn ang="0">
                  <a:pos x="20" y="293"/>
                </a:cxn>
                <a:cxn ang="0">
                  <a:pos x="0" y="324"/>
                </a:cxn>
                <a:cxn ang="0">
                  <a:pos x="25" y="433"/>
                </a:cxn>
                <a:cxn ang="0">
                  <a:pos x="7" y="491"/>
                </a:cxn>
                <a:cxn ang="0">
                  <a:pos x="20" y="515"/>
                </a:cxn>
              </a:cxnLst>
              <a:rect l="0" t="0" r="r" b="b"/>
              <a:pathLst>
                <a:path w="268" h="516">
                  <a:moveTo>
                    <a:pt x="20" y="515"/>
                  </a:moveTo>
                  <a:lnTo>
                    <a:pt x="75" y="499"/>
                  </a:lnTo>
                  <a:lnTo>
                    <a:pt x="150" y="452"/>
                  </a:lnTo>
                  <a:lnTo>
                    <a:pt x="200" y="440"/>
                  </a:lnTo>
                  <a:lnTo>
                    <a:pt x="238" y="413"/>
                  </a:lnTo>
                  <a:lnTo>
                    <a:pt x="243" y="351"/>
                  </a:lnTo>
                  <a:lnTo>
                    <a:pt x="224" y="332"/>
                  </a:lnTo>
                  <a:lnTo>
                    <a:pt x="229" y="312"/>
                  </a:lnTo>
                  <a:lnTo>
                    <a:pt x="243" y="293"/>
                  </a:lnTo>
                  <a:lnTo>
                    <a:pt x="246" y="269"/>
                  </a:lnTo>
                  <a:lnTo>
                    <a:pt x="259" y="249"/>
                  </a:lnTo>
                  <a:lnTo>
                    <a:pt x="238" y="210"/>
                  </a:lnTo>
                  <a:lnTo>
                    <a:pt x="213" y="183"/>
                  </a:lnTo>
                  <a:lnTo>
                    <a:pt x="224" y="132"/>
                  </a:lnTo>
                  <a:lnTo>
                    <a:pt x="263" y="113"/>
                  </a:lnTo>
                  <a:lnTo>
                    <a:pt x="267" y="81"/>
                  </a:lnTo>
                  <a:lnTo>
                    <a:pt x="255" y="54"/>
                  </a:lnTo>
                  <a:lnTo>
                    <a:pt x="255" y="20"/>
                  </a:lnTo>
                  <a:lnTo>
                    <a:pt x="229" y="0"/>
                  </a:lnTo>
                  <a:lnTo>
                    <a:pt x="180" y="23"/>
                  </a:lnTo>
                  <a:lnTo>
                    <a:pt x="172" y="15"/>
                  </a:lnTo>
                  <a:lnTo>
                    <a:pt x="141" y="35"/>
                  </a:lnTo>
                  <a:lnTo>
                    <a:pt x="120" y="35"/>
                  </a:lnTo>
                  <a:lnTo>
                    <a:pt x="75" y="93"/>
                  </a:lnTo>
                  <a:lnTo>
                    <a:pt x="62" y="93"/>
                  </a:lnTo>
                  <a:lnTo>
                    <a:pt x="37" y="113"/>
                  </a:lnTo>
                  <a:lnTo>
                    <a:pt x="42" y="140"/>
                  </a:lnTo>
                  <a:lnTo>
                    <a:pt x="28" y="159"/>
                  </a:lnTo>
                  <a:lnTo>
                    <a:pt x="25" y="191"/>
                  </a:lnTo>
                  <a:lnTo>
                    <a:pt x="4" y="222"/>
                  </a:lnTo>
                  <a:lnTo>
                    <a:pt x="25" y="269"/>
                  </a:lnTo>
                  <a:lnTo>
                    <a:pt x="20" y="293"/>
                  </a:lnTo>
                  <a:lnTo>
                    <a:pt x="0" y="324"/>
                  </a:lnTo>
                  <a:lnTo>
                    <a:pt x="25" y="433"/>
                  </a:lnTo>
                  <a:lnTo>
                    <a:pt x="7" y="491"/>
                  </a:lnTo>
                  <a:lnTo>
                    <a:pt x="20" y="515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1" name="Freeform 38"/>
            <p:cNvSpPr>
              <a:spLocks/>
            </p:cNvSpPr>
            <p:nvPr/>
          </p:nvSpPr>
          <p:spPr bwMode="auto">
            <a:xfrm>
              <a:off x="7109349" y="2278928"/>
              <a:ext cx="753724" cy="495025"/>
            </a:xfrm>
            <a:custGeom>
              <a:avLst/>
              <a:gdLst/>
              <a:ahLst/>
              <a:cxnLst>
                <a:cxn ang="0">
                  <a:pos x="108" y="312"/>
                </a:cxn>
                <a:cxn ang="0">
                  <a:pos x="113" y="293"/>
                </a:cxn>
                <a:cxn ang="0">
                  <a:pos x="129" y="284"/>
                </a:cxn>
                <a:cxn ang="0">
                  <a:pos x="162" y="312"/>
                </a:cxn>
                <a:cxn ang="0">
                  <a:pos x="174" y="312"/>
                </a:cxn>
                <a:cxn ang="0">
                  <a:pos x="204" y="308"/>
                </a:cxn>
                <a:cxn ang="0">
                  <a:pos x="221" y="296"/>
                </a:cxn>
                <a:cxn ang="0">
                  <a:pos x="245" y="316"/>
                </a:cxn>
                <a:cxn ang="0">
                  <a:pos x="254" y="296"/>
                </a:cxn>
                <a:cxn ang="0">
                  <a:pos x="259" y="289"/>
                </a:cxn>
                <a:cxn ang="0">
                  <a:pos x="279" y="277"/>
                </a:cxn>
                <a:cxn ang="0">
                  <a:pos x="284" y="254"/>
                </a:cxn>
                <a:cxn ang="0">
                  <a:pos x="305" y="249"/>
                </a:cxn>
                <a:cxn ang="0">
                  <a:pos x="358" y="164"/>
                </a:cxn>
                <a:cxn ang="0">
                  <a:pos x="350" y="149"/>
                </a:cxn>
                <a:cxn ang="0">
                  <a:pos x="358" y="137"/>
                </a:cxn>
                <a:cxn ang="0">
                  <a:pos x="371" y="140"/>
                </a:cxn>
                <a:cxn ang="0">
                  <a:pos x="388" y="132"/>
                </a:cxn>
                <a:cxn ang="0">
                  <a:pos x="401" y="113"/>
                </a:cxn>
                <a:cxn ang="0">
                  <a:pos x="446" y="74"/>
                </a:cxn>
                <a:cxn ang="0">
                  <a:pos x="481" y="62"/>
                </a:cxn>
                <a:cxn ang="0">
                  <a:pos x="497" y="47"/>
                </a:cxn>
                <a:cxn ang="0">
                  <a:pos x="493" y="15"/>
                </a:cxn>
                <a:cxn ang="0">
                  <a:pos x="473" y="12"/>
                </a:cxn>
                <a:cxn ang="0">
                  <a:pos x="418" y="20"/>
                </a:cxn>
                <a:cxn ang="0">
                  <a:pos x="379" y="0"/>
                </a:cxn>
                <a:cxn ang="0">
                  <a:pos x="355" y="3"/>
                </a:cxn>
                <a:cxn ang="0">
                  <a:pos x="300" y="74"/>
                </a:cxn>
                <a:cxn ang="0">
                  <a:pos x="284" y="81"/>
                </a:cxn>
                <a:cxn ang="0">
                  <a:pos x="245" y="66"/>
                </a:cxn>
                <a:cxn ang="0">
                  <a:pos x="245" y="51"/>
                </a:cxn>
                <a:cxn ang="0">
                  <a:pos x="237" y="20"/>
                </a:cxn>
                <a:cxn ang="0">
                  <a:pos x="217" y="8"/>
                </a:cxn>
                <a:cxn ang="0">
                  <a:pos x="183" y="15"/>
                </a:cxn>
                <a:cxn ang="0">
                  <a:pos x="166" y="3"/>
                </a:cxn>
                <a:cxn ang="0">
                  <a:pos x="133" y="39"/>
                </a:cxn>
                <a:cxn ang="0">
                  <a:pos x="103" y="47"/>
                </a:cxn>
                <a:cxn ang="0">
                  <a:pos x="58" y="86"/>
                </a:cxn>
                <a:cxn ang="0">
                  <a:pos x="12" y="168"/>
                </a:cxn>
                <a:cxn ang="0">
                  <a:pos x="23" y="188"/>
                </a:cxn>
                <a:cxn ang="0">
                  <a:pos x="20" y="199"/>
                </a:cxn>
                <a:cxn ang="0">
                  <a:pos x="20" y="210"/>
                </a:cxn>
                <a:cxn ang="0">
                  <a:pos x="28" y="218"/>
                </a:cxn>
                <a:cxn ang="0">
                  <a:pos x="42" y="206"/>
                </a:cxn>
                <a:cxn ang="0">
                  <a:pos x="70" y="203"/>
                </a:cxn>
                <a:cxn ang="0">
                  <a:pos x="0" y="273"/>
                </a:cxn>
                <a:cxn ang="0">
                  <a:pos x="0" y="293"/>
                </a:cxn>
                <a:cxn ang="0">
                  <a:pos x="12" y="296"/>
                </a:cxn>
                <a:cxn ang="0">
                  <a:pos x="45" y="320"/>
                </a:cxn>
                <a:cxn ang="0">
                  <a:pos x="95" y="316"/>
                </a:cxn>
                <a:cxn ang="0">
                  <a:pos x="108" y="312"/>
                </a:cxn>
              </a:cxnLst>
              <a:rect l="0" t="0" r="r" b="b"/>
              <a:pathLst>
                <a:path w="498" h="321">
                  <a:moveTo>
                    <a:pt x="108" y="312"/>
                  </a:moveTo>
                  <a:lnTo>
                    <a:pt x="113" y="293"/>
                  </a:lnTo>
                  <a:lnTo>
                    <a:pt x="129" y="284"/>
                  </a:lnTo>
                  <a:lnTo>
                    <a:pt x="162" y="312"/>
                  </a:lnTo>
                  <a:lnTo>
                    <a:pt x="174" y="312"/>
                  </a:lnTo>
                  <a:lnTo>
                    <a:pt x="204" y="308"/>
                  </a:lnTo>
                  <a:lnTo>
                    <a:pt x="221" y="296"/>
                  </a:lnTo>
                  <a:lnTo>
                    <a:pt x="245" y="316"/>
                  </a:lnTo>
                  <a:lnTo>
                    <a:pt x="254" y="296"/>
                  </a:lnTo>
                  <a:lnTo>
                    <a:pt x="259" y="289"/>
                  </a:lnTo>
                  <a:lnTo>
                    <a:pt x="279" y="277"/>
                  </a:lnTo>
                  <a:lnTo>
                    <a:pt x="284" y="254"/>
                  </a:lnTo>
                  <a:lnTo>
                    <a:pt x="305" y="249"/>
                  </a:lnTo>
                  <a:lnTo>
                    <a:pt x="358" y="164"/>
                  </a:lnTo>
                  <a:lnTo>
                    <a:pt x="350" y="149"/>
                  </a:lnTo>
                  <a:lnTo>
                    <a:pt x="358" y="137"/>
                  </a:lnTo>
                  <a:lnTo>
                    <a:pt x="371" y="140"/>
                  </a:lnTo>
                  <a:lnTo>
                    <a:pt x="388" y="132"/>
                  </a:lnTo>
                  <a:lnTo>
                    <a:pt x="401" y="113"/>
                  </a:lnTo>
                  <a:lnTo>
                    <a:pt x="446" y="74"/>
                  </a:lnTo>
                  <a:lnTo>
                    <a:pt x="481" y="62"/>
                  </a:lnTo>
                  <a:lnTo>
                    <a:pt x="497" y="47"/>
                  </a:lnTo>
                  <a:lnTo>
                    <a:pt x="493" y="15"/>
                  </a:lnTo>
                  <a:lnTo>
                    <a:pt x="473" y="12"/>
                  </a:lnTo>
                  <a:lnTo>
                    <a:pt x="418" y="20"/>
                  </a:lnTo>
                  <a:lnTo>
                    <a:pt x="379" y="0"/>
                  </a:lnTo>
                  <a:lnTo>
                    <a:pt x="355" y="3"/>
                  </a:lnTo>
                  <a:lnTo>
                    <a:pt x="300" y="74"/>
                  </a:lnTo>
                  <a:lnTo>
                    <a:pt x="284" y="81"/>
                  </a:lnTo>
                  <a:lnTo>
                    <a:pt x="245" y="66"/>
                  </a:lnTo>
                  <a:lnTo>
                    <a:pt x="245" y="51"/>
                  </a:lnTo>
                  <a:lnTo>
                    <a:pt x="237" y="20"/>
                  </a:lnTo>
                  <a:lnTo>
                    <a:pt x="217" y="8"/>
                  </a:lnTo>
                  <a:lnTo>
                    <a:pt x="183" y="15"/>
                  </a:lnTo>
                  <a:lnTo>
                    <a:pt x="166" y="3"/>
                  </a:lnTo>
                  <a:lnTo>
                    <a:pt x="133" y="39"/>
                  </a:lnTo>
                  <a:lnTo>
                    <a:pt x="103" y="47"/>
                  </a:lnTo>
                  <a:lnTo>
                    <a:pt x="58" y="86"/>
                  </a:lnTo>
                  <a:lnTo>
                    <a:pt x="12" y="168"/>
                  </a:lnTo>
                  <a:lnTo>
                    <a:pt x="23" y="188"/>
                  </a:lnTo>
                  <a:lnTo>
                    <a:pt x="20" y="199"/>
                  </a:lnTo>
                  <a:lnTo>
                    <a:pt x="20" y="210"/>
                  </a:lnTo>
                  <a:lnTo>
                    <a:pt x="28" y="218"/>
                  </a:lnTo>
                  <a:lnTo>
                    <a:pt x="42" y="206"/>
                  </a:lnTo>
                  <a:lnTo>
                    <a:pt x="70" y="203"/>
                  </a:lnTo>
                  <a:lnTo>
                    <a:pt x="0" y="273"/>
                  </a:lnTo>
                  <a:lnTo>
                    <a:pt x="0" y="293"/>
                  </a:lnTo>
                  <a:lnTo>
                    <a:pt x="12" y="296"/>
                  </a:lnTo>
                  <a:lnTo>
                    <a:pt x="45" y="320"/>
                  </a:lnTo>
                  <a:lnTo>
                    <a:pt x="95" y="316"/>
                  </a:lnTo>
                  <a:lnTo>
                    <a:pt x="108" y="312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2" name="Freeform 40"/>
            <p:cNvSpPr>
              <a:spLocks/>
            </p:cNvSpPr>
            <p:nvPr/>
          </p:nvSpPr>
          <p:spPr bwMode="auto">
            <a:xfrm>
              <a:off x="6885441" y="1736607"/>
              <a:ext cx="643346" cy="859200"/>
            </a:xfrm>
            <a:custGeom>
              <a:avLst/>
              <a:gdLst/>
              <a:ahLst/>
              <a:cxnLst>
                <a:cxn ang="0">
                  <a:pos x="168" y="540"/>
                </a:cxn>
                <a:cxn ang="0">
                  <a:pos x="201" y="437"/>
                </a:cxn>
                <a:cxn ang="0">
                  <a:pos x="278" y="391"/>
                </a:cxn>
                <a:cxn ang="0">
                  <a:pos x="298" y="347"/>
                </a:cxn>
                <a:cxn ang="0">
                  <a:pos x="264" y="332"/>
                </a:cxn>
                <a:cxn ang="0">
                  <a:pos x="223" y="313"/>
                </a:cxn>
                <a:cxn ang="0">
                  <a:pos x="201" y="257"/>
                </a:cxn>
                <a:cxn ang="0">
                  <a:pos x="164" y="262"/>
                </a:cxn>
                <a:cxn ang="0">
                  <a:pos x="122" y="254"/>
                </a:cxn>
                <a:cxn ang="0">
                  <a:pos x="152" y="199"/>
                </a:cxn>
                <a:cxn ang="0">
                  <a:pos x="185" y="140"/>
                </a:cxn>
                <a:cxn ang="0">
                  <a:pos x="243" y="164"/>
                </a:cxn>
                <a:cxn ang="0">
                  <a:pos x="264" y="203"/>
                </a:cxn>
                <a:cxn ang="0">
                  <a:pos x="268" y="234"/>
                </a:cxn>
                <a:cxn ang="0">
                  <a:pos x="303" y="269"/>
                </a:cxn>
                <a:cxn ang="0">
                  <a:pos x="382" y="250"/>
                </a:cxn>
                <a:cxn ang="0">
                  <a:pos x="420" y="183"/>
                </a:cxn>
                <a:cxn ang="0">
                  <a:pos x="374" y="152"/>
                </a:cxn>
                <a:cxn ang="0">
                  <a:pos x="353" y="98"/>
                </a:cxn>
                <a:cxn ang="0">
                  <a:pos x="278" y="62"/>
                </a:cxn>
                <a:cxn ang="0">
                  <a:pos x="235" y="0"/>
                </a:cxn>
                <a:cxn ang="0">
                  <a:pos x="185" y="35"/>
                </a:cxn>
                <a:cxn ang="0">
                  <a:pos x="185" y="62"/>
                </a:cxn>
                <a:cxn ang="0">
                  <a:pos x="135" y="78"/>
                </a:cxn>
                <a:cxn ang="0">
                  <a:pos x="109" y="86"/>
                </a:cxn>
                <a:cxn ang="0">
                  <a:pos x="62" y="98"/>
                </a:cxn>
                <a:cxn ang="0">
                  <a:pos x="51" y="62"/>
                </a:cxn>
                <a:cxn ang="0">
                  <a:pos x="9" y="113"/>
                </a:cxn>
                <a:cxn ang="0">
                  <a:pos x="25" y="195"/>
                </a:cxn>
                <a:cxn ang="0">
                  <a:pos x="51" y="250"/>
                </a:cxn>
                <a:cxn ang="0">
                  <a:pos x="59" y="308"/>
                </a:cxn>
                <a:cxn ang="0">
                  <a:pos x="9" y="379"/>
                </a:cxn>
                <a:cxn ang="0">
                  <a:pos x="54" y="445"/>
                </a:cxn>
                <a:cxn ang="0">
                  <a:pos x="38" y="489"/>
                </a:cxn>
                <a:cxn ang="0">
                  <a:pos x="20" y="528"/>
                </a:cxn>
                <a:cxn ang="0">
                  <a:pos x="122" y="558"/>
                </a:cxn>
                <a:cxn ang="0">
                  <a:pos x="164" y="550"/>
                </a:cxn>
              </a:cxnLst>
              <a:rect l="0" t="0" r="r" b="b"/>
              <a:pathLst>
                <a:path w="421" h="559">
                  <a:moveTo>
                    <a:pt x="164" y="550"/>
                  </a:moveTo>
                  <a:lnTo>
                    <a:pt x="168" y="540"/>
                  </a:lnTo>
                  <a:lnTo>
                    <a:pt x="156" y="520"/>
                  </a:lnTo>
                  <a:lnTo>
                    <a:pt x="201" y="437"/>
                  </a:lnTo>
                  <a:lnTo>
                    <a:pt x="248" y="398"/>
                  </a:lnTo>
                  <a:lnTo>
                    <a:pt x="278" y="391"/>
                  </a:lnTo>
                  <a:lnTo>
                    <a:pt x="311" y="355"/>
                  </a:lnTo>
                  <a:lnTo>
                    <a:pt x="298" y="347"/>
                  </a:lnTo>
                  <a:lnTo>
                    <a:pt x="286" y="320"/>
                  </a:lnTo>
                  <a:lnTo>
                    <a:pt x="264" y="332"/>
                  </a:lnTo>
                  <a:lnTo>
                    <a:pt x="223" y="320"/>
                  </a:lnTo>
                  <a:lnTo>
                    <a:pt x="223" y="313"/>
                  </a:lnTo>
                  <a:lnTo>
                    <a:pt x="223" y="250"/>
                  </a:lnTo>
                  <a:lnTo>
                    <a:pt x="201" y="257"/>
                  </a:lnTo>
                  <a:lnTo>
                    <a:pt x="188" y="269"/>
                  </a:lnTo>
                  <a:lnTo>
                    <a:pt x="164" y="262"/>
                  </a:lnTo>
                  <a:lnTo>
                    <a:pt x="125" y="269"/>
                  </a:lnTo>
                  <a:lnTo>
                    <a:pt x="122" y="254"/>
                  </a:lnTo>
                  <a:lnTo>
                    <a:pt x="125" y="227"/>
                  </a:lnTo>
                  <a:lnTo>
                    <a:pt x="152" y="199"/>
                  </a:lnTo>
                  <a:lnTo>
                    <a:pt x="160" y="164"/>
                  </a:lnTo>
                  <a:lnTo>
                    <a:pt x="185" y="140"/>
                  </a:lnTo>
                  <a:lnTo>
                    <a:pt x="231" y="164"/>
                  </a:lnTo>
                  <a:lnTo>
                    <a:pt x="243" y="164"/>
                  </a:lnTo>
                  <a:lnTo>
                    <a:pt x="251" y="195"/>
                  </a:lnTo>
                  <a:lnTo>
                    <a:pt x="264" y="203"/>
                  </a:lnTo>
                  <a:lnTo>
                    <a:pt x="273" y="223"/>
                  </a:lnTo>
                  <a:lnTo>
                    <a:pt x="268" y="234"/>
                  </a:lnTo>
                  <a:lnTo>
                    <a:pt x="298" y="254"/>
                  </a:lnTo>
                  <a:lnTo>
                    <a:pt x="303" y="269"/>
                  </a:lnTo>
                  <a:lnTo>
                    <a:pt x="323" y="277"/>
                  </a:lnTo>
                  <a:lnTo>
                    <a:pt x="382" y="250"/>
                  </a:lnTo>
                  <a:lnTo>
                    <a:pt x="382" y="230"/>
                  </a:lnTo>
                  <a:lnTo>
                    <a:pt x="420" y="183"/>
                  </a:lnTo>
                  <a:lnTo>
                    <a:pt x="395" y="152"/>
                  </a:lnTo>
                  <a:lnTo>
                    <a:pt x="374" y="152"/>
                  </a:lnTo>
                  <a:lnTo>
                    <a:pt x="341" y="129"/>
                  </a:lnTo>
                  <a:lnTo>
                    <a:pt x="353" y="98"/>
                  </a:lnTo>
                  <a:lnTo>
                    <a:pt x="303" y="93"/>
                  </a:lnTo>
                  <a:lnTo>
                    <a:pt x="278" y="62"/>
                  </a:lnTo>
                  <a:lnTo>
                    <a:pt x="282" y="42"/>
                  </a:lnTo>
                  <a:lnTo>
                    <a:pt x="235" y="0"/>
                  </a:lnTo>
                  <a:lnTo>
                    <a:pt x="210" y="12"/>
                  </a:lnTo>
                  <a:lnTo>
                    <a:pt x="185" y="35"/>
                  </a:lnTo>
                  <a:lnTo>
                    <a:pt x="193" y="51"/>
                  </a:lnTo>
                  <a:lnTo>
                    <a:pt x="185" y="62"/>
                  </a:lnTo>
                  <a:lnTo>
                    <a:pt x="152" y="62"/>
                  </a:lnTo>
                  <a:lnTo>
                    <a:pt x="135" y="78"/>
                  </a:lnTo>
                  <a:lnTo>
                    <a:pt x="122" y="71"/>
                  </a:lnTo>
                  <a:lnTo>
                    <a:pt x="109" y="86"/>
                  </a:lnTo>
                  <a:lnTo>
                    <a:pt x="75" y="110"/>
                  </a:lnTo>
                  <a:lnTo>
                    <a:pt x="62" y="98"/>
                  </a:lnTo>
                  <a:lnTo>
                    <a:pt x="62" y="66"/>
                  </a:lnTo>
                  <a:lnTo>
                    <a:pt x="51" y="62"/>
                  </a:lnTo>
                  <a:lnTo>
                    <a:pt x="30" y="71"/>
                  </a:lnTo>
                  <a:lnTo>
                    <a:pt x="9" y="113"/>
                  </a:lnTo>
                  <a:lnTo>
                    <a:pt x="0" y="156"/>
                  </a:lnTo>
                  <a:lnTo>
                    <a:pt x="25" y="195"/>
                  </a:lnTo>
                  <a:lnTo>
                    <a:pt x="51" y="215"/>
                  </a:lnTo>
                  <a:lnTo>
                    <a:pt x="51" y="250"/>
                  </a:lnTo>
                  <a:lnTo>
                    <a:pt x="62" y="277"/>
                  </a:lnTo>
                  <a:lnTo>
                    <a:pt x="59" y="308"/>
                  </a:lnTo>
                  <a:lnTo>
                    <a:pt x="20" y="328"/>
                  </a:lnTo>
                  <a:lnTo>
                    <a:pt x="9" y="379"/>
                  </a:lnTo>
                  <a:lnTo>
                    <a:pt x="34" y="406"/>
                  </a:lnTo>
                  <a:lnTo>
                    <a:pt x="54" y="445"/>
                  </a:lnTo>
                  <a:lnTo>
                    <a:pt x="42" y="465"/>
                  </a:lnTo>
                  <a:lnTo>
                    <a:pt x="38" y="489"/>
                  </a:lnTo>
                  <a:lnTo>
                    <a:pt x="25" y="508"/>
                  </a:lnTo>
                  <a:lnTo>
                    <a:pt x="20" y="528"/>
                  </a:lnTo>
                  <a:lnTo>
                    <a:pt x="38" y="547"/>
                  </a:lnTo>
                  <a:lnTo>
                    <a:pt x="122" y="558"/>
                  </a:lnTo>
                  <a:lnTo>
                    <a:pt x="152" y="547"/>
                  </a:lnTo>
                  <a:lnTo>
                    <a:pt x="164" y="550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3" name="Freeform 43"/>
            <p:cNvSpPr>
              <a:spLocks/>
            </p:cNvSpPr>
            <p:nvPr/>
          </p:nvSpPr>
          <p:spPr bwMode="auto">
            <a:xfrm>
              <a:off x="5948805" y="2242668"/>
              <a:ext cx="327980" cy="524980"/>
            </a:xfrm>
            <a:custGeom>
              <a:avLst/>
              <a:gdLst/>
              <a:ahLst/>
              <a:cxnLst>
                <a:cxn ang="0">
                  <a:pos x="197" y="188"/>
                </a:cxn>
                <a:cxn ang="0">
                  <a:pos x="201" y="153"/>
                </a:cxn>
                <a:cxn ang="0">
                  <a:pos x="214" y="137"/>
                </a:cxn>
                <a:cxn ang="0">
                  <a:pos x="205" y="117"/>
                </a:cxn>
                <a:cxn ang="0">
                  <a:pos x="143" y="98"/>
                </a:cxn>
                <a:cxn ang="0">
                  <a:pos x="147" y="71"/>
                </a:cxn>
                <a:cxn ang="0">
                  <a:pos x="168" y="47"/>
                </a:cxn>
                <a:cxn ang="0">
                  <a:pos x="155" y="4"/>
                </a:cxn>
                <a:cxn ang="0">
                  <a:pos x="147" y="0"/>
                </a:cxn>
                <a:cxn ang="0">
                  <a:pos x="105" y="24"/>
                </a:cxn>
                <a:cxn ang="0">
                  <a:pos x="88" y="86"/>
                </a:cxn>
                <a:cxn ang="0">
                  <a:pos x="78" y="125"/>
                </a:cxn>
                <a:cxn ang="0">
                  <a:pos x="45" y="153"/>
                </a:cxn>
                <a:cxn ang="0">
                  <a:pos x="24" y="161"/>
                </a:cxn>
                <a:cxn ang="0">
                  <a:pos x="0" y="164"/>
                </a:cxn>
                <a:cxn ang="0">
                  <a:pos x="53" y="227"/>
                </a:cxn>
                <a:cxn ang="0">
                  <a:pos x="66" y="274"/>
                </a:cxn>
                <a:cxn ang="0">
                  <a:pos x="62" y="298"/>
                </a:cxn>
                <a:cxn ang="0">
                  <a:pos x="100" y="317"/>
                </a:cxn>
                <a:cxn ang="0">
                  <a:pos x="100" y="332"/>
                </a:cxn>
                <a:cxn ang="0">
                  <a:pos x="135" y="340"/>
                </a:cxn>
                <a:cxn ang="0">
                  <a:pos x="143" y="340"/>
                </a:cxn>
                <a:cxn ang="0">
                  <a:pos x="143" y="313"/>
                </a:cxn>
                <a:cxn ang="0">
                  <a:pos x="171" y="308"/>
                </a:cxn>
                <a:cxn ang="0">
                  <a:pos x="176" y="278"/>
                </a:cxn>
                <a:cxn ang="0">
                  <a:pos x="159" y="262"/>
                </a:cxn>
                <a:cxn ang="0">
                  <a:pos x="143" y="250"/>
                </a:cxn>
                <a:cxn ang="0">
                  <a:pos x="151" y="192"/>
                </a:cxn>
                <a:cxn ang="0">
                  <a:pos x="163" y="184"/>
                </a:cxn>
                <a:cxn ang="0">
                  <a:pos x="189" y="192"/>
                </a:cxn>
                <a:cxn ang="0">
                  <a:pos x="197" y="188"/>
                </a:cxn>
              </a:cxnLst>
              <a:rect l="0" t="0" r="r" b="b"/>
              <a:pathLst>
                <a:path w="215" h="341">
                  <a:moveTo>
                    <a:pt x="197" y="188"/>
                  </a:moveTo>
                  <a:lnTo>
                    <a:pt x="201" y="153"/>
                  </a:lnTo>
                  <a:lnTo>
                    <a:pt x="214" y="137"/>
                  </a:lnTo>
                  <a:lnTo>
                    <a:pt x="205" y="117"/>
                  </a:lnTo>
                  <a:lnTo>
                    <a:pt x="143" y="98"/>
                  </a:lnTo>
                  <a:lnTo>
                    <a:pt x="147" y="71"/>
                  </a:lnTo>
                  <a:lnTo>
                    <a:pt x="168" y="47"/>
                  </a:lnTo>
                  <a:lnTo>
                    <a:pt x="155" y="4"/>
                  </a:lnTo>
                  <a:lnTo>
                    <a:pt x="147" y="0"/>
                  </a:lnTo>
                  <a:lnTo>
                    <a:pt x="105" y="24"/>
                  </a:lnTo>
                  <a:lnTo>
                    <a:pt x="88" y="86"/>
                  </a:lnTo>
                  <a:lnTo>
                    <a:pt x="78" y="125"/>
                  </a:lnTo>
                  <a:lnTo>
                    <a:pt x="45" y="153"/>
                  </a:lnTo>
                  <a:lnTo>
                    <a:pt x="24" y="161"/>
                  </a:lnTo>
                  <a:lnTo>
                    <a:pt x="0" y="164"/>
                  </a:lnTo>
                  <a:lnTo>
                    <a:pt x="53" y="227"/>
                  </a:lnTo>
                  <a:lnTo>
                    <a:pt x="66" y="274"/>
                  </a:lnTo>
                  <a:lnTo>
                    <a:pt x="62" y="298"/>
                  </a:lnTo>
                  <a:lnTo>
                    <a:pt x="100" y="317"/>
                  </a:lnTo>
                  <a:lnTo>
                    <a:pt x="100" y="332"/>
                  </a:lnTo>
                  <a:lnTo>
                    <a:pt x="135" y="340"/>
                  </a:lnTo>
                  <a:lnTo>
                    <a:pt x="143" y="340"/>
                  </a:lnTo>
                  <a:lnTo>
                    <a:pt x="143" y="313"/>
                  </a:lnTo>
                  <a:lnTo>
                    <a:pt x="171" y="308"/>
                  </a:lnTo>
                  <a:lnTo>
                    <a:pt x="176" y="278"/>
                  </a:lnTo>
                  <a:lnTo>
                    <a:pt x="159" y="262"/>
                  </a:lnTo>
                  <a:lnTo>
                    <a:pt x="143" y="250"/>
                  </a:lnTo>
                  <a:lnTo>
                    <a:pt x="151" y="192"/>
                  </a:lnTo>
                  <a:lnTo>
                    <a:pt x="163" y="184"/>
                  </a:lnTo>
                  <a:lnTo>
                    <a:pt x="189" y="192"/>
                  </a:lnTo>
                  <a:lnTo>
                    <a:pt x="197" y="188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4" name="Freeform 45"/>
            <p:cNvSpPr>
              <a:spLocks/>
            </p:cNvSpPr>
            <p:nvPr/>
          </p:nvSpPr>
          <p:spPr bwMode="auto">
            <a:xfrm>
              <a:off x="5218733" y="279906"/>
              <a:ext cx="2623843" cy="2224461"/>
            </a:xfrm>
            <a:custGeom>
              <a:avLst/>
              <a:gdLst/>
              <a:ahLst/>
              <a:cxnLst>
                <a:cxn ang="0">
                  <a:pos x="562" y="1398"/>
                </a:cxn>
                <a:cxn ang="0">
                  <a:pos x="638" y="1277"/>
                </a:cxn>
                <a:cxn ang="0">
                  <a:pos x="687" y="1390"/>
                </a:cxn>
                <a:cxn ang="0">
                  <a:pos x="758" y="1417"/>
                </a:cxn>
                <a:cxn ang="0">
                  <a:pos x="848" y="1292"/>
                </a:cxn>
                <a:cxn ang="0">
                  <a:pos x="935" y="1253"/>
                </a:cxn>
                <a:cxn ang="0">
                  <a:pos x="1040" y="1175"/>
                </a:cxn>
                <a:cxn ang="0">
                  <a:pos x="1103" y="1101"/>
                </a:cxn>
                <a:cxn ang="0">
                  <a:pos x="1166" y="1011"/>
                </a:cxn>
                <a:cxn ang="0">
                  <a:pos x="1224" y="1016"/>
                </a:cxn>
                <a:cxn ang="0">
                  <a:pos x="1297" y="996"/>
                </a:cxn>
                <a:cxn ang="0">
                  <a:pos x="1385" y="987"/>
                </a:cxn>
                <a:cxn ang="0">
                  <a:pos x="1468" y="1019"/>
                </a:cxn>
                <a:cxn ang="0">
                  <a:pos x="1514" y="987"/>
                </a:cxn>
                <a:cxn ang="0">
                  <a:pos x="1602" y="909"/>
                </a:cxn>
                <a:cxn ang="0">
                  <a:pos x="1678" y="870"/>
                </a:cxn>
                <a:cxn ang="0">
                  <a:pos x="1699" y="804"/>
                </a:cxn>
                <a:cxn ang="0">
                  <a:pos x="1606" y="757"/>
                </a:cxn>
                <a:cxn ang="0">
                  <a:pos x="1582" y="660"/>
                </a:cxn>
                <a:cxn ang="0">
                  <a:pos x="1610" y="628"/>
                </a:cxn>
                <a:cxn ang="0">
                  <a:pos x="1623" y="554"/>
                </a:cxn>
                <a:cxn ang="0">
                  <a:pos x="1623" y="535"/>
                </a:cxn>
                <a:cxn ang="0">
                  <a:pos x="1645" y="394"/>
                </a:cxn>
                <a:cxn ang="0">
                  <a:pos x="1678" y="410"/>
                </a:cxn>
                <a:cxn ang="0">
                  <a:pos x="1689" y="226"/>
                </a:cxn>
                <a:cxn ang="0">
                  <a:pos x="1577" y="148"/>
                </a:cxn>
                <a:cxn ang="0">
                  <a:pos x="1493" y="98"/>
                </a:cxn>
                <a:cxn ang="0">
                  <a:pos x="1413" y="74"/>
                </a:cxn>
                <a:cxn ang="0">
                  <a:pos x="1396" y="0"/>
                </a:cxn>
                <a:cxn ang="0">
                  <a:pos x="1364" y="74"/>
                </a:cxn>
                <a:cxn ang="0">
                  <a:pos x="1322" y="269"/>
                </a:cxn>
                <a:cxn ang="0">
                  <a:pos x="1207" y="352"/>
                </a:cxn>
                <a:cxn ang="0">
                  <a:pos x="1133" y="492"/>
                </a:cxn>
                <a:cxn ang="0">
                  <a:pos x="1250" y="515"/>
                </a:cxn>
                <a:cxn ang="0">
                  <a:pos x="1417" y="566"/>
                </a:cxn>
                <a:cxn ang="0">
                  <a:pos x="1301" y="613"/>
                </a:cxn>
                <a:cxn ang="0">
                  <a:pos x="1204" y="672"/>
                </a:cxn>
                <a:cxn ang="0">
                  <a:pos x="1078" y="777"/>
                </a:cxn>
                <a:cxn ang="0">
                  <a:pos x="931" y="796"/>
                </a:cxn>
                <a:cxn ang="0">
                  <a:pos x="898" y="929"/>
                </a:cxn>
                <a:cxn ang="0">
                  <a:pos x="671" y="1019"/>
                </a:cxn>
                <a:cxn ang="0">
                  <a:pos x="473" y="1077"/>
                </a:cxn>
                <a:cxn ang="0">
                  <a:pos x="172" y="1011"/>
                </a:cxn>
                <a:cxn ang="0">
                  <a:pos x="9" y="1058"/>
                </a:cxn>
                <a:cxn ang="0">
                  <a:pos x="101" y="1160"/>
                </a:cxn>
                <a:cxn ang="0">
                  <a:pos x="193" y="1195"/>
                </a:cxn>
                <a:cxn ang="0">
                  <a:pos x="222" y="1273"/>
                </a:cxn>
                <a:cxn ang="0">
                  <a:pos x="319" y="1324"/>
                </a:cxn>
                <a:cxn ang="0">
                  <a:pos x="462" y="1312"/>
                </a:cxn>
                <a:cxn ang="0">
                  <a:pos x="415" y="1382"/>
                </a:cxn>
              </a:cxnLst>
              <a:rect l="0" t="0" r="r" b="b"/>
              <a:pathLst>
                <a:path w="1725" h="1442">
                  <a:moveTo>
                    <a:pt x="483" y="1437"/>
                  </a:moveTo>
                  <a:lnTo>
                    <a:pt x="508" y="1433"/>
                  </a:lnTo>
                  <a:lnTo>
                    <a:pt x="528" y="1426"/>
                  </a:lnTo>
                  <a:lnTo>
                    <a:pt x="562" y="1398"/>
                  </a:lnTo>
                  <a:lnTo>
                    <a:pt x="571" y="1359"/>
                  </a:lnTo>
                  <a:lnTo>
                    <a:pt x="588" y="1297"/>
                  </a:lnTo>
                  <a:lnTo>
                    <a:pt x="630" y="1273"/>
                  </a:lnTo>
                  <a:lnTo>
                    <a:pt x="638" y="1277"/>
                  </a:lnTo>
                  <a:lnTo>
                    <a:pt x="651" y="1319"/>
                  </a:lnTo>
                  <a:lnTo>
                    <a:pt x="630" y="1343"/>
                  </a:lnTo>
                  <a:lnTo>
                    <a:pt x="625" y="1370"/>
                  </a:lnTo>
                  <a:lnTo>
                    <a:pt x="687" y="1390"/>
                  </a:lnTo>
                  <a:lnTo>
                    <a:pt x="697" y="1410"/>
                  </a:lnTo>
                  <a:lnTo>
                    <a:pt x="734" y="1406"/>
                  </a:lnTo>
                  <a:lnTo>
                    <a:pt x="750" y="1410"/>
                  </a:lnTo>
                  <a:lnTo>
                    <a:pt x="758" y="1417"/>
                  </a:lnTo>
                  <a:lnTo>
                    <a:pt x="826" y="1328"/>
                  </a:lnTo>
                  <a:lnTo>
                    <a:pt x="843" y="1324"/>
                  </a:lnTo>
                  <a:lnTo>
                    <a:pt x="848" y="1312"/>
                  </a:lnTo>
                  <a:lnTo>
                    <a:pt x="848" y="1292"/>
                  </a:lnTo>
                  <a:lnTo>
                    <a:pt x="868" y="1265"/>
                  </a:lnTo>
                  <a:lnTo>
                    <a:pt x="911" y="1261"/>
                  </a:lnTo>
                  <a:lnTo>
                    <a:pt x="927" y="1246"/>
                  </a:lnTo>
                  <a:lnTo>
                    <a:pt x="935" y="1253"/>
                  </a:lnTo>
                  <a:lnTo>
                    <a:pt x="960" y="1234"/>
                  </a:lnTo>
                  <a:lnTo>
                    <a:pt x="974" y="1234"/>
                  </a:lnTo>
                  <a:lnTo>
                    <a:pt x="1018" y="1175"/>
                  </a:lnTo>
                  <a:lnTo>
                    <a:pt x="1040" y="1175"/>
                  </a:lnTo>
                  <a:lnTo>
                    <a:pt x="1070" y="1156"/>
                  </a:lnTo>
                  <a:lnTo>
                    <a:pt x="1078" y="1163"/>
                  </a:lnTo>
                  <a:lnTo>
                    <a:pt x="1128" y="1140"/>
                  </a:lnTo>
                  <a:lnTo>
                    <a:pt x="1103" y="1101"/>
                  </a:lnTo>
                  <a:lnTo>
                    <a:pt x="1112" y="1058"/>
                  </a:lnTo>
                  <a:lnTo>
                    <a:pt x="1133" y="1016"/>
                  </a:lnTo>
                  <a:lnTo>
                    <a:pt x="1153" y="1007"/>
                  </a:lnTo>
                  <a:lnTo>
                    <a:pt x="1166" y="1011"/>
                  </a:lnTo>
                  <a:lnTo>
                    <a:pt x="1166" y="1043"/>
                  </a:lnTo>
                  <a:lnTo>
                    <a:pt x="1179" y="1055"/>
                  </a:lnTo>
                  <a:lnTo>
                    <a:pt x="1212" y="1031"/>
                  </a:lnTo>
                  <a:lnTo>
                    <a:pt x="1224" y="1016"/>
                  </a:lnTo>
                  <a:lnTo>
                    <a:pt x="1238" y="1023"/>
                  </a:lnTo>
                  <a:lnTo>
                    <a:pt x="1254" y="1007"/>
                  </a:lnTo>
                  <a:lnTo>
                    <a:pt x="1287" y="1007"/>
                  </a:lnTo>
                  <a:lnTo>
                    <a:pt x="1297" y="996"/>
                  </a:lnTo>
                  <a:lnTo>
                    <a:pt x="1287" y="980"/>
                  </a:lnTo>
                  <a:lnTo>
                    <a:pt x="1313" y="957"/>
                  </a:lnTo>
                  <a:lnTo>
                    <a:pt x="1338" y="945"/>
                  </a:lnTo>
                  <a:lnTo>
                    <a:pt x="1385" y="987"/>
                  </a:lnTo>
                  <a:lnTo>
                    <a:pt x="1380" y="1007"/>
                  </a:lnTo>
                  <a:lnTo>
                    <a:pt x="1405" y="1038"/>
                  </a:lnTo>
                  <a:lnTo>
                    <a:pt x="1456" y="1043"/>
                  </a:lnTo>
                  <a:lnTo>
                    <a:pt x="1468" y="1019"/>
                  </a:lnTo>
                  <a:lnTo>
                    <a:pt x="1456" y="953"/>
                  </a:lnTo>
                  <a:lnTo>
                    <a:pt x="1468" y="941"/>
                  </a:lnTo>
                  <a:lnTo>
                    <a:pt x="1489" y="957"/>
                  </a:lnTo>
                  <a:lnTo>
                    <a:pt x="1514" y="987"/>
                  </a:lnTo>
                  <a:lnTo>
                    <a:pt x="1547" y="938"/>
                  </a:lnTo>
                  <a:lnTo>
                    <a:pt x="1564" y="933"/>
                  </a:lnTo>
                  <a:lnTo>
                    <a:pt x="1590" y="909"/>
                  </a:lnTo>
                  <a:lnTo>
                    <a:pt x="1602" y="909"/>
                  </a:lnTo>
                  <a:lnTo>
                    <a:pt x="1623" y="890"/>
                  </a:lnTo>
                  <a:lnTo>
                    <a:pt x="1636" y="890"/>
                  </a:lnTo>
                  <a:lnTo>
                    <a:pt x="1648" y="870"/>
                  </a:lnTo>
                  <a:lnTo>
                    <a:pt x="1678" y="870"/>
                  </a:lnTo>
                  <a:lnTo>
                    <a:pt x="1707" y="843"/>
                  </a:lnTo>
                  <a:lnTo>
                    <a:pt x="1724" y="831"/>
                  </a:lnTo>
                  <a:lnTo>
                    <a:pt x="1724" y="816"/>
                  </a:lnTo>
                  <a:lnTo>
                    <a:pt x="1699" y="804"/>
                  </a:lnTo>
                  <a:lnTo>
                    <a:pt x="1699" y="777"/>
                  </a:lnTo>
                  <a:lnTo>
                    <a:pt x="1657" y="726"/>
                  </a:lnTo>
                  <a:lnTo>
                    <a:pt x="1618" y="765"/>
                  </a:lnTo>
                  <a:lnTo>
                    <a:pt x="1606" y="757"/>
                  </a:lnTo>
                  <a:lnTo>
                    <a:pt x="1602" y="734"/>
                  </a:lnTo>
                  <a:lnTo>
                    <a:pt x="1585" y="714"/>
                  </a:lnTo>
                  <a:lnTo>
                    <a:pt x="1582" y="687"/>
                  </a:lnTo>
                  <a:lnTo>
                    <a:pt x="1582" y="660"/>
                  </a:lnTo>
                  <a:lnTo>
                    <a:pt x="1555" y="640"/>
                  </a:lnTo>
                  <a:lnTo>
                    <a:pt x="1552" y="633"/>
                  </a:lnTo>
                  <a:lnTo>
                    <a:pt x="1561" y="616"/>
                  </a:lnTo>
                  <a:lnTo>
                    <a:pt x="1610" y="628"/>
                  </a:lnTo>
                  <a:lnTo>
                    <a:pt x="1615" y="605"/>
                  </a:lnTo>
                  <a:lnTo>
                    <a:pt x="1632" y="586"/>
                  </a:lnTo>
                  <a:lnTo>
                    <a:pt x="1618" y="574"/>
                  </a:lnTo>
                  <a:lnTo>
                    <a:pt x="1623" y="554"/>
                  </a:lnTo>
                  <a:lnTo>
                    <a:pt x="1648" y="543"/>
                  </a:lnTo>
                  <a:lnTo>
                    <a:pt x="1653" y="535"/>
                  </a:lnTo>
                  <a:lnTo>
                    <a:pt x="1648" y="527"/>
                  </a:lnTo>
                  <a:lnTo>
                    <a:pt x="1623" y="535"/>
                  </a:lnTo>
                  <a:lnTo>
                    <a:pt x="1574" y="503"/>
                  </a:lnTo>
                  <a:lnTo>
                    <a:pt x="1569" y="492"/>
                  </a:lnTo>
                  <a:lnTo>
                    <a:pt x="1594" y="464"/>
                  </a:lnTo>
                  <a:lnTo>
                    <a:pt x="1645" y="394"/>
                  </a:lnTo>
                  <a:lnTo>
                    <a:pt x="1648" y="386"/>
                  </a:lnTo>
                  <a:lnTo>
                    <a:pt x="1657" y="386"/>
                  </a:lnTo>
                  <a:lnTo>
                    <a:pt x="1673" y="406"/>
                  </a:lnTo>
                  <a:lnTo>
                    <a:pt x="1678" y="410"/>
                  </a:lnTo>
                  <a:lnTo>
                    <a:pt x="1678" y="320"/>
                  </a:lnTo>
                  <a:lnTo>
                    <a:pt x="1695" y="313"/>
                  </a:lnTo>
                  <a:lnTo>
                    <a:pt x="1695" y="281"/>
                  </a:lnTo>
                  <a:lnTo>
                    <a:pt x="1689" y="226"/>
                  </a:lnTo>
                  <a:lnTo>
                    <a:pt x="1711" y="148"/>
                  </a:lnTo>
                  <a:lnTo>
                    <a:pt x="1648" y="109"/>
                  </a:lnTo>
                  <a:lnTo>
                    <a:pt x="1602" y="144"/>
                  </a:lnTo>
                  <a:lnTo>
                    <a:pt x="1577" y="148"/>
                  </a:lnTo>
                  <a:lnTo>
                    <a:pt x="1569" y="160"/>
                  </a:lnTo>
                  <a:lnTo>
                    <a:pt x="1527" y="152"/>
                  </a:lnTo>
                  <a:lnTo>
                    <a:pt x="1506" y="132"/>
                  </a:lnTo>
                  <a:lnTo>
                    <a:pt x="1493" y="98"/>
                  </a:lnTo>
                  <a:lnTo>
                    <a:pt x="1498" y="86"/>
                  </a:lnTo>
                  <a:lnTo>
                    <a:pt x="1464" y="66"/>
                  </a:lnTo>
                  <a:lnTo>
                    <a:pt x="1448" y="93"/>
                  </a:lnTo>
                  <a:lnTo>
                    <a:pt x="1413" y="74"/>
                  </a:lnTo>
                  <a:lnTo>
                    <a:pt x="1405" y="69"/>
                  </a:lnTo>
                  <a:lnTo>
                    <a:pt x="1427" y="20"/>
                  </a:lnTo>
                  <a:lnTo>
                    <a:pt x="1409" y="0"/>
                  </a:lnTo>
                  <a:lnTo>
                    <a:pt x="1396" y="0"/>
                  </a:lnTo>
                  <a:lnTo>
                    <a:pt x="1359" y="23"/>
                  </a:lnTo>
                  <a:lnTo>
                    <a:pt x="1330" y="66"/>
                  </a:lnTo>
                  <a:lnTo>
                    <a:pt x="1342" y="69"/>
                  </a:lnTo>
                  <a:lnTo>
                    <a:pt x="1364" y="74"/>
                  </a:lnTo>
                  <a:lnTo>
                    <a:pt x="1380" y="117"/>
                  </a:lnTo>
                  <a:lnTo>
                    <a:pt x="1372" y="132"/>
                  </a:lnTo>
                  <a:lnTo>
                    <a:pt x="1354" y="160"/>
                  </a:lnTo>
                  <a:lnTo>
                    <a:pt x="1322" y="269"/>
                  </a:lnTo>
                  <a:lnTo>
                    <a:pt x="1333" y="289"/>
                  </a:lnTo>
                  <a:lnTo>
                    <a:pt x="1325" y="304"/>
                  </a:lnTo>
                  <a:lnTo>
                    <a:pt x="1250" y="355"/>
                  </a:lnTo>
                  <a:lnTo>
                    <a:pt x="1207" y="352"/>
                  </a:lnTo>
                  <a:lnTo>
                    <a:pt x="1187" y="343"/>
                  </a:lnTo>
                  <a:lnTo>
                    <a:pt x="1183" y="352"/>
                  </a:lnTo>
                  <a:lnTo>
                    <a:pt x="1149" y="476"/>
                  </a:lnTo>
                  <a:lnTo>
                    <a:pt x="1133" y="492"/>
                  </a:lnTo>
                  <a:lnTo>
                    <a:pt x="1141" y="511"/>
                  </a:lnTo>
                  <a:lnTo>
                    <a:pt x="1163" y="527"/>
                  </a:lnTo>
                  <a:lnTo>
                    <a:pt x="1196" y="511"/>
                  </a:lnTo>
                  <a:lnTo>
                    <a:pt x="1250" y="515"/>
                  </a:lnTo>
                  <a:lnTo>
                    <a:pt x="1267" y="492"/>
                  </a:lnTo>
                  <a:lnTo>
                    <a:pt x="1297" y="484"/>
                  </a:lnTo>
                  <a:lnTo>
                    <a:pt x="1350" y="503"/>
                  </a:lnTo>
                  <a:lnTo>
                    <a:pt x="1417" y="566"/>
                  </a:lnTo>
                  <a:lnTo>
                    <a:pt x="1417" y="582"/>
                  </a:lnTo>
                  <a:lnTo>
                    <a:pt x="1401" y="589"/>
                  </a:lnTo>
                  <a:lnTo>
                    <a:pt x="1325" y="594"/>
                  </a:lnTo>
                  <a:lnTo>
                    <a:pt x="1301" y="613"/>
                  </a:lnTo>
                  <a:lnTo>
                    <a:pt x="1279" y="609"/>
                  </a:lnTo>
                  <a:lnTo>
                    <a:pt x="1267" y="633"/>
                  </a:lnTo>
                  <a:lnTo>
                    <a:pt x="1229" y="636"/>
                  </a:lnTo>
                  <a:lnTo>
                    <a:pt x="1204" y="672"/>
                  </a:lnTo>
                  <a:lnTo>
                    <a:pt x="1199" y="694"/>
                  </a:lnTo>
                  <a:lnTo>
                    <a:pt x="1149" y="726"/>
                  </a:lnTo>
                  <a:lnTo>
                    <a:pt x="1116" y="730"/>
                  </a:lnTo>
                  <a:lnTo>
                    <a:pt x="1078" y="777"/>
                  </a:lnTo>
                  <a:lnTo>
                    <a:pt x="1045" y="796"/>
                  </a:lnTo>
                  <a:lnTo>
                    <a:pt x="977" y="781"/>
                  </a:lnTo>
                  <a:lnTo>
                    <a:pt x="955" y="773"/>
                  </a:lnTo>
                  <a:lnTo>
                    <a:pt x="931" y="796"/>
                  </a:lnTo>
                  <a:lnTo>
                    <a:pt x="919" y="840"/>
                  </a:lnTo>
                  <a:lnTo>
                    <a:pt x="955" y="890"/>
                  </a:lnTo>
                  <a:lnTo>
                    <a:pt x="931" y="914"/>
                  </a:lnTo>
                  <a:lnTo>
                    <a:pt x="898" y="929"/>
                  </a:lnTo>
                  <a:lnTo>
                    <a:pt x="851" y="987"/>
                  </a:lnTo>
                  <a:lnTo>
                    <a:pt x="788" y="1011"/>
                  </a:lnTo>
                  <a:lnTo>
                    <a:pt x="683" y="1023"/>
                  </a:lnTo>
                  <a:lnTo>
                    <a:pt x="671" y="1019"/>
                  </a:lnTo>
                  <a:lnTo>
                    <a:pt x="549" y="1066"/>
                  </a:lnTo>
                  <a:lnTo>
                    <a:pt x="494" y="1101"/>
                  </a:lnTo>
                  <a:lnTo>
                    <a:pt x="478" y="1094"/>
                  </a:lnTo>
                  <a:lnTo>
                    <a:pt x="473" y="1077"/>
                  </a:lnTo>
                  <a:lnTo>
                    <a:pt x="402" y="1074"/>
                  </a:lnTo>
                  <a:lnTo>
                    <a:pt x="319" y="1050"/>
                  </a:lnTo>
                  <a:lnTo>
                    <a:pt x="293" y="1023"/>
                  </a:lnTo>
                  <a:lnTo>
                    <a:pt x="172" y="1011"/>
                  </a:lnTo>
                  <a:lnTo>
                    <a:pt x="151" y="1019"/>
                  </a:lnTo>
                  <a:lnTo>
                    <a:pt x="0" y="1007"/>
                  </a:lnTo>
                  <a:lnTo>
                    <a:pt x="0" y="1026"/>
                  </a:lnTo>
                  <a:lnTo>
                    <a:pt x="9" y="1058"/>
                  </a:lnTo>
                  <a:lnTo>
                    <a:pt x="4" y="1113"/>
                  </a:lnTo>
                  <a:lnTo>
                    <a:pt x="46" y="1172"/>
                  </a:lnTo>
                  <a:lnTo>
                    <a:pt x="67" y="1183"/>
                  </a:lnTo>
                  <a:lnTo>
                    <a:pt x="101" y="1160"/>
                  </a:lnTo>
                  <a:lnTo>
                    <a:pt x="172" y="1160"/>
                  </a:lnTo>
                  <a:lnTo>
                    <a:pt x="193" y="1163"/>
                  </a:lnTo>
                  <a:lnTo>
                    <a:pt x="201" y="1179"/>
                  </a:lnTo>
                  <a:lnTo>
                    <a:pt x="193" y="1195"/>
                  </a:lnTo>
                  <a:lnTo>
                    <a:pt x="155" y="1226"/>
                  </a:lnTo>
                  <a:lnTo>
                    <a:pt x="159" y="1241"/>
                  </a:lnTo>
                  <a:lnTo>
                    <a:pt x="206" y="1273"/>
                  </a:lnTo>
                  <a:lnTo>
                    <a:pt x="222" y="1273"/>
                  </a:lnTo>
                  <a:lnTo>
                    <a:pt x="226" y="1280"/>
                  </a:lnTo>
                  <a:lnTo>
                    <a:pt x="222" y="1292"/>
                  </a:lnTo>
                  <a:lnTo>
                    <a:pt x="251" y="1316"/>
                  </a:lnTo>
                  <a:lnTo>
                    <a:pt x="319" y="1324"/>
                  </a:lnTo>
                  <a:lnTo>
                    <a:pt x="352" y="1316"/>
                  </a:lnTo>
                  <a:lnTo>
                    <a:pt x="390" y="1280"/>
                  </a:lnTo>
                  <a:lnTo>
                    <a:pt x="441" y="1285"/>
                  </a:lnTo>
                  <a:lnTo>
                    <a:pt x="462" y="1312"/>
                  </a:lnTo>
                  <a:lnTo>
                    <a:pt x="449" y="1336"/>
                  </a:lnTo>
                  <a:lnTo>
                    <a:pt x="453" y="1351"/>
                  </a:lnTo>
                  <a:lnTo>
                    <a:pt x="423" y="1367"/>
                  </a:lnTo>
                  <a:lnTo>
                    <a:pt x="415" y="1382"/>
                  </a:lnTo>
                  <a:lnTo>
                    <a:pt x="420" y="1414"/>
                  </a:lnTo>
                  <a:lnTo>
                    <a:pt x="465" y="1441"/>
                  </a:lnTo>
                  <a:lnTo>
                    <a:pt x="483" y="1437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5" name="Freeform 46"/>
            <p:cNvSpPr>
              <a:spLocks/>
            </p:cNvSpPr>
            <p:nvPr/>
          </p:nvSpPr>
          <p:spPr bwMode="auto">
            <a:xfrm>
              <a:off x="7855190" y="3942149"/>
              <a:ext cx="167143" cy="479262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36" y="55"/>
                </a:cxn>
                <a:cxn ang="0">
                  <a:pos x="21" y="78"/>
                </a:cxn>
                <a:cxn ang="0">
                  <a:pos x="6" y="101"/>
                </a:cxn>
                <a:cxn ang="0">
                  <a:pos x="6" y="125"/>
                </a:cxn>
                <a:cxn ang="0">
                  <a:pos x="0" y="148"/>
                </a:cxn>
                <a:cxn ang="0">
                  <a:pos x="0" y="179"/>
                </a:cxn>
                <a:cxn ang="0">
                  <a:pos x="0" y="211"/>
                </a:cxn>
                <a:cxn ang="0">
                  <a:pos x="0" y="234"/>
                </a:cxn>
                <a:cxn ang="0">
                  <a:pos x="0" y="257"/>
                </a:cxn>
                <a:cxn ang="0">
                  <a:pos x="21" y="281"/>
                </a:cxn>
                <a:cxn ang="0">
                  <a:pos x="36" y="304"/>
                </a:cxn>
                <a:cxn ang="0">
                  <a:pos x="59" y="312"/>
                </a:cxn>
                <a:cxn ang="0">
                  <a:pos x="66" y="289"/>
                </a:cxn>
                <a:cxn ang="0">
                  <a:pos x="66" y="265"/>
                </a:cxn>
                <a:cxn ang="0">
                  <a:pos x="81" y="242"/>
                </a:cxn>
                <a:cxn ang="0">
                  <a:pos x="96" y="218"/>
                </a:cxn>
                <a:cxn ang="0">
                  <a:pos x="111" y="195"/>
                </a:cxn>
                <a:cxn ang="0">
                  <a:pos x="111" y="172"/>
                </a:cxn>
                <a:cxn ang="0">
                  <a:pos x="111" y="148"/>
                </a:cxn>
                <a:cxn ang="0">
                  <a:pos x="111" y="125"/>
                </a:cxn>
                <a:cxn ang="0">
                  <a:pos x="111" y="101"/>
                </a:cxn>
                <a:cxn ang="0">
                  <a:pos x="111" y="78"/>
                </a:cxn>
                <a:cxn ang="0">
                  <a:pos x="111" y="55"/>
                </a:cxn>
                <a:cxn ang="0">
                  <a:pos x="89" y="39"/>
                </a:cxn>
                <a:cxn ang="0">
                  <a:pos x="81" y="8"/>
                </a:cxn>
                <a:cxn ang="0">
                  <a:pos x="59" y="0"/>
                </a:cxn>
              </a:cxnLst>
              <a:rect l="0" t="0" r="r" b="b"/>
              <a:pathLst>
                <a:path w="112" h="313">
                  <a:moveTo>
                    <a:pt x="59" y="0"/>
                  </a:moveTo>
                  <a:lnTo>
                    <a:pt x="36" y="55"/>
                  </a:lnTo>
                  <a:lnTo>
                    <a:pt x="21" y="78"/>
                  </a:lnTo>
                  <a:lnTo>
                    <a:pt x="6" y="101"/>
                  </a:lnTo>
                  <a:lnTo>
                    <a:pt x="6" y="125"/>
                  </a:lnTo>
                  <a:lnTo>
                    <a:pt x="0" y="148"/>
                  </a:lnTo>
                  <a:lnTo>
                    <a:pt x="0" y="179"/>
                  </a:lnTo>
                  <a:lnTo>
                    <a:pt x="0" y="211"/>
                  </a:lnTo>
                  <a:lnTo>
                    <a:pt x="0" y="234"/>
                  </a:lnTo>
                  <a:lnTo>
                    <a:pt x="0" y="257"/>
                  </a:lnTo>
                  <a:lnTo>
                    <a:pt x="21" y="281"/>
                  </a:lnTo>
                  <a:lnTo>
                    <a:pt x="36" y="304"/>
                  </a:lnTo>
                  <a:lnTo>
                    <a:pt x="59" y="312"/>
                  </a:lnTo>
                  <a:lnTo>
                    <a:pt x="66" y="289"/>
                  </a:lnTo>
                  <a:lnTo>
                    <a:pt x="66" y="265"/>
                  </a:lnTo>
                  <a:lnTo>
                    <a:pt x="81" y="242"/>
                  </a:lnTo>
                  <a:lnTo>
                    <a:pt x="96" y="218"/>
                  </a:lnTo>
                  <a:lnTo>
                    <a:pt x="111" y="195"/>
                  </a:lnTo>
                  <a:lnTo>
                    <a:pt x="111" y="172"/>
                  </a:lnTo>
                  <a:lnTo>
                    <a:pt x="111" y="148"/>
                  </a:lnTo>
                  <a:lnTo>
                    <a:pt x="111" y="125"/>
                  </a:lnTo>
                  <a:lnTo>
                    <a:pt x="111" y="101"/>
                  </a:lnTo>
                  <a:lnTo>
                    <a:pt x="111" y="78"/>
                  </a:lnTo>
                  <a:lnTo>
                    <a:pt x="111" y="55"/>
                  </a:lnTo>
                  <a:lnTo>
                    <a:pt x="89" y="39"/>
                  </a:lnTo>
                  <a:lnTo>
                    <a:pt x="81" y="8"/>
                  </a:lnTo>
                  <a:lnTo>
                    <a:pt x="59" y="0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cxnSp>
          <p:nvCxnSpPr>
            <p:cNvPr id="36" name="AutoShape 48"/>
            <p:cNvCxnSpPr>
              <a:cxnSpLocks noChangeShapeType="1"/>
            </p:cNvCxnSpPr>
            <p:nvPr/>
          </p:nvCxnSpPr>
          <p:spPr bwMode="auto">
            <a:xfrm>
              <a:off x="7968723" y="4416679"/>
              <a:ext cx="0" cy="0"/>
            </a:xfrm>
            <a:prstGeom prst="straightConnector1">
              <a:avLst/>
            </a:prstGeom>
            <a:grpFill/>
            <a:ln w="9525">
              <a:solidFill>
                <a:sysClr val="window" lastClr="FFFFFF"/>
              </a:solidFill>
              <a:round/>
              <a:headEnd/>
              <a:tailEnd/>
            </a:ln>
            <a:effectLst/>
          </p:spPr>
        </p:cxnSp>
        <p:sp>
          <p:nvSpPr>
            <p:cNvPr id="37" name="Freeform 50"/>
            <p:cNvSpPr>
              <a:spLocks/>
            </p:cNvSpPr>
            <p:nvPr/>
          </p:nvSpPr>
          <p:spPr bwMode="auto">
            <a:xfrm>
              <a:off x="7211837" y="2047179"/>
              <a:ext cx="178183" cy="201793"/>
            </a:xfrm>
            <a:custGeom>
              <a:avLst/>
              <a:gdLst/>
              <a:ahLst/>
              <a:cxnLst>
                <a:cxn ang="0">
                  <a:pos x="88" y="100"/>
                </a:cxn>
                <a:cxn ang="0">
                  <a:pos x="77" y="116"/>
                </a:cxn>
                <a:cxn ang="0">
                  <a:pos x="56" y="128"/>
                </a:cxn>
                <a:cxn ang="0">
                  <a:pos x="16" y="116"/>
                </a:cxn>
                <a:cxn ang="0">
                  <a:pos x="16" y="109"/>
                </a:cxn>
                <a:cxn ang="0">
                  <a:pos x="16" y="48"/>
                </a:cxn>
                <a:cxn ang="0">
                  <a:pos x="0" y="14"/>
                </a:cxn>
                <a:cxn ang="0">
                  <a:pos x="38" y="0"/>
                </a:cxn>
                <a:cxn ang="0">
                  <a:pos x="56" y="2"/>
                </a:cxn>
                <a:cxn ang="0">
                  <a:pos x="65" y="21"/>
                </a:cxn>
                <a:cxn ang="0">
                  <a:pos x="60" y="32"/>
                </a:cxn>
                <a:cxn ang="0">
                  <a:pos x="89" y="52"/>
                </a:cxn>
                <a:cxn ang="0">
                  <a:pos x="94" y="66"/>
                </a:cxn>
                <a:cxn ang="0">
                  <a:pos x="113" y="74"/>
                </a:cxn>
                <a:cxn ang="0">
                  <a:pos x="88" y="100"/>
                </a:cxn>
              </a:cxnLst>
              <a:rect l="0" t="0" r="r" b="b"/>
              <a:pathLst>
                <a:path w="113" h="128">
                  <a:moveTo>
                    <a:pt x="88" y="100"/>
                  </a:moveTo>
                  <a:lnTo>
                    <a:pt x="77" y="116"/>
                  </a:lnTo>
                  <a:lnTo>
                    <a:pt x="56" y="128"/>
                  </a:lnTo>
                  <a:lnTo>
                    <a:pt x="16" y="116"/>
                  </a:lnTo>
                  <a:lnTo>
                    <a:pt x="16" y="109"/>
                  </a:lnTo>
                  <a:lnTo>
                    <a:pt x="16" y="48"/>
                  </a:lnTo>
                  <a:lnTo>
                    <a:pt x="0" y="14"/>
                  </a:lnTo>
                  <a:lnTo>
                    <a:pt x="38" y="0"/>
                  </a:lnTo>
                  <a:lnTo>
                    <a:pt x="56" y="2"/>
                  </a:lnTo>
                  <a:lnTo>
                    <a:pt x="65" y="21"/>
                  </a:lnTo>
                  <a:lnTo>
                    <a:pt x="60" y="32"/>
                  </a:lnTo>
                  <a:lnTo>
                    <a:pt x="89" y="52"/>
                  </a:lnTo>
                  <a:lnTo>
                    <a:pt x="94" y="66"/>
                  </a:lnTo>
                  <a:lnTo>
                    <a:pt x="113" y="74"/>
                  </a:lnTo>
                  <a:lnTo>
                    <a:pt x="88" y="100"/>
                  </a:lnTo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8" name="任意多边形 37"/>
            <p:cNvSpPr/>
            <p:nvPr/>
          </p:nvSpPr>
          <p:spPr>
            <a:xfrm>
              <a:off x="7069932" y="1947753"/>
              <a:ext cx="214312" cy="219296"/>
            </a:xfrm>
            <a:custGeom>
              <a:avLst/>
              <a:gdLst>
                <a:gd name="connsiteX0" fmla="*/ 11906 w 204787"/>
                <a:gd name="connsiteY0" fmla="*/ 209550 h 209550"/>
                <a:gd name="connsiteX1" fmla="*/ 64294 w 204787"/>
                <a:gd name="connsiteY1" fmla="*/ 192881 h 209550"/>
                <a:gd name="connsiteX2" fmla="*/ 107156 w 204787"/>
                <a:gd name="connsiteY2" fmla="*/ 200025 h 209550"/>
                <a:gd name="connsiteX3" fmla="*/ 159544 w 204787"/>
                <a:gd name="connsiteY3" fmla="*/ 173831 h 209550"/>
                <a:gd name="connsiteX4" fmla="*/ 133350 w 204787"/>
                <a:gd name="connsiteY4" fmla="*/ 119062 h 209550"/>
                <a:gd name="connsiteX5" fmla="*/ 204787 w 204787"/>
                <a:gd name="connsiteY5" fmla="*/ 85725 h 209550"/>
                <a:gd name="connsiteX6" fmla="*/ 188119 w 204787"/>
                <a:gd name="connsiteY6" fmla="*/ 33337 h 209550"/>
                <a:gd name="connsiteX7" fmla="*/ 164306 w 204787"/>
                <a:gd name="connsiteY7" fmla="*/ 33337 h 209550"/>
                <a:gd name="connsiteX8" fmla="*/ 95250 w 204787"/>
                <a:gd name="connsiteY8" fmla="*/ 0 h 209550"/>
                <a:gd name="connsiteX9" fmla="*/ 57150 w 204787"/>
                <a:gd name="connsiteY9" fmla="*/ 38100 h 209550"/>
                <a:gd name="connsiteX10" fmla="*/ 42862 w 204787"/>
                <a:gd name="connsiteY10" fmla="*/ 95250 h 209550"/>
                <a:gd name="connsiteX11" fmla="*/ 0 w 204787"/>
                <a:gd name="connsiteY11" fmla="*/ 138112 h 209550"/>
                <a:gd name="connsiteX12" fmla="*/ 11906 w 204787"/>
                <a:gd name="connsiteY12" fmla="*/ 20955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4787" h="209550">
                  <a:moveTo>
                    <a:pt x="11906" y="209550"/>
                  </a:moveTo>
                  <a:lnTo>
                    <a:pt x="64294" y="192881"/>
                  </a:lnTo>
                  <a:lnTo>
                    <a:pt x="107156" y="200025"/>
                  </a:lnTo>
                  <a:lnTo>
                    <a:pt x="159544" y="173831"/>
                  </a:lnTo>
                  <a:lnTo>
                    <a:pt x="133350" y="119062"/>
                  </a:lnTo>
                  <a:lnTo>
                    <a:pt x="204787" y="85725"/>
                  </a:lnTo>
                  <a:lnTo>
                    <a:pt x="188119" y="33337"/>
                  </a:lnTo>
                  <a:lnTo>
                    <a:pt x="164306" y="33337"/>
                  </a:lnTo>
                  <a:lnTo>
                    <a:pt x="95250" y="0"/>
                  </a:lnTo>
                  <a:lnTo>
                    <a:pt x="57150" y="38100"/>
                  </a:lnTo>
                  <a:lnTo>
                    <a:pt x="42862" y="95250"/>
                  </a:lnTo>
                  <a:lnTo>
                    <a:pt x="0" y="138112"/>
                  </a:lnTo>
                  <a:lnTo>
                    <a:pt x="11906" y="209550"/>
                  </a:lnTo>
                  <a:close/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  <p:sp>
          <p:nvSpPr>
            <p:cNvPr id="39" name="任意多边形 38"/>
            <p:cNvSpPr/>
            <p:nvPr/>
          </p:nvSpPr>
          <p:spPr>
            <a:xfrm>
              <a:off x="7765256" y="3114675"/>
              <a:ext cx="128588" cy="102394"/>
            </a:xfrm>
            <a:custGeom>
              <a:avLst/>
              <a:gdLst>
                <a:gd name="connsiteX0" fmla="*/ 92869 w 128588"/>
                <a:gd name="connsiteY0" fmla="*/ 0 h 102394"/>
                <a:gd name="connsiteX1" fmla="*/ 35719 w 128588"/>
                <a:gd name="connsiteY1" fmla="*/ 2381 h 102394"/>
                <a:gd name="connsiteX2" fmla="*/ 0 w 128588"/>
                <a:gd name="connsiteY2" fmla="*/ 33338 h 102394"/>
                <a:gd name="connsiteX3" fmla="*/ 23813 w 128588"/>
                <a:gd name="connsiteY3" fmla="*/ 92869 h 102394"/>
                <a:gd name="connsiteX4" fmla="*/ 45244 w 128588"/>
                <a:gd name="connsiteY4" fmla="*/ 102394 h 102394"/>
                <a:gd name="connsiteX5" fmla="*/ 92869 w 128588"/>
                <a:gd name="connsiteY5" fmla="*/ 83344 h 102394"/>
                <a:gd name="connsiteX6" fmla="*/ 128588 w 128588"/>
                <a:gd name="connsiteY6" fmla="*/ 42863 h 102394"/>
                <a:gd name="connsiteX7" fmla="*/ 92869 w 128588"/>
                <a:gd name="connsiteY7" fmla="*/ 0 h 10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8588" h="102394">
                  <a:moveTo>
                    <a:pt x="92869" y="0"/>
                  </a:moveTo>
                  <a:lnTo>
                    <a:pt x="35719" y="2381"/>
                  </a:lnTo>
                  <a:lnTo>
                    <a:pt x="0" y="33338"/>
                  </a:lnTo>
                  <a:lnTo>
                    <a:pt x="23813" y="92869"/>
                  </a:lnTo>
                  <a:lnTo>
                    <a:pt x="45244" y="102394"/>
                  </a:lnTo>
                  <a:lnTo>
                    <a:pt x="92869" y="83344"/>
                  </a:lnTo>
                  <a:lnTo>
                    <a:pt x="128588" y="42863"/>
                  </a:lnTo>
                  <a:lnTo>
                    <a:pt x="92869" y="0"/>
                  </a:lnTo>
                  <a:close/>
                </a:path>
              </a:pathLst>
            </a:custGeom>
            <a:grpFill/>
            <a:ln w="12700" cap="rnd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kern="0">
                <a:solidFill>
                  <a:prstClr val="black"/>
                </a:solidFill>
                <a:latin typeface="Arial" pitchFamily="34" charset="0"/>
                <a:ea typeface="方正姚体" pitchFamily="2" charset="-122"/>
              </a:endParaRPr>
            </a:p>
          </p:txBody>
        </p:sp>
      </p:grpSp>
      <p:sp>
        <p:nvSpPr>
          <p:cNvPr id="18441" name="椭圆 18440"/>
          <p:cNvSpPr/>
          <p:nvPr/>
        </p:nvSpPr>
        <p:spPr>
          <a:xfrm>
            <a:off x="4353289" y="1582738"/>
            <a:ext cx="1554163" cy="1555750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40" name="椭圆 139"/>
          <p:cNvSpPr/>
          <p:nvPr/>
        </p:nvSpPr>
        <p:spPr>
          <a:xfrm>
            <a:off x="4678306" y="3146425"/>
            <a:ext cx="1266825" cy="1265238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41" name="椭圆 140"/>
          <p:cNvSpPr/>
          <p:nvPr/>
        </p:nvSpPr>
        <p:spPr>
          <a:xfrm>
            <a:off x="2954281" y="2890838"/>
            <a:ext cx="1719262" cy="1720850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42" name="椭圆 141"/>
          <p:cNvSpPr/>
          <p:nvPr/>
        </p:nvSpPr>
        <p:spPr>
          <a:xfrm>
            <a:off x="3963236" y="4009801"/>
            <a:ext cx="1369070" cy="1223963"/>
          </a:xfrm>
          <a:prstGeom prst="ellipse">
            <a:avLst/>
          </a:prstGeom>
          <a:solidFill>
            <a:schemeClr val="tx2">
              <a:lumMod val="50000"/>
              <a:alpha val="20000"/>
            </a:schemeClr>
          </a:solidFill>
          <a:ln w="31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 Trade and Distribution of Denkei R&amp;D</a:t>
            </a:r>
          </a:p>
        </p:txBody>
      </p:sp>
      <p:grpSp>
        <p:nvGrpSpPr>
          <p:cNvPr id="55" name="组合 54"/>
          <p:cNvGrpSpPr/>
          <p:nvPr/>
        </p:nvGrpSpPr>
        <p:grpSpPr>
          <a:xfrm>
            <a:off x="5684414" y="1314922"/>
            <a:ext cx="2887334" cy="2535504"/>
            <a:chOff x="1536143" y="60718"/>
            <a:chExt cx="5947273" cy="5222581"/>
          </a:xfrm>
          <a:solidFill>
            <a:srgbClr val="00B0F0"/>
          </a:solidFill>
        </p:grpSpPr>
        <p:sp>
          <p:nvSpPr>
            <p:cNvPr id="2" name="任意多边形 1"/>
            <p:cNvSpPr/>
            <p:nvPr/>
          </p:nvSpPr>
          <p:spPr>
            <a:xfrm>
              <a:off x="5873689" y="60718"/>
              <a:ext cx="1609727" cy="1331102"/>
            </a:xfrm>
            <a:custGeom>
              <a:avLst/>
              <a:gdLst>
                <a:gd name="connsiteX0" fmla="*/ 717611 w 1609727"/>
                <a:gd name="connsiteY0" fmla="*/ 9132 h 1331102"/>
                <a:gd name="connsiteX1" fmla="*/ 635061 w 1609727"/>
                <a:gd name="connsiteY1" fmla="*/ 85332 h 1331102"/>
                <a:gd name="connsiteX2" fmla="*/ 660461 w 1609727"/>
                <a:gd name="connsiteY2" fmla="*/ 199632 h 1331102"/>
                <a:gd name="connsiteX3" fmla="*/ 666811 w 1609727"/>
                <a:gd name="connsiteY3" fmla="*/ 294882 h 1331102"/>
                <a:gd name="connsiteX4" fmla="*/ 628711 w 1609727"/>
                <a:gd name="connsiteY4" fmla="*/ 364732 h 1331102"/>
                <a:gd name="connsiteX5" fmla="*/ 596961 w 1609727"/>
                <a:gd name="connsiteY5" fmla="*/ 428232 h 1331102"/>
                <a:gd name="connsiteX6" fmla="*/ 584261 w 1609727"/>
                <a:gd name="connsiteY6" fmla="*/ 491732 h 1331102"/>
                <a:gd name="connsiteX7" fmla="*/ 565211 w 1609727"/>
                <a:gd name="connsiteY7" fmla="*/ 567932 h 1331102"/>
                <a:gd name="connsiteX8" fmla="*/ 558861 w 1609727"/>
                <a:gd name="connsiteY8" fmla="*/ 580632 h 1331102"/>
                <a:gd name="connsiteX9" fmla="*/ 489011 w 1609727"/>
                <a:gd name="connsiteY9" fmla="*/ 618732 h 1331102"/>
                <a:gd name="connsiteX10" fmla="*/ 482661 w 1609727"/>
                <a:gd name="connsiteY10" fmla="*/ 701282 h 1331102"/>
                <a:gd name="connsiteX11" fmla="*/ 476311 w 1609727"/>
                <a:gd name="connsiteY11" fmla="*/ 745732 h 1331102"/>
                <a:gd name="connsiteX12" fmla="*/ 450911 w 1609727"/>
                <a:gd name="connsiteY12" fmla="*/ 783832 h 1331102"/>
                <a:gd name="connsiteX13" fmla="*/ 368361 w 1609727"/>
                <a:gd name="connsiteY13" fmla="*/ 739382 h 1331102"/>
                <a:gd name="connsiteX14" fmla="*/ 336611 w 1609727"/>
                <a:gd name="connsiteY14" fmla="*/ 758432 h 1331102"/>
                <a:gd name="connsiteX15" fmla="*/ 292161 w 1609727"/>
                <a:gd name="connsiteY15" fmla="*/ 726682 h 1331102"/>
                <a:gd name="connsiteX16" fmla="*/ 254061 w 1609727"/>
                <a:gd name="connsiteY16" fmla="*/ 701282 h 1331102"/>
                <a:gd name="connsiteX17" fmla="*/ 254061 w 1609727"/>
                <a:gd name="connsiteY17" fmla="*/ 682232 h 1331102"/>
                <a:gd name="connsiteX18" fmla="*/ 203261 w 1609727"/>
                <a:gd name="connsiteY18" fmla="*/ 713982 h 1331102"/>
                <a:gd name="connsiteX19" fmla="*/ 203261 w 1609727"/>
                <a:gd name="connsiteY19" fmla="*/ 758432 h 1331102"/>
                <a:gd name="connsiteX20" fmla="*/ 235011 w 1609727"/>
                <a:gd name="connsiteY20" fmla="*/ 783832 h 1331102"/>
                <a:gd name="connsiteX21" fmla="*/ 235011 w 1609727"/>
                <a:gd name="connsiteY21" fmla="*/ 821932 h 1331102"/>
                <a:gd name="connsiteX22" fmla="*/ 196911 w 1609727"/>
                <a:gd name="connsiteY22" fmla="*/ 828282 h 1331102"/>
                <a:gd name="connsiteX23" fmla="*/ 184211 w 1609727"/>
                <a:gd name="connsiteY23" fmla="*/ 872732 h 1331102"/>
                <a:gd name="connsiteX24" fmla="*/ 146111 w 1609727"/>
                <a:gd name="connsiteY24" fmla="*/ 847332 h 1331102"/>
                <a:gd name="connsiteX25" fmla="*/ 120711 w 1609727"/>
                <a:gd name="connsiteY25" fmla="*/ 866382 h 1331102"/>
                <a:gd name="connsiteX26" fmla="*/ 101661 w 1609727"/>
                <a:gd name="connsiteY26" fmla="*/ 885432 h 1331102"/>
                <a:gd name="connsiteX27" fmla="*/ 25461 w 1609727"/>
                <a:gd name="connsiteY27" fmla="*/ 910832 h 1331102"/>
                <a:gd name="connsiteX28" fmla="*/ 44511 w 1609727"/>
                <a:gd name="connsiteY28" fmla="*/ 955282 h 1331102"/>
                <a:gd name="connsiteX29" fmla="*/ 12761 w 1609727"/>
                <a:gd name="connsiteY29" fmla="*/ 999732 h 1331102"/>
                <a:gd name="connsiteX30" fmla="*/ 12761 w 1609727"/>
                <a:gd name="connsiteY30" fmla="*/ 1069582 h 1331102"/>
                <a:gd name="connsiteX31" fmla="*/ 69911 w 1609727"/>
                <a:gd name="connsiteY31" fmla="*/ 1133082 h 1331102"/>
                <a:gd name="connsiteX32" fmla="*/ 69911 w 1609727"/>
                <a:gd name="connsiteY32" fmla="*/ 1190232 h 1331102"/>
                <a:gd name="connsiteX33" fmla="*/ 50861 w 1609727"/>
                <a:gd name="connsiteY33" fmla="*/ 1209282 h 1331102"/>
                <a:gd name="connsiteX34" fmla="*/ 31811 w 1609727"/>
                <a:gd name="connsiteY34" fmla="*/ 1247382 h 1331102"/>
                <a:gd name="connsiteX35" fmla="*/ 61 w 1609727"/>
                <a:gd name="connsiteY35" fmla="*/ 1279132 h 1331102"/>
                <a:gd name="connsiteX36" fmla="*/ 25461 w 1609727"/>
                <a:gd name="connsiteY36" fmla="*/ 1329932 h 1331102"/>
                <a:gd name="connsiteX37" fmla="*/ 82611 w 1609727"/>
                <a:gd name="connsiteY37" fmla="*/ 1310882 h 1331102"/>
                <a:gd name="connsiteX38" fmla="*/ 158811 w 1609727"/>
                <a:gd name="connsiteY38" fmla="*/ 1266432 h 1331102"/>
                <a:gd name="connsiteX39" fmla="*/ 222311 w 1609727"/>
                <a:gd name="connsiteY39" fmla="*/ 1234682 h 1331102"/>
                <a:gd name="connsiteX40" fmla="*/ 279461 w 1609727"/>
                <a:gd name="connsiteY40" fmla="*/ 1234682 h 1331102"/>
                <a:gd name="connsiteX41" fmla="*/ 330261 w 1609727"/>
                <a:gd name="connsiteY41" fmla="*/ 1260082 h 1331102"/>
                <a:gd name="connsiteX42" fmla="*/ 355661 w 1609727"/>
                <a:gd name="connsiteY42" fmla="*/ 1221982 h 1331102"/>
                <a:gd name="connsiteX43" fmla="*/ 279461 w 1609727"/>
                <a:gd name="connsiteY43" fmla="*/ 1190232 h 1331102"/>
                <a:gd name="connsiteX44" fmla="*/ 285811 w 1609727"/>
                <a:gd name="connsiteY44" fmla="*/ 1133082 h 1331102"/>
                <a:gd name="connsiteX45" fmla="*/ 254061 w 1609727"/>
                <a:gd name="connsiteY45" fmla="*/ 1101332 h 1331102"/>
                <a:gd name="connsiteX46" fmla="*/ 171511 w 1609727"/>
                <a:gd name="connsiteY46" fmla="*/ 1069582 h 1331102"/>
                <a:gd name="connsiteX47" fmla="*/ 152461 w 1609727"/>
                <a:gd name="connsiteY47" fmla="*/ 1025132 h 1331102"/>
                <a:gd name="connsiteX48" fmla="*/ 190561 w 1609727"/>
                <a:gd name="connsiteY48" fmla="*/ 987032 h 1331102"/>
                <a:gd name="connsiteX49" fmla="*/ 241361 w 1609727"/>
                <a:gd name="connsiteY49" fmla="*/ 961632 h 1331102"/>
                <a:gd name="connsiteX50" fmla="*/ 304861 w 1609727"/>
                <a:gd name="connsiteY50" fmla="*/ 1031482 h 1331102"/>
                <a:gd name="connsiteX51" fmla="*/ 342961 w 1609727"/>
                <a:gd name="connsiteY51" fmla="*/ 1075932 h 1331102"/>
                <a:gd name="connsiteX52" fmla="*/ 444561 w 1609727"/>
                <a:gd name="connsiteY52" fmla="*/ 993382 h 1331102"/>
                <a:gd name="connsiteX53" fmla="*/ 571561 w 1609727"/>
                <a:gd name="connsiteY53" fmla="*/ 1012432 h 1331102"/>
                <a:gd name="connsiteX54" fmla="*/ 660461 w 1609727"/>
                <a:gd name="connsiteY54" fmla="*/ 1088632 h 1331102"/>
                <a:gd name="connsiteX55" fmla="*/ 704911 w 1609727"/>
                <a:gd name="connsiteY55" fmla="*/ 1133082 h 1331102"/>
                <a:gd name="connsiteX56" fmla="*/ 762061 w 1609727"/>
                <a:gd name="connsiteY56" fmla="*/ 1202932 h 1331102"/>
                <a:gd name="connsiteX57" fmla="*/ 825561 w 1609727"/>
                <a:gd name="connsiteY57" fmla="*/ 1221982 h 1331102"/>
                <a:gd name="connsiteX58" fmla="*/ 870011 w 1609727"/>
                <a:gd name="connsiteY58" fmla="*/ 1291832 h 1331102"/>
                <a:gd name="connsiteX59" fmla="*/ 939861 w 1609727"/>
                <a:gd name="connsiteY59" fmla="*/ 1171182 h 1331102"/>
                <a:gd name="connsiteX60" fmla="*/ 984311 w 1609727"/>
                <a:gd name="connsiteY60" fmla="*/ 1063232 h 1331102"/>
                <a:gd name="connsiteX61" fmla="*/ 1124011 w 1609727"/>
                <a:gd name="connsiteY61" fmla="*/ 993382 h 1331102"/>
                <a:gd name="connsiteX62" fmla="*/ 1168461 w 1609727"/>
                <a:gd name="connsiteY62" fmla="*/ 967982 h 1331102"/>
                <a:gd name="connsiteX63" fmla="*/ 1219261 w 1609727"/>
                <a:gd name="connsiteY63" fmla="*/ 955282 h 1331102"/>
                <a:gd name="connsiteX64" fmla="*/ 1251011 w 1609727"/>
                <a:gd name="connsiteY64" fmla="*/ 987032 h 1331102"/>
                <a:gd name="connsiteX65" fmla="*/ 1276411 w 1609727"/>
                <a:gd name="connsiteY65" fmla="*/ 987032 h 1331102"/>
                <a:gd name="connsiteX66" fmla="*/ 1333561 w 1609727"/>
                <a:gd name="connsiteY66" fmla="*/ 967982 h 1331102"/>
                <a:gd name="connsiteX67" fmla="*/ 1358961 w 1609727"/>
                <a:gd name="connsiteY67" fmla="*/ 987032 h 1331102"/>
                <a:gd name="connsiteX68" fmla="*/ 1447861 w 1609727"/>
                <a:gd name="connsiteY68" fmla="*/ 955282 h 1331102"/>
                <a:gd name="connsiteX69" fmla="*/ 1505011 w 1609727"/>
                <a:gd name="connsiteY69" fmla="*/ 942582 h 1331102"/>
                <a:gd name="connsiteX70" fmla="*/ 1606611 w 1609727"/>
                <a:gd name="connsiteY70" fmla="*/ 904482 h 1331102"/>
                <a:gd name="connsiteX71" fmla="*/ 1574861 w 1609727"/>
                <a:gd name="connsiteY71" fmla="*/ 872732 h 1331102"/>
                <a:gd name="connsiteX72" fmla="*/ 1485961 w 1609727"/>
                <a:gd name="connsiteY72" fmla="*/ 923532 h 1331102"/>
                <a:gd name="connsiteX73" fmla="*/ 1479611 w 1609727"/>
                <a:gd name="connsiteY73" fmla="*/ 860032 h 1331102"/>
                <a:gd name="connsiteX74" fmla="*/ 1479611 w 1609727"/>
                <a:gd name="connsiteY74" fmla="*/ 802882 h 1331102"/>
                <a:gd name="connsiteX75" fmla="*/ 1441511 w 1609727"/>
                <a:gd name="connsiteY75" fmla="*/ 733032 h 1331102"/>
                <a:gd name="connsiteX76" fmla="*/ 1479611 w 1609727"/>
                <a:gd name="connsiteY76" fmla="*/ 637782 h 1331102"/>
                <a:gd name="connsiteX77" fmla="*/ 1530411 w 1609727"/>
                <a:gd name="connsiteY77" fmla="*/ 574282 h 1331102"/>
                <a:gd name="connsiteX78" fmla="*/ 1524061 w 1609727"/>
                <a:gd name="connsiteY78" fmla="*/ 523482 h 1331102"/>
                <a:gd name="connsiteX79" fmla="*/ 1428811 w 1609727"/>
                <a:gd name="connsiteY79" fmla="*/ 612382 h 1331102"/>
                <a:gd name="connsiteX80" fmla="*/ 1352611 w 1609727"/>
                <a:gd name="connsiteY80" fmla="*/ 656832 h 1331102"/>
                <a:gd name="connsiteX81" fmla="*/ 1263711 w 1609727"/>
                <a:gd name="connsiteY81" fmla="*/ 618732 h 1331102"/>
                <a:gd name="connsiteX82" fmla="*/ 1244661 w 1609727"/>
                <a:gd name="connsiteY82" fmla="*/ 555232 h 1331102"/>
                <a:gd name="connsiteX83" fmla="*/ 1206561 w 1609727"/>
                <a:gd name="connsiteY83" fmla="*/ 599682 h 1331102"/>
                <a:gd name="connsiteX84" fmla="*/ 1174811 w 1609727"/>
                <a:gd name="connsiteY84" fmla="*/ 561582 h 1331102"/>
                <a:gd name="connsiteX85" fmla="*/ 1124011 w 1609727"/>
                <a:gd name="connsiteY85" fmla="*/ 574282 h 1331102"/>
                <a:gd name="connsiteX86" fmla="*/ 1085911 w 1609727"/>
                <a:gd name="connsiteY86" fmla="*/ 491732 h 1331102"/>
                <a:gd name="connsiteX87" fmla="*/ 1009711 w 1609727"/>
                <a:gd name="connsiteY87" fmla="*/ 440932 h 1331102"/>
                <a:gd name="connsiteX88" fmla="*/ 927161 w 1609727"/>
                <a:gd name="connsiteY88" fmla="*/ 313932 h 1331102"/>
                <a:gd name="connsiteX89" fmla="*/ 876361 w 1609727"/>
                <a:gd name="connsiteY89" fmla="*/ 167882 h 1331102"/>
                <a:gd name="connsiteX90" fmla="*/ 781111 w 1609727"/>
                <a:gd name="connsiteY90" fmla="*/ 53582 h 1331102"/>
                <a:gd name="connsiteX91" fmla="*/ 781111 w 1609727"/>
                <a:gd name="connsiteY91" fmla="*/ 9132 h 1331102"/>
                <a:gd name="connsiteX92" fmla="*/ 717611 w 1609727"/>
                <a:gd name="connsiteY92" fmla="*/ 9132 h 1331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609727" h="1331102">
                  <a:moveTo>
                    <a:pt x="717611" y="9132"/>
                  </a:moveTo>
                  <a:cubicBezTo>
                    <a:pt x="693269" y="21832"/>
                    <a:pt x="644586" y="53582"/>
                    <a:pt x="635061" y="85332"/>
                  </a:cubicBezTo>
                  <a:cubicBezTo>
                    <a:pt x="625536" y="117082"/>
                    <a:pt x="655169" y="164707"/>
                    <a:pt x="660461" y="199632"/>
                  </a:cubicBezTo>
                  <a:cubicBezTo>
                    <a:pt x="665753" y="234557"/>
                    <a:pt x="672103" y="267365"/>
                    <a:pt x="666811" y="294882"/>
                  </a:cubicBezTo>
                  <a:cubicBezTo>
                    <a:pt x="661519" y="322399"/>
                    <a:pt x="640353" y="342507"/>
                    <a:pt x="628711" y="364732"/>
                  </a:cubicBezTo>
                  <a:cubicBezTo>
                    <a:pt x="617069" y="386957"/>
                    <a:pt x="604369" y="407065"/>
                    <a:pt x="596961" y="428232"/>
                  </a:cubicBezTo>
                  <a:cubicBezTo>
                    <a:pt x="589553" y="449399"/>
                    <a:pt x="589553" y="468449"/>
                    <a:pt x="584261" y="491732"/>
                  </a:cubicBezTo>
                  <a:cubicBezTo>
                    <a:pt x="578969" y="515015"/>
                    <a:pt x="569444" y="553115"/>
                    <a:pt x="565211" y="567932"/>
                  </a:cubicBezTo>
                  <a:cubicBezTo>
                    <a:pt x="560978" y="582749"/>
                    <a:pt x="571561" y="572165"/>
                    <a:pt x="558861" y="580632"/>
                  </a:cubicBezTo>
                  <a:cubicBezTo>
                    <a:pt x="546161" y="589099"/>
                    <a:pt x="501711" y="598624"/>
                    <a:pt x="489011" y="618732"/>
                  </a:cubicBezTo>
                  <a:cubicBezTo>
                    <a:pt x="476311" y="638840"/>
                    <a:pt x="484778" y="680115"/>
                    <a:pt x="482661" y="701282"/>
                  </a:cubicBezTo>
                  <a:cubicBezTo>
                    <a:pt x="480544" y="722449"/>
                    <a:pt x="481603" y="731974"/>
                    <a:pt x="476311" y="745732"/>
                  </a:cubicBezTo>
                  <a:cubicBezTo>
                    <a:pt x="471019" y="759490"/>
                    <a:pt x="468902" y="784890"/>
                    <a:pt x="450911" y="783832"/>
                  </a:cubicBezTo>
                  <a:cubicBezTo>
                    <a:pt x="432920" y="782774"/>
                    <a:pt x="387411" y="743615"/>
                    <a:pt x="368361" y="739382"/>
                  </a:cubicBezTo>
                  <a:cubicBezTo>
                    <a:pt x="349311" y="735149"/>
                    <a:pt x="349311" y="760549"/>
                    <a:pt x="336611" y="758432"/>
                  </a:cubicBezTo>
                  <a:cubicBezTo>
                    <a:pt x="323911" y="756315"/>
                    <a:pt x="305919" y="736207"/>
                    <a:pt x="292161" y="726682"/>
                  </a:cubicBezTo>
                  <a:cubicBezTo>
                    <a:pt x="278403" y="717157"/>
                    <a:pt x="260411" y="708690"/>
                    <a:pt x="254061" y="701282"/>
                  </a:cubicBezTo>
                  <a:cubicBezTo>
                    <a:pt x="247711" y="693874"/>
                    <a:pt x="262528" y="680115"/>
                    <a:pt x="254061" y="682232"/>
                  </a:cubicBezTo>
                  <a:cubicBezTo>
                    <a:pt x="245594" y="684349"/>
                    <a:pt x="211728" y="701282"/>
                    <a:pt x="203261" y="713982"/>
                  </a:cubicBezTo>
                  <a:cubicBezTo>
                    <a:pt x="194794" y="726682"/>
                    <a:pt x="197969" y="746790"/>
                    <a:pt x="203261" y="758432"/>
                  </a:cubicBezTo>
                  <a:cubicBezTo>
                    <a:pt x="208553" y="770074"/>
                    <a:pt x="229719" y="773249"/>
                    <a:pt x="235011" y="783832"/>
                  </a:cubicBezTo>
                  <a:cubicBezTo>
                    <a:pt x="240303" y="794415"/>
                    <a:pt x="241361" y="814524"/>
                    <a:pt x="235011" y="821932"/>
                  </a:cubicBezTo>
                  <a:cubicBezTo>
                    <a:pt x="228661" y="829340"/>
                    <a:pt x="205378" y="819815"/>
                    <a:pt x="196911" y="828282"/>
                  </a:cubicBezTo>
                  <a:cubicBezTo>
                    <a:pt x="188444" y="836749"/>
                    <a:pt x="192678" y="869557"/>
                    <a:pt x="184211" y="872732"/>
                  </a:cubicBezTo>
                  <a:cubicBezTo>
                    <a:pt x="175744" y="875907"/>
                    <a:pt x="156694" y="848390"/>
                    <a:pt x="146111" y="847332"/>
                  </a:cubicBezTo>
                  <a:cubicBezTo>
                    <a:pt x="135528" y="846274"/>
                    <a:pt x="128119" y="860032"/>
                    <a:pt x="120711" y="866382"/>
                  </a:cubicBezTo>
                  <a:cubicBezTo>
                    <a:pt x="113303" y="872732"/>
                    <a:pt x="117536" y="878024"/>
                    <a:pt x="101661" y="885432"/>
                  </a:cubicBezTo>
                  <a:cubicBezTo>
                    <a:pt x="85786" y="892840"/>
                    <a:pt x="34986" y="899190"/>
                    <a:pt x="25461" y="910832"/>
                  </a:cubicBezTo>
                  <a:cubicBezTo>
                    <a:pt x="15936" y="922474"/>
                    <a:pt x="46628" y="940465"/>
                    <a:pt x="44511" y="955282"/>
                  </a:cubicBezTo>
                  <a:cubicBezTo>
                    <a:pt x="42394" y="970099"/>
                    <a:pt x="18053" y="980682"/>
                    <a:pt x="12761" y="999732"/>
                  </a:cubicBezTo>
                  <a:cubicBezTo>
                    <a:pt x="7469" y="1018782"/>
                    <a:pt x="3236" y="1047357"/>
                    <a:pt x="12761" y="1069582"/>
                  </a:cubicBezTo>
                  <a:cubicBezTo>
                    <a:pt x="22286" y="1091807"/>
                    <a:pt x="60386" y="1112974"/>
                    <a:pt x="69911" y="1133082"/>
                  </a:cubicBezTo>
                  <a:cubicBezTo>
                    <a:pt x="79436" y="1153190"/>
                    <a:pt x="73086" y="1177532"/>
                    <a:pt x="69911" y="1190232"/>
                  </a:cubicBezTo>
                  <a:cubicBezTo>
                    <a:pt x="66736" y="1202932"/>
                    <a:pt x="57211" y="1199757"/>
                    <a:pt x="50861" y="1209282"/>
                  </a:cubicBezTo>
                  <a:cubicBezTo>
                    <a:pt x="44511" y="1218807"/>
                    <a:pt x="40278" y="1235740"/>
                    <a:pt x="31811" y="1247382"/>
                  </a:cubicBezTo>
                  <a:cubicBezTo>
                    <a:pt x="23344" y="1259024"/>
                    <a:pt x="1119" y="1265374"/>
                    <a:pt x="61" y="1279132"/>
                  </a:cubicBezTo>
                  <a:cubicBezTo>
                    <a:pt x="-997" y="1292890"/>
                    <a:pt x="11703" y="1324640"/>
                    <a:pt x="25461" y="1329932"/>
                  </a:cubicBezTo>
                  <a:cubicBezTo>
                    <a:pt x="39219" y="1335224"/>
                    <a:pt x="60386" y="1321465"/>
                    <a:pt x="82611" y="1310882"/>
                  </a:cubicBezTo>
                  <a:cubicBezTo>
                    <a:pt x="104836" y="1300299"/>
                    <a:pt x="135528" y="1279132"/>
                    <a:pt x="158811" y="1266432"/>
                  </a:cubicBezTo>
                  <a:cubicBezTo>
                    <a:pt x="182094" y="1253732"/>
                    <a:pt x="202203" y="1239974"/>
                    <a:pt x="222311" y="1234682"/>
                  </a:cubicBezTo>
                  <a:cubicBezTo>
                    <a:pt x="242419" y="1229390"/>
                    <a:pt x="261469" y="1230449"/>
                    <a:pt x="279461" y="1234682"/>
                  </a:cubicBezTo>
                  <a:cubicBezTo>
                    <a:pt x="297453" y="1238915"/>
                    <a:pt x="317561" y="1262199"/>
                    <a:pt x="330261" y="1260082"/>
                  </a:cubicBezTo>
                  <a:cubicBezTo>
                    <a:pt x="342961" y="1257965"/>
                    <a:pt x="364128" y="1233624"/>
                    <a:pt x="355661" y="1221982"/>
                  </a:cubicBezTo>
                  <a:cubicBezTo>
                    <a:pt x="347194" y="1210340"/>
                    <a:pt x="291103" y="1205048"/>
                    <a:pt x="279461" y="1190232"/>
                  </a:cubicBezTo>
                  <a:cubicBezTo>
                    <a:pt x="267819" y="1175416"/>
                    <a:pt x="290044" y="1147899"/>
                    <a:pt x="285811" y="1133082"/>
                  </a:cubicBezTo>
                  <a:cubicBezTo>
                    <a:pt x="281578" y="1118265"/>
                    <a:pt x="273111" y="1111915"/>
                    <a:pt x="254061" y="1101332"/>
                  </a:cubicBezTo>
                  <a:cubicBezTo>
                    <a:pt x="235011" y="1090749"/>
                    <a:pt x="188444" y="1082282"/>
                    <a:pt x="171511" y="1069582"/>
                  </a:cubicBezTo>
                  <a:cubicBezTo>
                    <a:pt x="154578" y="1056882"/>
                    <a:pt x="149286" y="1038890"/>
                    <a:pt x="152461" y="1025132"/>
                  </a:cubicBezTo>
                  <a:cubicBezTo>
                    <a:pt x="155636" y="1011374"/>
                    <a:pt x="175744" y="997615"/>
                    <a:pt x="190561" y="987032"/>
                  </a:cubicBezTo>
                  <a:cubicBezTo>
                    <a:pt x="205378" y="976449"/>
                    <a:pt x="222311" y="954224"/>
                    <a:pt x="241361" y="961632"/>
                  </a:cubicBezTo>
                  <a:cubicBezTo>
                    <a:pt x="260411" y="969040"/>
                    <a:pt x="287928" y="1012432"/>
                    <a:pt x="304861" y="1031482"/>
                  </a:cubicBezTo>
                  <a:cubicBezTo>
                    <a:pt x="321794" y="1050532"/>
                    <a:pt x="319678" y="1082282"/>
                    <a:pt x="342961" y="1075932"/>
                  </a:cubicBezTo>
                  <a:cubicBezTo>
                    <a:pt x="366244" y="1069582"/>
                    <a:pt x="406461" y="1003965"/>
                    <a:pt x="444561" y="993382"/>
                  </a:cubicBezTo>
                  <a:cubicBezTo>
                    <a:pt x="482661" y="982799"/>
                    <a:pt x="535578" y="996557"/>
                    <a:pt x="571561" y="1012432"/>
                  </a:cubicBezTo>
                  <a:cubicBezTo>
                    <a:pt x="607544" y="1028307"/>
                    <a:pt x="638236" y="1068524"/>
                    <a:pt x="660461" y="1088632"/>
                  </a:cubicBezTo>
                  <a:cubicBezTo>
                    <a:pt x="682686" y="1108740"/>
                    <a:pt x="687978" y="1114032"/>
                    <a:pt x="704911" y="1133082"/>
                  </a:cubicBezTo>
                  <a:cubicBezTo>
                    <a:pt x="721844" y="1152132"/>
                    <a:pt x="741953" y="1188115"/>
                    <a:pt x="762061" y="1202932"/>
                  </a:cubicBezTo>
                  <a:cubicBezTo>
                    <a:pt x="782169" y="1217749"/>
                    <a:pt x="807569" y="1207165"/>
                    <a:pt x="825561" y="1221982"/>
                  </a:cubicBezTo>
                  <a:cubicBezTo>
                    <a:pt x="843553" y="1236799"/>
                    <a:pt x="850961" y="1300299"/>
                    <a:pt x="870011" y="1291832"/>
                  </a:cubicBezTo>
                  <a:cubicBezTo>
                    <a:pt x="889061" y="1283365"/>
                    <a:pt x="920811" y="1209282"/>
                    <a:pt x="939861" y="1171182"/>
                  </a:cubicBezTo>
                  <a:cubicBezTo>
                    <a:pt x="958911" y="1133082"/>
                    <a:pt x="953619" y="1092865"/>
                    <a:pt x="984311" y="1063232"/>
                  </a:cubicBezTo>
                  <a:cubicBezTo>
                    <a:pt x="1015003" y="1033599"/>
                    <a:pt x="1093319" y="1009257"/>
                    <a:pt x="1124011" y="993382"/>
                  </a:cubicBezTo>
                  <a:cubicBezTo>
                    <a:pt x="1154703" y="977507"/>
                    <a:pt x="1152586" y="974332"/>
                    <a:pt x="1168461" y="967982"/>
                  </a:cubicBezTo>
                  <a:cubicBezTo>
                    <a:pt x="1184336" y="961632"/>
                    <a:pt x="1205503" y="952107"/>
                    <a:pt x="1219261" y="955282"/>
                  </a:cubicBezTo>
                  <a:cubicBezTo>
                    <a:pt x="1233019" y="958457"/>
                    <a:pt x="1241486" y="981740"/>
                    <a:pt x="1251011" y="987032"/>
                  </a:cubicBezTo>
                  <a:cubicBezTo>
                    <a:pt x="1260536" y="992324"/>
                    <a:pt x="1262653" y="990207"/>
                    <a:pt x="1276411" y="987032"/>
                  </a:cubicBezTo>
                  <a:cubicBezTo>
                    <a:pt x="1290169" y="983857"/>
                    <a:pt x="1319803" y="967982"/>
                    <a:pt x="1333561" y="967982"/>
                  </a:cubicBezTo>
                  <a:cubicBezTo>
                    <a:pt x="1347319" y="967982"/>
                    <a:pt x="1339911" y="989149"/>
                    <a:pt x="1358961" y="987032"/>
                  </a:cubicBezTo>
                  <a:cubicBezTo>
                    <a:pt x="1378011" y="984915"/>
                    <a:pt x="1423519" y="962690"/>
                    <a:pt x="1447861" y="955282"/>
                  </a:cubicBezTo>
                  <a:cubicBezTo>
                    <a:pt x="1472203" y="947874"/>
                    <a:pt x="1478553" y="951049"/>
                    <a:pt x="1505011" y="942582"/>
                  </a:cubicBezTo>
                  <a:cubicBezTo>
                    <a:pt x="1531469" y="934115"/>
                    <a:pt x="1594969" y="916124"/>
                    <a:pt x="1606611" y="904482"/>
                  </a:cubicBezTo>
                  <a:cubicBezTo>
                    <a:pt x="1618253" y="892840"/>
                    <a:pt x="1594969" y="869557"/>
                    <a:pt x="1574861" y="872732"/>
                  </a:cubicBezTo>
                  <a:cubicBezTo>
                    <a:pt x="1554753" y="875907"/>
                    <a:pt x="1501836" y="925649"/>
                    <a:pt x="1485961" y="923532"/>
                  </a:cubicBezTo>
                  <a:cubicBezTo>
                    <a:pt x="1470086" y="921415"/>
                    <a:pt x="1480669" y="880140"/>
                    <a:pt x="1479611" y="860032"/>
                  </a:cubicBezTo>
                  <a:cubicBezTo>
                    <a:pt x="1478553" y="839924"/>
                    <a:pt x="1485961" y="824049"/>
                    <a:pt x="1479611" y="802882"/>
                  </a:cubicBezTo>
                  <a:cubicBezTo>
                    <a:pt x="1473261" y="781715"/>
                    <a:pt x="1441511" y="760549"/>
                    <a:pt x="1441511" y="733032"/>
                  </a:cubicBezTo>
                  <a:cubicBezTo>
                    <a:pt x="1441511" y="705515"/>
                    <a:pt x="1464794" y="664240"/>
                    <a:pt x="1479611" y="637782"/>
                  </a:cubicBezTo>
                  <a:cubicBezTo>
                    <a:pt x="1494428" y="611324"/>
                    <a:pt x="1523003" y="593332"/>
                    <a:pt x="1530411" y="574282"/>
                  </a:cubicBezTo>
                  <a:cubicBezTo>
                    <a:pt x="1537819" y="555232"/>
                    <a:pt x="1540994" y="517132"/>
                    <a:pt x="1524061" y="523482"/>
                  </a:cubicBezTo>
                  <a:cubicBezTo>
                    <a:pt x="1507128" y="529832"/>
                    <a:pt x="1457386" y="590157"/>
                    <a:pt x="1428811" y="612382"/>
                  </a:cubicBezTo>
                  <a:cubicBezTo>
                    <a:pt x="1400236" y="634607"/>
                    <a:pt x="1380128" y="655774"/>
                    <a:pt x="1352611" y="656832"/>
                  </a:cubicBezTo>
                  <a:cubicBezTo>
                    <a:pt x="1325094" y="657890"/>
                    <a:pt x="1281703" y="635665"/>
                    <a:pt x="1263711" y="618732"/>
                  </a:cubicBezTo>
                  <a:cubicBezTo>
                    <a:pt x="1245719" y="601799"/>
                    <a:pt x="1254186" y="558407"/>
                    <a:pt x="1244661" y="555232"/>
                  </a:cubicBezTo>
                  <a:cubicBezTo>
                    <a:pt x="1235136" y="552057"/>
                    <a:pt x="1218203" y="598624"/>
                    <a:pt x="1206561" y="599682"/>
                  </a:cubicBezTo>
                  <a:cubicBezTo>
                    <a:pt x="1194919" y="600740"/>
                    <a:pt x="1188569" y="565815"/>
                    <a:pt x="1174811" y="561582"/>
                  </a:cubicBezTo>
                  <a:cubicBezTo>
                    <a:pt x="1161053" y="557349"/>
                    <a:pt x="1138827" y="585924"/>
                    <a:pt x="1124011" y="574282"/>
                  </a:cubicBezTo>
                  <a:cubicBezTo>
                    <a:pt x="1109195" y="562640"/>
                    <a:pt x="1104961" y="513957"/>
                    <a:pt x="1085911" y="491732"/>
                  </a:cubicBezTo>
                  <a:cubicBezTo>
                    <a:pt x="1066861" y="469507"/>
                    <a:pt x="1036169" y="470565"/>
                    <a:pt x="1009711" y="440932"/>
                  </a:cubicBezTo>
                  <a:cubicBezTo>
                    <a:pt x="983253" y="411299"/>
                    <a:pt x="949386" y="359440"/>
                    <a:pt x="927161" y="313932"/>
                  </a:cubicBezTo>
                  <a:cubicBezTo>
                    <a:pt x="904936" y="268424"/>
                    <a:pt x="900703" y="211274"/>
                    <a:pt x="876361" y="167882"/>
                  </a:cubicBezTo>
                  <a:cubicBezTo>
                    <a:pt x="852019" y="124490"/>
                    <a:pt x="796986" y="80040"/>
                    <a:pt x="781111" y="53582"/>
                  </a:cubicBezTo>
                  <a:cubicBezTo>
                    <a:pt x="765236" y="27124"/>
                    <a:pt x="789578" y="20774"/>
                    <a:pt x="781111" y="9132"/>
                  </a:cubicBezTo>
                  <a:cubicBezTo>
                    <a:pt x="772644" y="-2510"/>
                    <a:pt x="741953" y="-3568"/>
                    <a:pt x="717611" y="9132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1" name="任意多边形 40"/>
            <p:cNvSpPr/>
            <p:nvPr/>
          </p:nvSpPr>
          <p:spPr>
            <a:xfrm>
              <a:off x="2864241" y="1395964"/>
              <a:ext cx="3447726" cy="2460122"/>
            </a:xfrm>
            <a:custGeom>
              <a:avLst/>
              <a:gdLst>
                <a:gd name="connsiteX0" fmla="*/ 3301609 w 3447726"/>
                <a:gd name="connsiteY0" fmla="*/ 216936 h 2460122"/>
                <a:gd name="connsiteX1" fmla="*/ 3333359 w 3447726"/>
                <a:gd name="connsiteY1" fmla="*/ 147086 h 2460122"/>
                <a:gd name="connsiteX2" fmla="*/ 3339709 w 3447726"/>
                <a:gd name="connsiteY2" fmla="*/ 108986 h 2460122"/>
                <a:gd name="connsiteX3" fmla="*/ 3307959 w 3447726"/>
                <a:gd name="connsiteY3" fmla="*/ 115336 h 2460122"/>
                <a:gd name="connsiteX4" fmla="*/ 3282559 w 3447726"/>
                <a:gd name="connsiteY4" fmla="*/ 134386 h 2460122"/>
                <a:gd name="connsiteX5" fmla="*/ 3225409 w 3447726"/>
                <a:gd name="connsiteY5" fmla="*/ 121686 h 2460122"/>
                <a:gd name="connsiteX6" fmla="*/ 3212709 w 3447726"/>
                <a:gd name="connsiteY6" fmla="*/ 89936 h 2460122"/>
                <a:gd name="connsiteX7" fmla="*/ 3238109 w 3447726"/>
                <a:gd name="connsiteY7" fmla="*/ 83586 h 2460122"/>
                <a:gd name="connsiteX8" fmla="*/ 3231759 w 3447726"/>
                <a:gd name="connsiteY8" fmla="*/ 32786 h 2460122"/>
                <a:gd name="connsiteX9" fmla="*/ 3288909 w 3447726"/>
                <a:gd name="connsiteY9" fmla="*/ 1036 h 2460122"/>
                <a:gd name="connsiteX10" fmla="*/ 3346059 w 3447726"/>
                <a:gd name="connsiteY10" fmla="*/ 70886 h 2460122"/>
                <a:gd name="connsiteX11" fmla="*/ 3415909 w 3447726"/>
                <a:gd name="connsiteY11" fmla="*/ 58186 h 2460122"/>
                <a:gd name="connsiteX12" fmla="*/ 3384159 w 3447726"/>
                <a:gd name="connsiteY12" fmla="*/ 140736 h 2460122"/>
                <a:gd name="connsiteX13" fmla="*/ 3371459 w 3447726"/>
                <a:gd name="connsiteY13" fmla="*/ 223286 h 2460122"/>
                <a:gd name="connsiteX14" fmla="*/ 3390509 w 3447726"/>
                <a:gd name="connsiteY14" fmla="*/ 261386 h 2460122"/>
                <a:gd name="connsiteX15" fmla="*/ 3358759 w 3447726"/>
                <a:gd name="connsiteY15" fmla="*/ 293136 h 2460122"/>
                <a:gd name="connsiteX16" fmla="*/ 3396859 w 3447726"/>
                <a:gd name="connsiteY16" fmla="*/ 382036 h 2460122"/>
                <a:gd name="connsiteX17" fmla="*/ 3434959 w 3447726"/>
                <a:gd name="connsiteY17" fmla="*/ 489986 h 2460122"/>
                <a:gd name="connsiteX18" fmla="*/ 3434959 w 3447726"/>
                <a:gd name="connsiteY18" fmla="*/ 578886 h 2460122"/>
                <a:gd name="connsiteX19" fmla="*/ 3447659 w 3447726"/>
                <a:gd name="connsiteY19" fmla="*/ 674136 h 2460122"/>
                <a:gd name="connsiteX20" fmla="*/ 3428609 w 3447726"/>
                <a:gd name="connsiteY20" fmla="*/ 750336 h 2460122"/>
                <a:gd name="connsiteX21" fmla="*/ 3365109 w 3447726"/>
                <a:gd name="connsiteY21" fmla="*/ 877336 h 2460122"/>
                <a:gd name="connsiteX22" fmla="*/ 3320659 w 3447726"/>
                <a:gd name="connsiteY22" fmla="*/ 909086 h 2460122"/>
                <a:gd name="connsiteX23" fmla="*/ 3244459 w 3447726"/>
                <a:gd name="connsiteY23" fmla="*/ 1029736 h 2460122"/>
                <a:gd name="connsiteX24" fmla="*/ 3231759 w 3447726"/>
                <a:gd name="connsiteY24" fmla="*/ 1086886 h 2460122"/>
                <a:gd name="connsiteX25" fmla="*/ 3206359 w 3447726"/>
                <a:gd name="connsiteY25" fmla="*/ 1124986 h 2460122"/>
                <a:gd name="connsiteX26" fmla="*/ 3187309 w 3447726"/>
                <a:gd name="connsiteY26" fmla="*/ 1093236 h 2460122"/>
                <a:gd name="connsiteX27" fmla="*/ 3060309 w 3447726"/>
                <a:gd name="connsiteY27" fmla="*/ 1150386 h 2460122"/>
                <a:gd name="connsiteX28" fmla="*/ 3060309 w 3447726"/>
                <a:gd name="connsiteY28" fmla="*/ 1302786 h 2460122"/>
                <a:gd name="connsiteX29" fmla="*/ 3060309 w 3447726"/>
                <a:gd name="connsiteY29" fmla="*/ 1372636 h 2460122"/>
                <a:gd name="connsiteX30" fmla="*/ 3028559 w 3447726"/>
                <a:gd name="connsiteY30" fmla="*/ 1512336 h 2460122"/>
                <a:gd name="connsiteX31" fmla="*/ 2939659 w 3447726"/>
                <a:gd name="connsiteY31" fmla="*/ 1588536 h 2460122"/>
                <a:gd name="connsiteX32" fmla="*/ 2888859 w 3447726"/>
                <a:gd name="connsiteY32" fmla="*/ 1683786 h 2460122"/>
                <a:gd name="connsiteX33" fmla="*/ 2869809 w 3447726"/>
                <a:gd name="connsiteY33" fmla="*/ 1785386 h 2460122"/>
                <a:gd name="connsiteX34" fmla="*/ 2869809 w 3447726"/>
                <a:gd name="connsiteY34" fmla="*/ 1918736 h 2460122"/>
                <a:gd name="connsiteX35" fmla="*/ 2907909 w 3447726"/>
                <a:gd name="connsiteY35" fmla="*/ 1994936 h 2460122"/>
                <a:gd name="connsiteX36" fmla="*/ 2869809 w 3447726"/>
                <a:gd name="connsiteY36" fmla="*/ 1994936 h 2460122"/>
                <a:gd name="connsiteX37" fmla="*/ 2761859 w 3447726"/>
                <a:gd name="connsiteY37" fmla="*/ 2064786 h 2460122"/>
                <a:gd name="connsiteX38" fmla="*/ 2711059 w 3447726"/>
                <a:gd name="connsiteY38" fmla="*/ 2172736 h 2460122"/>
                <a:gd name="connsiteX39" fmla="*/ 2603109 w 3447726"/>
                <a:gd name="connsiteY39" fmla="*/ 2198136 h 2460122"/>
                <a:gd name="connsiteX40" fmla="*/ 2552309 w 3447726"/>
                <a:gd name="connsiteY40" fmla="*/ 2242586 h 2460122"/>
                <a:gd name="connsiteX41" fmla="*/ 2571359 w 3447726"/>
                <a:gd name="connsiteY41" fmla="*/ 2160036 h 2460122"/>
                <a:gd name="connsiteX42" fmla="*/ 2615809 w 3447726"/>
                <a:gd name="connsiteY42" fmla="*/ 2064786 h 2460122"/>
                <a:gd name="connsiteX43" fmla="*/ 2679309 w 3447726"/>
                <a:gd name="connsiteY43" fmla="*/ 2001286 h 2460122"/>
                <a:gd name="connsiteX44" fmla="*/ 2653909 w 3447726"/>
                <a:gd name="connsiteY44" fmla="*/ 1963186 h 2460122"/>
                <a:gd name="connsiteX45" fmla="*/ 2603109 w 3447726"/>
                <a:gd name="connsiteY45" fmla="*/ 1975886 h 2460122"/>
                <a:gd name="connsiteX46" fmla="*/ 2577709 w 3447726"/>
                <a:gd name="connsiteY46" fmla="*/ 2007636 h 2460122"/>
                <a:gd name="connsiteX47" fmla="*/ 2533259 w 3447726"/>
                <a:gd name="connsiteY47" fmla="*/ 2064786 h 2460122"/>
                <a:gd name="connsiteX48" fmla="*/ 2552309 w 3447726"/>
                <a:gd name="connsiteY48" fmla="*/ 2134636 h 2460122"/>
                <a:gd name="connsiteX49" fmla="*/ 2488809 w 3447726"/>
                <a:gd name="connsiteY49" fmla="*/ 2121936 h 2460122"/>
                <a:gd name="connsiteX50" fmla="*/ 2501509 w 3447726"/>
                <a:gd name="connsiteY50" fmla="*/ 2064786 h 2460122"/>
                <a:gd name="connsiteX51" fmla="*/ 2425309 w 3447726"/>
                <a:gd name="connsiteY51" fmla="*/ 2064786 h 2460122"/>
                <a:gd name="connsiteX52" fmla="*/ 2374509 w 3447726"/>
                <a:gd name="connsiteY52" fmla="*/ 2096536 h 2460122"/>
                <a:gd name="connsiteX53" fmla="*/ 2342759 w 3447726"/>
                <a:gd name="connsiteY53" fmla="*/ 2223536 h 2460122"/>
                <a:gd name="connsiteX54" fmla="*/ 2291959 w 3447726"/>
                <a:gd name="connsiteY54" fmla="*/ 2274336 h 2460122"/>
                <a:gd name="connsiteX55" fmla="*/ 2253859 w 3447726"/>
                <a:gd name="connsiteY55" fmla="*/ 2248936 h 2460122"/>
                <a:gd name="connsiteX56" fmla="*/ 2253859 w 3447726"/>
                <a:gd name="connsiteY56" fmla="*/ 2179086 h 2460122"/>
                <a:gd name="connsiteX57" fmla="*/ 2298309 w 3447726"/>
                <a:gd name="connsiteY57" fmla="*/ 2109236 h 2460122"/>
                <a:gd name="connsiteX58" fmla="*/ 2234809 w 3447726"/>
                <a:gd name="connsiteY58" fmla="*/ 2077486 h 2460122"/>
                <a:gd name="connsiteX59" fmla="*/ 2164959 w 3447726"/>
                <a:gd name="connsiteY59" fmla="*/ 2134636 h 2460122"/>
                <a:gd name="connsiteX60" fmla="*/ 2107809 w 3447726"/>
                <a:gd name="connsiteY60" fmla="*/ 2153686 h 2460122"/>
                <a:gd name="connsiteX61" fmla="*/ 2063359 w 3447726"/>
                <a:gd name="connsiteY61" fmla="*/ 2242586 h 2460122"/>
                <a:gd name="connsiteX62" fmla="*/ 1999859 w 3447726"/>
                <a:gd name="connsiteY62" fmla="*/ 2191786 h 2460122"/>
                <a:gd name="connsiteX63" fmla="*/ 1904609 w 3447726"/>
                <a:gd name="connsiteY63" fmla="*/ 2166386 h 2460122"/>
                <a:gd name="connsiteX64" fmla="*/ 1758559 w 3447726"/>
                <a:gd name="connsiteY64" fmla="*/ 2179086 h 2460122"/>
                <a:gd name="connsiteX65" fmla="*/ 1809359 w 3447726"/>
                <a:gd name="connsiteY65" fmla="*/ 2140986 h 2460122"/>
                <a:gd name="connsiteX66" fmla="*/ 1847459 w 3447726"/>
                <a:gd name="connsiteY66" fmla="*/ 2134636 h 2460122"/>
                <a:gd name="connsiteX67" fmla="*/ 1809359 w 3447726"/>
                <a:gd name="connsiteY67" fmla="*/ 2096536 h 2460122"/>
                <a:gd name="connsiteX68" fmla="*/ 1777609 w 3447726"/>
                <a:gd name="connsiteY68" fmla="*/ 2109236 h 2460122"/>
                <a:gd name="connsiteX69" fmla="*/ 1771259 w 3447726"/>
                <a:gd name="connsiteY69" fmla="*/ 2064786 h 2460122"/>
                <a:gd name="connsiteX70" fmla="*/ 1726809 w 3447726"/>
                <a:gd name="connsiteY70" fmla="*/ 2115586 h 2460122"/>
                <a:gd name="connsiteX71" fmla="*/ 1714109 w 3447726"/>
                <a:gd name="connsiteY71" fmla="*/ 2039386 h 2460122"/>
                <a:gd name="connsiteX72" fmla="*/ 1764909 w 3447726"/>
                <a:gd name="connsiteY72" fmla="*/ 1988586 h 2460122"/>
                <a:gd name="connsiteX73" fmla="*/ 1726809 w 3447726"/>
                <a:gd name="connsiteY73" fmla="*/ 1963186 h 2460122"/>
                <a:gd name="connsiteX74" fmla="*/ 1650609 w 3447726"/>
                <a:gd name="connsiteY74" fmla="*/ 2058436 h 2460122"/>
                <a:gd name="connsiteX75" fmla="*/ 1631559 w 3447726"/>
                <a:gd name="connsiteY75" fmla="*/ 2153686 h 2460122"/>
                <a:gd name="connsiteX76" fmla="*/ 1695059 w 3447726"/>
                <a:gd name="connsiteY76" fmla="*/ 2198136 h 2460122"/>
                <a:gd name="connsiteX77" fmla="*/ 1701409 w 3447726"/>
                <a:gd name="connsiteY77" fmla="*/ 2248936 h 2460122"/>
                <a:gd name="connsiteX78" fmla="*/ 1695059 w 3447726"/>
                <a:gd name="connsiteY78" fmla="*/ 2274336 h 2460122"/>
                <a:gd name="connsiteX79" fmla="*/ 1656959 w 3447726"/>
                <a:gd name="connsiteY79" fmla="*/ 2236236 h 2460122"/>
                <a:gd name="connsiteX80" fmla="*/ 1587109 w 3447726"/>
                <a:gd name="connsiteY80" fmla="*/ 2255286 h 2460122"/>
                <a:gd name="connsiteX81" fmla="*/ 1504559 w 3447726"/>
                <a:gd name="connsiteY81" fmla="*/ 2280686 h 2460122"/>
                <a:gd name="connsiteX82" fmla="*/ 1491859 w 3447726"/>
                <a:gd name="connsiteY82" fmla="*/ 2331486 h 2460122"/>
                <a:gd name="connsiteX83" fmla="*/ 1409309 w 3447726"/>
                <a:gd name="connsiteY83" fmla="*/ 2375936 h 2460122"/>
                <a:gd name="connsiteX84" fmla="*/ 1339459 w 3447726"/>
                <a:gd name="connsiteY84" fmla="*/ 2458486 h 2460122"/>
                <a:gd name="connsiteX85" fmla="*/ 1269609 w 3447726"/>
                <a:gd name="connsiteY85" fmla="*/ 2426736 h 2460122"/>
                <a:gd name="connsiteX86" fmla="*/ 1218809 w 3447726"/>
                <a:gd name="connsiteY86" fmla="*/ 2375936 h 2460122"/>
                <a:gd name="connsiteX87" fmla="*/ 1161659 w 3447726"/>
                <a:gd name="connsiteY87" fmla="*/ 2306086 h 2460122"/>
                <a:gd name="connsiteX88" fmla="*/ 1193409 w 3447726"/>
                <a:gd name="connsiteY88" fmla="*/ 2248936 h 2460122"/>
                <a:gd name="connsiteX89" fmla="*/ 1180709 w 3447726"/>
                <a:gd name="connsiteY89" fmla="*/ 2223536 h 2460122"/>
                <a:gd name="connsiteX90" fmla="*/ 1212459 w 3447726"/>
                <a:gd name="connsiteY90" fmla="*/ 2185436 h 2460122"/>
                <a:gd name="connsiteX91" fmla="*/ 1187059 w 3447726"/>
                <a:gd name="connsiteY91" fmla="*/ 2134636 h 2460122"/>
                <a:gd name="connsiteX92" fmla="*/ 1307709 w 3447726"/>
                <a:gd name="connsiteY92" fmla="*/ 2083836 h 2460122"/>
                <a:gd name="connsiteX93" fmla="*/ 1314059 w 3447726"/>
                <a:gd name="connsiteY93" fmla="*/ 2026686 h 2460122"/>
                <a:gd name="connsiteX94" fmla="*/ 1225159 w 3447726"/>
                <a:gd name="connsiteY94" fmla="*/ 2039386 h 2460122"/>
                <a:gd name="connsiteX95" fmla="*/ 1148959 w 3447726"/>
                <a:gd name="connsiteY95" fmla="*/ 2083836 h 2460122"/>
                <a:gd name="connsiteX96" fmla="*/ 1161659 w 3447726"/>
                <a:gd name="connsiteY96" fmla="*/ 2153686 h 2460122"/>
                <a:gd name="connsiteX97" fmla="*/ 1110859 w 3447726"/>
                <a:gd name="connsiteY97" fmla="*/ 2147336 h 2460122"/>
                <a:gd name="connsiteX98" fmla="*/ 1085459 w 3447726"/>
                <a:gd name="connsiteY98" fmla="*/ 2090186 h 2460122"/>
                <a:gd name="connsiteX99" fmla="*/ 1180709 w 3447726"/>
                <a:gd name="connsiteY99" fmla="*/ 2026686 h 2460122"/>
                <a:gd name="connsiteX100" fmla="*/ 1155309 w 3447726"/>
                <a:gd name="connsiteY100" fmla="*/ 1988586 h 2460122"/>
                <a:gd name="connsiteX101" fmla="*/ 1009259 w 3447726"/>
                <a:gd name="connsiteY101" fmla="*/ 1950486 h 2460122"/>
                <a:gd name="connsiteX102" fmla="*/ 875909 w 3447726"/>
                <a:gd name="connsiteY102" fmla="*/ 1988586 h 2460122"/>
                <a:gd name="connsiteX103" fmla="*/ 831459 w 3447726"/>
                <a:gd name="connsiteY103" fmla="*/ 2013986 h 2460122"/>
                <a:gd name="connsiteX104" fmla="*/ 780659 w 3447726"/>
                <a:gd name="connsiteY104" fmla="*/ 1956836 h 2460122"/>
                <a:gd name="connsiteX105" fmla="*/ 717159 w 3447726"/>
                <a:gd name="connsiteY105" fmla="*/ 2007636 h 2460122"/>
                <a:gd name="connsiteX106" fmla="*/ 653659 w 3447726"/>
                <a:gd name="connsiteY106" fmla="*/ 2007636 h 2460122"/>
                <a:gd name="connsiteX107" fmla="*/ 647309 w 3447726"/>
                <a:gd name="connsiteY107" fmla="*/ 1975886 h 2460122"/>
                <a:gd name="connsiteX108" fmla="*/ 558409 w 3447726"/>
                <a:gd name="connsiteY108" fmla="*/ 1988586 h 2460122"/>
                <a:gd name="connsiteX109" fmla="*/ 520309 w 3447726"/>
                <a:gd name="connsiteY109" fmla="*/ 2001286 h 2460122"/>
                <a:gd name="connsiteX110" fmla="*/ 469509 w 3447726"/>
                <a:gd name="connsiteY110" fmla="*/ 1982236 h 2460122"/>
                <a:gd name="connsiteX111" fmla="*/ 488559 w 3447726"/>
                <a:gd name="connsiteY111" fmla="*/ 1956836 h 2460122"/>
                <a:gd name="connsiteX112" fmla="*/ 444109 w 3447726"/>
                <a:gd name="connsiteY112" fmla="*/ 1925086 h 2460122"/>
                <a:gd name="connsiteX113" fmla="*/ 386959 w 3447726"/>
                <a:gd name="connsiteY113" fmla="*/ 1944136 h 2460122"/>
                <a:gd name="connsiteX114" fmla="*/ 393309 w 3447726"/>
                <a:gd name="connsiteY114" fmla="*/ 2007636 h 2460122"/>
                <a:gd name="connsiteX115" fmla="*/ 323459 w 3447726"/>
                <a:gd name="connsiteY115" fmla="*/ 2052086 h 2460122"/>
                <a:gd name="connsiteX116" fmla="*/ 336159 w 3447726"/>
                <a:gd name="connsiteY116" fmla="*/ 2096536 h 2460122"/>
                <a:gd name="connsiteX117" fmla="*/ 298059 w 3447726"/>
                <a:gd name="connsiteY117" fmla="*/ 2058436 h 2460122"/>
                <a:gd name="connsiteX118" fmla="*/ 215509 w 3447726"/>
                <a:gd name="connsiteY118" fmla="*/ 1982236 h 2460122"/>
                <a:gd name="connsiteX119" fmla="*/ 139309 w 3447726"/>
                <a:gd name="connsiteY119" fmla="*/ 2007636 h 2460122"/>
                <a:gd name="connsiteX120" fmla="*/ 101209 w 3447726"/>
                <a:gd name="connsiteY120" fmla="*/ 1982236 h 2460122"/>
                <a:gd name="connsiteX121" fmla="*/ 50409 w 3447726"/>
                <a:gd name="connsiteY121" fmla="*/ 1969536 h 2460122"/>
                <a:gd name="connsiteX122" fmla="*/ 50409 w 3447726"/>
                <a:gd name="connsiteY122" fmla="*/ 1912386 h 2460122"/>
                <a:gd name="connsiteX123" fmla="*/ 5959 w 3447726"/>
                <a:gd name="connsiteY123" fmla="*/ 1963186 h 2460122"/>
                <a:gd name="connsiteX124" fmla="*/ 5959 w 3447726"/>
                <a:gd name="connsiteY124" fmla="*/ 1874286 h 2460122"/>
                <a:gd name="connsiteX125" fmla="*/ 56759 w 3447726"/>
                <a:gd name="connsiteY125" fmla="*/ 1817136 h 2460122"/>
                <a:gd name="connsiteX126" fmla="*/ 94859 w 3447726"/>
                <a:gd name="connsiteY126" fmla="*/ 1855236 h 2460122"/>
                <a:gd name="connsiteX127" fmla="*/ 145659 w 3447726"/>
                <a:gd name="connsiteY127" fmla="*/ 1810786 h 2460122"/>
                <a:gd name="connsiteX128" fmla="*/ 240909 w 3447726"/>
                <a:gd name="connsiteY128" fmla="*/ 1766336 h 2460122"/>
                <a:gd name="connsiteX129" fmla="*/ 342509 w 3447726"/>
                <a:gd name="connsiteY129" fmla="*/ 1798086 h 2460122"/>
                <a:gd name="connsiteX130" fmla="*/ 564759 w 3447726"/>
                <a:gd name="connsiteY130" fmla="*/ 1626636 h 2460122"/>
                <a:gd name="connsiteX131" fmla="*/ 628259 w 3447726"/>
                <a:gd name="connsiteY131" fmla="*/ 1582186 h 2460122"/>
                <a:gd name="connsiteX132" fmla="*/ 704459 w 3447726"/>
                <a:gd name="connsiteY132" fmla="*/ 1582186 h 2460122"/>
                <a:gd name="connsiteX133" fmla="*/ 761609 w 3447726"/>
                <a:gd name="connsiteY133" fmla="*/ 1569486 h 2460122"/>
                <a:gd name="connsiteX134" fmla="*/ 806059 w 3447726"/>
                <a:gd name="connsiteY134" fmla="*/ 1652036 h 2460122"/>
                <a:gd name="connsiteX135" fmla="*/ 901309 w 3447726"/>
                <a:gd name="connsiteY135" fmla="*/ 1613936 h 2460122"/>
                <a:gd name="connsiteX136" fmla="*/ 1034659 w 3447726"/>
                <a:gd name="connsiteY136" fmla="*/ 1671086 h 2460122"/>
                <a:gd name="connsiteX137" fmla="*/ 1098159 w 3447726"/>
                <a:gd name="connsiteY137" fmla="*/ 1620286 h 2460122"/>
                <a:gd name="connsiteX138" fmla="*/ 1123559 w 3447726"/>
                <a:gd name="connsiteY138" fmla="*/ 1639336 h 2460122"/>
                <a:gd name="connsiteX139" fmla="*/ 1180709 w 3447726"/>
                <a:gd name="connsiteY139" fmla="*/ 1626636 h 2460122"/>
                <a:gd name="connsiteX140" fmla="*/ 1301359 w 3447726"/>
                <a:gd name="connsiteY140" fmla="*/ 1652036 h 2460122"/>
                <a:gd name="connsiteX141" fmla="*/ 1333109 w 3447726"/>
                <a:gd name="connsiteY141" fmla="*/ 1652036 h 2460122"/>
                <a:gd name="connsiteX142" fmla="*/ 1339459 w 3447726"/>
                <a:gd name="connsiteY142" fmla="*/ 1728236 h 2460122"/>
                <a:gd name="connsiteX143" fmla="*/ 1383909 w 3447726"/>
                <a:gd name="connsiteY143" fmla="*/ 1728236 h 2460122"/>
                <a:gd name="connsiteX144" fmla="*/ 1402959 w 3447726"/>
                <a:gd name="connsiteY144" fmla="*/ 1772686 h 2460122"/>
                <a:gd name="connsiteX145" fmla="*/ 1485509 w 3447726"/>
                <a:gd name="connsiteY145" fmla="*/ 1753636 h 2460122"/>
                <a:gd name="connsiteX146" fmla="*/ 1517259 w 3447726"/>
                <a:gd name="connsiteY146" fmla="*/ 1728236 h 2460122"/>
                <a:gd name="connsiteX147" fmla="*/ 1542659 w 3447726"/>
                <a:gd name="connsiteY147" fmla="*/ 1759986 h 2460122"/>
                <a:gd name="connsiteX148" fmla="*/ 1580759 w 3447726"/>
                <a:gd name="connsiteY148" fmla="*/ 1740936 h 2460122"/>
                <a:gd name="connsiteX149" fmla="*/ 1580759 w 3447726"/>
                <a:gd name="connsiteY149" fmla="*/ 1645686 h 2460122"/>
                <a:gd name="connsiteX150" fmla="*/ 1644259 w 3447726"/>
                <a:gd name="connsiteY150" fmla="*/ 1531386 h 2460122"/>
                <a:gd name="connsiteX151" fmla="*/ 1752209 w 3447726"/>
                <a:gd name="connsiteY151" fmla="*/ 1480586 h 2460122"/>
                <a:gd name="connsiteX152" fmla="*/ 1860159 w 3447726"/>
                <a:gd name="connsiteY152" fmla="*/ 1359936 h 2460122"/>
                <a:gd name="connsiteX153" fmla="*/ 1860159 w 3447726"/>
                <a:gd name="connsiteY153" fmla="*/ 1239286 h 2460122"/>
                <a:gd name="connsiteX154" fmla="*/ 1936359 w 3447726"/>
                <a:gd name="connsiteY154" fmla="*/ 1201186 h 2460122"/>
                <a:gd name="connsiteX155" fmla="*/ 2037959 w 3447726"/>
                <a:gd name="connsiteY155" fmla="*/ 1201186 h 2460122"/>
                <a:gd name="connsiteX156" fmla="*/ 2012559 w 3447726"/>
                <a:gd name="connsiteY156" fmla="*/ 1245636 h 2460122"/>
                <a:gd name="connsiteX157" fmla="*/ 1955409 w 3447726"/>
                <a:gd name="connsiteY157" fmla="*/ 1245636 h 2460122"/>
                <a:gd name="connsiteX158" fmla="*/ 1898259 w 3447726"/>
                <a:gd name="connsiteY158" fmla="*/ 1283736 h 2460122"/>
                <a:gd name="connsiteX159" fmla="*/ 1955409 w 3447726"/>
                <a:gd name="connsiteY159" fmla="*/ 1340886 h 2460122"/>
                <a:gd name="connsiteX160" fmla="*/ 1942709 w 3447726"/>
                <a:gd name="connsiteY160" fmla="*/ 1436136 h 2460122"/>
                <a:gd name="connsiteX161" fmla="*/ 2057009 w 3447726"/>
                <a:gd name="connsiteY161" fmla="*/ 1385336 h 2460122"/>
                <a:gd name="connsiteX162" fmla="*/ 2190359 w 3447726"/>
                <a:gd name="connsiteY162" fmla="*/ 1366286 h 2460122"/>
                <a:gd name="connsiteX163" fmla="*/ 2368159 w 3447726"/>
                <a:gd name="connsiteY163" fmla="*/ 1309136 h 2460122"/>
                <a:gd name="connsiteX164" fmla="*/ 2476109 w 3447726"/>
                <a:gd name="connsiteY164" fmla="*/ 1182136 h 2460122"/>
                <a:gd name="connsiteX165" fmla="*/ 2558659 w 3447726"/>
                <a:gd name="connsiteY165" fmla="*/ 1137686 h 2460122"/>
                <a:gd name="connsiteX166" fmla="*/ 2622159 w 3447726"/>
                <a:gd name="connsiteY166" fmla="*/ 1131336 h 2460122"/>
                <a:gd name="connsiteX167" fmla="*/ 2711059 w 3447726"/>
                <a:gd name="connsiteY167" fmla="*/ 978936 h 2460122"/>
                <a:gd name="connsiteX168" fmla="*/ 2806309 w 3447726"/>
                <a:gd name="connsiteY168" fmla="*/ 883686 h 2460122"/>
                <a:gd name="connsiteX169" fmla="*/ 2857109 w 3447726"/>
                <a:gd name="connsiteY169" fmla="*/ 750336 h 2460122"/>
                <a:gd name="connsiteX170" fmla="*/ 2907909 w 3447726"/>
                <a:gd name="connsiteY170" fmla="*/ 642386 h 2460122"/>
                <a:gd name="connsiteX171" fmla="*/ 2920609 w 3447726"/>
                <a:gd name="connsiteY171" fmla="*/ 521736 h 2460122"/>
                <a:gd name="connsiteX172" fmla="*/ 2806309 w 3447726"/>
                <a:gd name="connsiteY172" fmla="*/ 483636 h 2460122"/>
                <a:gd name="connsiteX173" fmla="*/ 2901559 w 3447726"/>
                <a:gd name="connsiteY173" fmla="*/ 458236 h 2460122"/>
                <a:gd name="connsiteX174" fmla="*/ 2946009 w 3447726"/>
                <a:gd name="connsiteY174" fmla="*/ 401086 h 2460122"/>
                <a:gd name="connsiteX175" fmla="*/ 2946009 w 3447726"/>
                <a:gd name="connsiteY175" fmla="*/ 229636 h 2460122"/>
                <a:gd name="connsiteX176" fmla="*/ 3028559 w 3447726"/>
                <a:gd name="connsiteY176" fmla="*/ 210586 h 2460122"/>
                <a:gd name="connsiteX177" fmla="*/ 3060309 w 3447726"/>
                <a:gd name="connsiteY177" fmla="*/ 172486 h 2460122"/>
                <a:gd name="connsiteX178" fmla="*/ 3104759 w 3447726"/>
                <a:gd name="connsiteY178" fmla="*/ 115336 h 2460122"/>
                <a:gd name="connsiteX179" fmla="*/ 3111109 w 3447726"/>
                <a:gd name="connsiteY179" fmla="*/ 70886 h 2460122"/>
                <a:gd name="connsiteX180" fmla="*/ 3155559 w 3447726"/>
                <a:gd name="connsiteY180" fmla="*/ 77236 h 2460122"/>
                <a:gd name="connsiteX181" fmla="*/ 3142859 w 3447726"/>
                <a:gd name="connsiteY181" fmla="*/ 191536 h 2460122"/>
                <a:gd name="connsiteX182" fmla="*/ 3206359 w 3447726"/>
                <a:gd name="connsiteY182" fmla="*/ 242336 h 2460122"/>
                <a:gd name="connsiteX183" fmla="*/ 3301609 w 3447726"/>
                <a:gd name="connsiteY183" fmla="*/ 216936 h 246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447726" h="2460122">
                  <a:moveTo>
                    <a:pt x="3301609" y="216936"/>
                  </a:moveTo>
                  <a:cubicBezTo>
                    <a:pt x="3322776" y="201061"/>
                    <a:pt x="3327009" y="165078"/>
                    <a:pt x="3333359" y="147086"/>
                  </a:cubicBezTo>
                  <a:cubicBezTo>
                    <a:pt x="3339709" y="129094"/>
                    <a:pt x="3343942" y="114278"/>
                    <a:pt x="3339709" y="108986"/>
                  </a:cubicBezTo>
                  <a:cubicBezTo>
                    <a:pt x="3335476" y="103694"/>
                    <a:pt x="3317484" y="111103"/>
                    <a:pt x="3307959" y="115336"/>
                  </a:cubicBezTo>
                  <a:cubicBezTo>
                    <a:pt x="3298434" y="119569"/>
                    <a:pt x="3296317" y="133328"/>
                    <a:pt x="3282559" y="134386"/>
                  </a:cubicBezTo>
                  <a:cubicBezTo>
                    <a:pt x="3268801" y="135444"/>
                    <a:pt x="3237051" y="129094"/>
                    <a:pt x="3225409" y="121686"/>
                  </a:cubicBezTo>
                  <a:cubicBezTo>
                    <a:pt x="3213767" y="114278"/>
                    <a:pt x="3210592" y="96286"/>
                    <a:pt x="3212709" y="89936"/>
                  </a:cubicBezTo>
                  <a:cubicBezTo>
                    <a:pt x="3214826" y="83586"/>
                    <a:pt x="3234934" y="93111"/>
                    <a:pt x="3238109" y="83586"/>
                  </a:cubicBezTo>
                  <a:cubicBezTo>
                    <a:pt x="3241284" y="74061"/>
                    <a:pt x="3223292" y="46544"/>
                    <a:pt x="3231759" y="32786"/>
                  </a:cubicBezTo>
                  <a:cubicBezTo>
                    <a:pt x="3240226" y="19028"/>
                    <a:pt x="3269859" y="-5314"/>
                    <a:pt x="3288909" y="1036"/>
                  </a:cubicBezTo>
                  <a:cubicBezTo>
                    <a:pt x="3307959" y="7386"/>
                    <a:pt x="3324892" y="61361"/>
                    <a:pt x="3346059" y="70886"/>
                  </a:cubicBezTo>
                  <a:cubicBezTo>
                    <a:pt x="3367226" y="80411"/>
                    <a:pt x="3409559" y="46544"/>
                    <a:pt x="3415909" y="58186"/>
                  </a:cubicBezTo>
                  <a:cubicBezTo>
                    <a:pt x="3422259" y="69828"/>
                    <a:pt x="3391567" y="113219"/>
                    <a:pt x="3384159" y="140736"/>
                  </a:cubicBezTo>
                  <a:cubicBezTo>
                    <a:pt x="3376751" y="168253"/>
                    <a:pt x="3370401" y="203178"/>
                    <a:pt x="3371459" y="223286"/>
                  </a:cubicBezTo>
                  <a:cubicBezTo>
                    <a:pt x="3372517" y="243394"/>
                    <a:pt x="3392626" y="249744"/>
                    <a:pt x="3390509" y="261386"/>
                  </a:cubicBezTo>
                  <a:cubicBezTo>
                    <a:pt x="3388392" y="273028"/>
                    <a:pt x="3357701" y="273028"/>
                    <a:pt x="3358759" y="293136"/>
                  </a:cubicBezTo>
                  <a:cubicBezTo>
                    <a:pt x="3359817" y="313244"/>
                    <a:pt x="3384159" y="349228"/>
                    <a:pt x="3396859" y="382036"/>
                  </a:cubicBezTo>
                  <a:cubicBezTo>
                    <a:pt x="3409559" y="414844"/>
                    <a:pt x="3428609" y="457178"/>
                    <a:pt x="3434959" y="489986"/>
                  </a:cubicBezTo>
                  <a:cubicBezTo>
                    <a:pt x="3441309" y="522794"/>
                    <a:pt x="3432842" y="548194"/>
                    <a:pt x="3434959" y="578886"/>
                  </a:cubicBezTo>
                  <a:cubicBezTo>
                    <a:pt x="3437076" y="609578"/>
                    <a:pt x="3448717" y="645561"/>
                    <a:pt x="3447659" y="674136"/>
                  </a:cubicBezTo>
                  <a:cubicBezTo>
                    <a:pt x="3446601" y="702711"/>
                    <a:pt x="3442367" y="716469"/>
                    <a:pt x="3428609" y="750336"/>
                  </a:cubicBezTo>
                  <a:cubicBezTo>
                    <a:pt x="3414851" y="784203"/>
                    <a:pt x="3383101" y="850878"/>
                    <a:pt x="3365109" y="877336"/>
                  </a:cubicBezTo>
                  <a:cubicBezTo>
                    <a:pt x="3347117" y="903794"/>
                    <a:pt x="3340767" y="883686"/>
                    <a:pt x="3320659" y="909086"/>
                  </a:cubicBezTo>
                  <a:cubicBezTo>
                    <a:pt x="3300551" y="934486"/>
                    <a:pt x="3259276" y="1000103"/>
                    <a:pt x="3244459" y="1029736"/>
                  </a:cubicBezTo>
                  <a:cubicBezTo>
                    <a:pt x="3229642" y="1059369"/>
                    <a:pt x="3238109" y="1071011"/>
                    <a:pt x="3231759" y="1086886"/>
                  </a:cubicBezTo>
                  <a:cubicBezTo>
                    <a:pt x="3225409" y="1102761"/>
                    <a:pt x="3213767" y="1123928"/>
                    <a:pt x="3206359" y="1124986"/>
                  </a:cubicBezTo>
                  <a:cubicBezTo>
                    <a:pt x="3198951" y="1126044"/>
                    <a:pt x="3211651" y="1089003"/>
                    <a:pt x="3187309" y="1093236"/>
                  </a:cubicBezTo>
                  <a:cubicBezTo>
                    <a:pt x="3162967" y="1097469"/>
                    <a:pt x="3081476" y="1115461"/>
                    <a:pt x="3060309" y="1150386"/>
                  </a:cubicBezTo>
                  <a:cubicBezTo>
                    <a:pt x="3039142" y="1185311"/>
                    <a:pt x="3060309" y="1302786"/>
                    <a:pt x="3060309" y="1302786"/>
                  </a:cubicBezTo>
                  <a:cubicBezTo>
                    <a:pt x="3060309" y="1339828"/>
                    <a:pt x="3065601" y="1337711"/>
                    <a:pt x="3060309" y="1372636"/>
                  </a:cubicBezTo>
                  <a:cubicBezTo>
                    <a:pt x="3055017" y="1407561"/>
                    <a:pt x="3048667" y="1476353"/>
                    <a:pt x="3028559" y="1512336"/>
                  </a:cubicBezTo>
                  <a:cubicBezTo>
                    <a:pt x="3008451" y="1548319"/>
                    <a:pt x="2962942" y="1559961"/>
                    <a:pt x="2939659" y="1588536"/>
                  </a:cubicBezTo>
                  <a:cubicBezTo>
                    <a:pt x="2916376" y="1617111"/>
                    <a:pt x="2900501" y="1650978"/>
                    <a:pt x="2888859" y="1683786"/>
                  </a:cubicBezTo>
                  <a:cubicBezTo>
                    <a:pt x="2877217" y="1716594"/>
                    <a:pt x="2872984" y="1746228"/>
                    <a:pt x="2869809" y="1785386"/>
                  </a:cubicBezTo>
                  <a:cubicBezTo>
                    <a:pt x="2866634" y="1824544"/>
                    <a:pt x="2863459" y="1883811"/>
                    <a:pt x="2869809" y="1918736"/>
                  </a:cubicBezTo>
                  <a:cubicBezTo>
                    <a:pt x="2876159" y="1953661"/>
                    <a:pt x="2907909" y="1982236"/>
                    <a:pt x="2907909" y="1994936"/>
                  </a:cubicBezTo>
                  <a:cubicBezTo>
                    <a:pt x="2907909" y="2007636"/>
                    <a:pt x="2894151" y="1983294"/>
                    <a:pt x="2869809" y="1994936"/>
                  </a:cubicBezTo>
                  <a:cubicBezTo>
                    <a:pt x="2845467" y="2006578"/>
                    <a:pt x="2788317" y="2035153"/>
                    <a:pt x="2761859" y="2064786"/>
                  </a:cubicBezTo>
                  <a:cubicBezTo>
                    <a:pt x="2735401" y="2094419"/>
                    <a:pt x="2737517" y="2150511"/>
                    <a:pt x="2711059" y="2172736"/>
                  </a:cubicBezTo>
                  <a:cubicBezTo>
                    <a:pt x="2684601" y="2194961"/>
                    <a:pt x="2629567" y="2186494"/>
                    <a:pt x="2603109" y="2198136"/>
                  </a:cubicBezTo>
                  <a:cubicBezTo>
                    <a:pt x="2576651" y="2209778"/>
                    <a:pt x="2557601" y="2248936"/>
                    <a:pt x="2552309" y="2242586"/>
                  </a:cubicBezTo>
                  <a:cubicBezTo>
                    <a:pt x="2547017" y="2236236"/>
                    <a:pt x="2560776" y="2189669"/>
                    <a:pt x="2571359" y="2160036"/>
                  </a:cubicBezTo>
                  <a:cubicBezTo>
                    <a:pt x="2581942" y="2130403"/>
                    <a:pt x="2597817" y="2091244"/>
                    <a:pt x="2615809" y="2064786"/>
                  </a:cubicBezTo>
                  <a:cubicBezTo>
                    <a:pt x="2633801" y="2038328"/>
                    <a:pt x="2672959" y="2018219"/>
                    <a:pt x="2679309" y="2001286"/>
                  </a:cubicBezTo>
                  <a:cubicBezTo>
                    <a:pt x="2685659" y="1984353"/>
                    <a:pt x="2666609" y="1967419"/>
                    <a:pt x="2653909" y="1963186"/>
                  </a:cubicBezTo>
                  <a:cubicBezTo>
                    <a:pt x="2641209" y="1958953"/>
                    <a:pt x="2615809" y="1968478"/>
                    <a:pt x="2603109" y="1975886"/>
                  </a:cubicBezTo>
                  <a:cubicBezTo>
                    <a:pt x="2590409" y="1983294"/>
                    <a:pt x="2589351" y="1992820"/>
                    <a:pt x="2577709" y="2007636"/>
                  </a:cubicBezTo>
                  <a:cubicBezTo>
                    <a:pt x="2566067" y="2022452"/>
                    <a:pt x="2537492" y="2043619"/>
                    <a:pt x="2533259" y="2064786"/>
                  </a:cubicBezTo>
                  <a:cubicBezTo>
                    <a:pt x="2529026" y="2085953"/>
                    <a:pt x="2559717" y="2125111"/>
                    <a:pt x="2552309" y="2134636"/>
                  </a:cubicBezTo>
                  <a:cubicBezTo>
                    <a:pt x="2544901" y="2144161"/>
                    <a:pt x="2497276" y="2133578"/>
                    <a:pt x="2488809" y="2121936"/>
                  </a:cubicBezTo>
                  <a:cubicBezTo>
                    <a:pt x="2480342" y="2110294"/>
                    <a:pt x="2512092" y="2074311"/>
                    <a:pt x="2501509" y="2064786"/>
                  </a:cubicBezTo>
                  <a:cubicBezTo>
                    <a:pt x="2490926" y="2055261"/>
                    <a:pt x="2446475" y="2059494"/>
                    <a:pt x="2425309" y="2064786"/>
                  </a:cubicBezTo>
                  <a:cubicBezTo>
                    <a:pt x="2404143" y="2070078"/>
                    <a:pt x="2388267" y="2070078"/>
                    <a:pt x="2374509" y="2096536"/>
                  </a:cubicBezTo>
                  <a:cubicBezTo>
                    <a:pt x="2360751" y="2122994"/>
                    <a:pt x="2356517" y="2193903"/>
                    <a:pt x="2342759" y="2223536"/>
                  </a:cubicBezTo>
                  <a:cubicBezTo>
                    <a:pt x="2329001" y="2253169"/>
                    <a:pt x="2306776" y="2270103"/>
                    <a:pt x="2291959" y="2274336"/>
                  </a:cubicBezTo>
                  <a:cubicBezTo>
                    <a:pt x="2277142" y="2278569"/>
                    <a:pt x="2260209" y="2264811"/>
                    <a:pt x="2253859" y="2248936"/>
                  </a:cubicBezTo>
                  <a:cubicBezTo>
                    <a:pt x="2247509" y="2233061"/>
                    <a:pt x="2246451" y="2202369"/>
                    <a:pt x="2253859" y="2179086"/>
                  </a:cubicBezTo>
                  <a:cubicBezTo>
                    <a:pt x="2261267" y="2155803"/>
                    <a:pt x="2301484" y="2126169"/>
                    <a:pt x="2298309" y="2109236"/>
                  </a:cubicBezTo>
                  <a:cubicBezTo>
                    <a:pt x="2295134" y="2092303"/>
                    <a:pt x="2257034" y="2073253"/>
                    <a:pt x="2234809" y="2077486"/>
                  </a:cubicBezTo>
                  <a:cubicBezTo>
                    <a:pt x="2212584" y="2081719"/>
                    <a:pt x="2186126" y="2121936"/>
                    <a:pt x="2164959" y="2134636"/>
                  </a:cubicBezTo>
                  <a:cubicBezTo>
                    <a:pt x="2143792" y="2147336"/>
                    <a:pt x="2124742" y="2135694"/>
                    <a:pt x="2107809" y="2153686"/>
                  </a:cubicBezTo>
                  <a:cubicBezTo>
                    <a:pt x="2090876" y="2171678"/>
                    <a:pt x="2081351" y="2236236"/>
                    <a:pt x="2063359" y="2242586"/>
                  </a:cubicBezTo>
                  <a:cubicBezTo>
                    <a:pt x="2045367" y="2248936"/>
                    <a:pt x="2026317" y="2204486"/>
                    <a:pt x="1999859" y="2191786"/>
                  </a:cubicBezTo>
                  <a:cubicBezTo>
                    <a:pt x="1973401" y="2179086"/>
                    <a:pt x="1944826" y="2168503"/>
                    <a:pt x="1904609" y="2166386"/>
                  </a:cubicBezTo>
                  <a:cubicBezTo>
                    <a:pt x="1864392" y="2164269"/>
                    <a:pt x="1774434" y="2183319"/>
                    <a:pt x="1758559" y="2179086"/>
                  </a:cubicBezTo>
                  <a:cubicBezTo>
                    <a:pt x="1742684" y="2174853"/>
                    <a:pt x="1794542" y="2148394"/>
                    <a:pt x="1809359" y="2140986"/>
                  </a:cubicBezTo>
                  <a:cubicBezTo>
                    <a:pt x="1824176" y="2133578"/>
                    <a:pt x="1847459" y="2142044"/>
                    <a:pt x="1847459" y="2134636"/>
                  </a:cubicBezTo>
                  <a:cubicBezTo>
                    <a:pt x="1847459" y="2127228"/>
                    <a:pt x="1821001" y="2100769"/>
                    <a:pt x="1809359" y="2096536"/>
                  </a:cubicBezTo>
                  <a:cubicBezTo>
                    <a:pt x="1797717" y="2092303"/>
                    <a:pt x="1783959" y="2114528"/>
                    <a:pt x="1777609" y="2109236"/>
                  </a:cubicBezTo>
                  <a:cubicBezTo>
                    <a:pt x="1771259" y="2103944"/>
                    <a:pt x="1779726" y="2063728"/>
                    <a:pt x="1771259" y="2064786"/>
                  </a:cubicBezTo>
                  <a:cubicBezTo>
                    <a:pt x="1762792" y="2065844"/>
                    <a:pt x="1736334" y="2119819"/>
                    <a:pt x="1726809" y="2115586"/>
                  </a:cubicBezTo>
                  <a:cubicBezTo>
                    <a:pt x="1717284" y="2111353"/>
                    <a:pt x="1707759" y="2060553"/>
                    <a:pt x="1714109" y="2039386"/>
                  </a:cubicBezTo>
                  <a:cubicBezTo>
                    <a:pt x="1720459" y="2018219"/>
                    <a:pt x="1762792" y="2001286"/>
                    <a:pt x="1764909" y="1988586"/>
                  </a:cubicBezTo>
                  <a:cubicBezTo>
                    <a:pt x="1767026" y="1975886"/>
                    <a:pt x="1745859" y="1951544"/>
                    <a:pt x="1726809" y="1963186"/>
                  </a:cubicBezTo>
                  <a:cubicBezTo>
                    <a:pt x="1707759" y="1974828"/>
                    <a:pt x="1666484" y="2026686"/>
                    <a:pt x="1650609" y="2058436"/>
                  </a:cubicBezTo>
                  <a:cubicBezTo>
                    <a:pt x="1634734" y="2090186"/>
                    <a:pt x="1624151" y="2130403"/>
                    <a:pt x="1631559" y="2153686"/>
                  </a:cubicBezTo>
                  <a:cubicBezTo>
                    <a:pt x="1638967" y="2176969"/>
                    <a:pt x="1683417" y="2182261"/>
                    <a:pt x="1695059" y="2198136"/>
                  </a:cubicBezTo>
                  <a:cubicBezTo>
                    <a:pt x="1706701" y="2214011"/>
                    <a:pt x="1701409" y="2236236"/>
                    <a:pt x="1701409" y="2248936"/>
                  </a:cubicBezTo>
                  <a:cubicBezTo>
                    <a:pt x="1701409" y="2261636"/>
                    <a:pt x="1702467" y="2276453"/>
                    <a:pt x="1695059" y="2274336"/>
                  </a:cubicBezTo>
                  <a:cubicBezTo>
                    <a:pt x="1687651" y="2272219"/>
                    <a:pt x="1674951" y="2239411"/>
                    <a:pt x="1656959" y="2236236"/>
                  </a:cubicBezTo>
                  <a:cubicBezTo>
                    <a:pt x="1638967" y="2233061"/>
                    <a:pt x="1612509" y="2247878"/>
                    <a:pt x="1587109" y="2255286"/>
                  </a:cubicBezTo>
                  <a:cubicBezTo>
                    <a:pt x="1561709" y="2262694"/>
                    <a:pt x="1520434" y="2267986"/>
                    <a:pt x="1504559" y="2280686"/>
                  </a:cubicBezTo>
                  <a:cubicBezTo>
                    <a:pt x="1488684" y="2293386"/>
                    <a:pt x="1507734" y="2315611"/>
                    <a:pt x="1491859" y="2331486"/>
                  </a:cubicBezTo>
                  <a:cubicBezTo>
                    <a:pt x="1475984" y="2347361"/>
                    <a:pt x="1434709" y="2354769"/>
                    <a:pt x="1409309" y="2375936"/>
                  </a:cubicBezTo>
                  <a:cubicBezTo>
                    <a:pt x="1383909" y="2397103"/>
                    <a:pt x="1362742" y="2450019"/>
                    <a:pt x="1339459" y="2458486"/>
                  </a:cubicBezTo>
                  <a:cubicBezTo>
                    <a:pt x="1316176" y="2466953"/>
                    <a:pt x="1289717" y="2440494"/>
                    <a:pt x="1269609" y="2426736"/>
                  </a:cubicBezTo>
                  <a:cubicBezTo>
                    <a:pt x="1249501" y="2412978"/>
                    <a:pt x="1236801" y="2396044"/>
                    <a:pt x="1218809" y="2375936"/>
                  </a:cubicBezTo>
                  <a:cubicBezTo>
                    <a:pt x="1200817" y="2355828"/>
                    <a:pt x="1165892" y="2327253"/>
                    <a:pt x="1161659" y="2306086"/>
                  </a:cubicBezTo>
                  <a:cubicBezTo>
                    <a:pt x="1157426" y="2284919"/>
                    <a:pt x="1190234" y="2262694"/>
                    <a:pt x="1193409" y="2248936"/>
                  </a:cubicBezTo>
                  <a:cubicBezTo>
                    <a:pt x="1196584" y="2235178"/>
                    <a:pt x="1177534" y="2234119"/>
                    <a:pt x="1180709" y="2223536"/>
                  </a:cubicBezTo>
                  <a:cubicBezTo>
                    <a:pt x="1183884" y="2212953"/>
                    <a:pt x="1211401" y="2200253"/>
                    <a:pt x="1212459" y="2185436"/>
                  </a:cubicBezTo>
                  <a:cubicBezTo>
                    <a:pt x="1213517" y="2170619"/>
                    <a:pt x="1171184" y="2151569"/>
                    <a:pt x="1187059" y="2134636"/>
                  </a:cubicBezTo>
                  <a:cubicBezTo>
                    <a:pt x="1202934" y="2117703"/>
                    <a:pt x="1286542" y="2101828"/>
                    <a:pt x="1307709" y="2083836"/>
                  </a:cubicBezTo>
                  <a:cubicBezTo>
                    <a:pt x="1328876" y="2065844"/>
                    <a:pt x="1327817" y="2034094"/>
                    <a:pt x="1314059" y="2026686"/>
                  </a:cubicBezTo>
                  <a:cubicBezTo>
                    <a:pt x="1300301" y="2019278"/>
                    <a:pt x="1252676" y="2029861"/>
                    <a:pt x="1225159" y="2039386"/>
                  </a:cubicBezTo>
                  <a:cubicBezTo>
                    <a:pt x="1197642" y="2048911"/>
                    <a:pt x="1159542" y="2064786"/>
                    <a:pt x="1148959" y="2083836"/>
                  </a:cubicBezTo>
                  <a:cubicBezTo>
                    <a:pt x="1138376" y="2102886"/>
                    <a:pt x="1168009" y="2143103"/>
                    <a:pt x="1161659" y="2153686"/>
                  </a:cubicBezTo>
                  <a:cubicBezTo>
                    <a:pt x="1155309" y="2164269"/>
                    <a:pt x="1123559" y="2157919"/>
                    <a:pt x="1110859" y="2147336"/>
                  </a:cubicBezTo>
                  <a:cubicBezTo>
                    <a:pt x="1098159" y="2136753"/>
                    <a:pt x="1073817" y="2110294"/>
                    <a:pt x="1085459" y="2090186"/>
                  </a:cubicBezTo>
                  <a:cubicBezTo>
                    <a:pt x="1097101" y="2070078"/>
                    <a:pt x="1169067" y="2043619"/>
                    <a:pt x="1180709" y="2026686"/>
                  </a:cubicBezTo>
                  <a:cubicBezTo>
                    <a:pt x="1192351" y="2009753"/>
                    <a:pt x="1183884" y="2001286"/>
                    <a:pt x="1155309" y="1988586"/>
                  </a:cubicBezTo>
                  <a:cubicBezTo>
                    <a:pt x="1126734" y="1975886"/>
                    <a:pt x="1055826" y="1950486"/>
                    <a:pt x="1009259" y="1950486"/>
                  </a:cubicBezTo>
                  <a:cubicBezTo>
                    <a:pt x="962692" y="1950486"/>
                    <a:pt x="905542" y="1978003"/>
                    <a:pt x="875909" y="1988586"/>
                  </a:cubicBezTo>
                  <a:cubicBezTo>
                    <a:pt x="846276" y="1999169"/>
                    <a:pt x="847334" y="2019278"/>
                    <a:pt x="831459" y="2013986"/>
                  </a:cubicBezTo>
                  <a:cubicBezTo>
                    <a:pt x="815584" y="2008694"/>
                    <a:pt x="799709" y="1957894"/>
                    <a:pt x="780659" y="1956836"/>
                  </a:cubicBezTo>
                  <a:cubicBezTo>
                    <a:pt x="761609" y="1955778"/>
                    <a:pt x="738326" y="1999169"/>
                    <a:pt x="717159" y="2007636"/>
                  </a:cubicBezTo>
                  <a:cubicBezTo>
                    <a:pt x="695992" y="2016103"/>
                    <a:pt x="665301" y="2012928"/>
                    <a:pt x="653659" y="2007636"/>
                  </a:cubicBezTo>
                  <a:cubicBezTo>
                    <a:pt x="642017" y="2002344"/>
                    <a:pt x="663184" y="1979061"/>
                    <a:pt x="647309" y="1975886"/>
                  </a:cubicBezTo>
                  <a:cubicBezTo>
                    <a:pt x="631434" y="1972711"/>
                    <a:pt x="579576" y="1984353"/>
                    <a:pt x="558409" y="1988586"/>
                  </a:cubicBezTo>
                  <a:cubicBezTo>
                    <a:pt x="537242" y="1992819"/>
                    <a:pt x="535126" y="2002344"/>
                    <a:pt x="520309" y="2001286"/>
                  </a:cubicBezTo>
                  <a:cubicBezTo>
                    <a:pt x="505492" y="2000228"/>
                    <a:pt x="474801" y="1989644"/>
                    <a:pt x="469509" y="1982236"/>
                  </a:cubicBezTo>
                  <a:cubicBezTo>
                    <a:pt x="464217" y="1974828"/>
                    <a:pt x="492792" y="1966361"/>
                    <a:pt x="488559" y="1956836"/>
                  </a:cubicBezTo>
                  <a:cubicBezTo>
                    <a:pt x="484326" y="1947311"/>
                    <a:pt x="461042" y="1927203"/>
                    <a:pt x="444109" y="1925086"/>
                  </a:cubicBezTo>
                  <a:cubicBezTo>
                    <a:pt x="427176" y="1922969"/>
                    <a:pt x="395426" y="1930378"/>
                    <a:pt x="386959" y="1944136"/>
                  </a:cubicBezTo>
                  <a:cubicBezTo>
                    <a:pt x="378492" y="1957894"/>
                    <a:pt x="403892" y="1989644"/>
                    <a:pt x="393309" y="2007636"/>
                  </a:cubicBezTo>
                  <a:cubicBezTo>
                    <a:pt x="382726" y="2025628"/>
                    <a:pt x="332984" y="2037269"/>
                    <a:pt x="323459" y="2052086"/>
                  </a:cubicBezTo>
                  <a:cubicBezTo>
                    <a:pt x="313934" y="2066903"/>
                    <a:pt x="340392" y="2095478"/>
                    <a:pt x="336159" y="2096536"/>
                  </a:cubicBezTo>
                  <a:cubicBezTo>
                    <a:pt x="331926" y="2097594"/>
                    <a:pt x="318167" y="2077486"/>
                    <a:pt x="298059" y="2058436"/>
                  </a:cubicBezTo>
                  <a:cubicBezTo>
                    <a:pt x="277951" y="2039386"/>
                    <a:pt x="241967" y="1990703"/>
                    <a:pt x="215509" y="1982236"/>
                  </a:cubicBezTo>
                  <a:cubicBezTo>
                    <a:pt x="189051" y="1973769"/>
                    <a:pt x="158359" y="2007636"/>
                    <a:pt x="139309" y="2007636"/>
                  </a:cubicBezTo>
                  <a:cubicBezTo>
                    <a:pt x="120259" y="2007636"/>
                    <a:pt x="116026" y="1988586"/>
                    <a:pt x="101209" y="1982236"/>
                  </a:cubicBezTo>
                  <a:cubicBezTo>
                    <a:pt x="86392" y="1975886"/>
                    <a:pt x="58876" y="1981178"/>
                    <a:pt x="50409" y="1969536"/>
                  </a:cubicBezTo>
                  <a:cubicBezTo>
                    <a:pt x="41942" y="1957894"/>
                    <a:pt x="57817" y="1913444"/>
                    <a:pt x="50409" y="1912386"/>
                  </a:cubicBezTo>
                  <a:cubicBezTo>
                    <a:pt x="43001" y="1911328"/>
                    <a:pt x="13367" y="1969536"/>
                    <a:pt x="5959" y="1963186"/>
                  </a:cubicBezTo>
                  <a:cubicBezTo>
                    <a:pt x="-1449" y="1956836"/>
                    <a:pt x="-2508" y="1898628"/>
                    <a:pt x="5959" y="1874286"/>
                  </a:cubicBezTo>
                  <a:cubicBezTo>
                    <a:pt x="14426" y="1849944"/>
                    <a:pt x="41942" y="1820311"/>
                    <a:pt x="56759" y="1817136"/>
                  </a:cubicBezTo>
                  <a:cubicBezTo>
                    <a:pt x="71576" y="1813961"/>
                    <a:pt x="80042" y="1856294"/>
                    <a:pt x="94859" y="1855236"/>
                  </a:cubicBezTo>
                  <a:cubicBezTo>
                    <a:pt x="109676" y="1854178"/>
                    <a:pt x="121317" y="1825603"/>
                    <a:pt x="145659" y="1810786"/>
                  </a:cubicBezTo>
                  <a:cubicBezTo>
                    <a:pt x="170001" y="1795969"/>
                    <a:pt x="208101" y="1768453"/>
                    <a:pt x="240909" y="1766336"/>
                  </a:cubicBezTo>
                  <a:cubicBezTo>
                    <a:pt x="273717" y="1764219"/>
                    <a:pt x="288534" y="1821369"/>
                    <a:pt x="342509" y="1798086"/>
                  </a:cubicBezTo>
                  <a:cubicBezTo>
                    <a:pt x="396484" y="1774803"/>
                    <a:pt x="517134" y="1662619"/>
                    <a:pt x="564759" y="1626636"/>
                  </a:cubicBezTo>
                  <a:cubicBezTo>
                    <a:pt x="612384" y="1590653"/>
                    <a:pt x="604976" y="1589594"/>
                    <a:pt x="628259" y="1582186"/>
                  </a:cubicBezTo>
                  <a:cubicBezTo>
                    <a:pt x="651542" y="1574778"/>
                    <a:pt x="682234" y="1584303"/>
                    <a:pt x="704459" y="1582186"/>
                  </a:cubicBezTo>
                  <a:cubicBezTo>
                    <a:pt x="726684" y="1580069"/>
                    <a:pt x="744676" y="1557844"/>
                    <a:pt x="761609" y="1569486"/>
                  </a:cubicBezTo>
                  <a:cubicBezTo>
                    <a:pt x="778542" y="1581128"/>
                    <a:pt x="782776" y="1644628"/>
                    <a:pt x="806059" y="1652036"/>
                  </a:cubicBezTo>
                  <a:cubicBezTo>
                    <a:pt x="829342" y="1659444"/>
                    <a:pt x="863209" y="1610761"/>
                    <a:pt x="901309" y="1613936"/>
                  </a:cubicBezTo>
                  <a:cubicBezTo>
                    <a:pt x="939409" y="1617111"/>
                    <a:pt x="1001851" y="1670028"/>
                    <a:pt x="1034659" y="1671086"/>
                  </a:cubicBezTo>
                  <a:cubicBezTo>
                    <a:pt x="1067467" y="1672144"/>
                    <a:pt x="1083342" y="1625578"/>
                    <a:pt x="1098159" y="1620286"/>
                  </a:cubicBezTo>
                  <a:cubicBezTo>
                    <a:pt x="1112976" y="1614994"/>
                    <a:pt x="1109801" y="1638278"/>
                    <a:pt x="1123559" y="1639336"/>
                  </a:cubicBezTo>
                  <a:cubicBezTo>
                    <a:pt x="1137317" y="1640394"/>
                    <a:pt x="1151076" y="1624519"/>
                    <a:pt x="1180709" y="1626636"/>
                  </a:cubicBezTo>
                  <a:cubicBezTo>
                    <a:pt x="1210342" y="1628753"/>
                    <a:pt x="1275959" y="1647803"/>
                    <a:pt x="1301359" y="1652036"/>
                  </a:cubicBezTo>
                  <a:cubicBezTo>
                    <a:pt x="1326759" y="1656269"/>
                    <a:pt x="1326759" y="1639336"/>
                    <a:pt x="1333109" y="1652036"/>
                  </a:cubicBezTo>
                  <a:cubicBezTo>
                    <a:pt x="1339459" y="1664736"/>
                    <a:pt x="1330992" y="1715536"/>
                    <a:pt x="1339459" y="1728236"/>
                  </a:cubicBezTo>
                  <a:cubicBezTo>
                    <a:pt x="1347926" y="1740936"/>
                    <a:pt x="1373326" y="1720828"/>
                    <a:pt x="1383909" y="1728236"/>
                  </a:cubicBezTo>
                  <a:cubicBezTo>
                    <a:pt x="1394492" y="1735644"/>
                    <a:pt x="1386026" y="1768453"/>
                    <a:pt x="1402959" y="1772686"/>
                  </a:cubicBezTo>
                  <a:cubicBezTo>
                    <a:pt x="1419892" y="1776919"/>
                    <a:pt x="1466459" y="1761044"/>
                    <a:pt x="1485509" y="1753636"/>
                  </a:cubicBezTo>
                  <a:cubicBezTo>
                    <a:pt x="1504559" y="1746228"/>
                    <a:pt x="1507734" y="1727178"/>
                    <a:pt x="1517259" y="1728236"/>
                  </a:cubicBezTo>
                  <a:cubicBezTo>
                    <a:pt x="1526784" y="1729294"/>
                    <a:pt x="1532076" y="1757869"/>
                    <a:pt x="1542659" y="1759986"/>
                  </a:cubicBezTo>
                  <a:cubicBezTo>
                    <a:pt x="1553242" y="1762103"/>
                    <a:pt x="1574409" y="1759986"/>
                    <a:pt x="1580759" y="1740936"/>
                  </a:cubicBezTo>
                  <a:cubicBezTo>
                    <a:pt x="1587109" y="1721886"/>
                    <a:pt x="1570176" y="1680611"/>
                    <a:pt x="1580759" y="1645686"/>
                  </a:cubicBezTo>
                  <a:cubicBezTo>
                    <a:pt x="1591342" y="1610761"/>
                    <a:pt x="1615684" y="1558903"/>
                    <a:pt x="1644259" y="1531386"/>
                  </a:cubicBezTo>
                  <a:cubicBezTo>
                    <a:pt x="1672834" y="1503869"/>
                    <a:pt x="1716226" y="1509161"/>
                    <a:pt x="1752209" y="1480586"/>
                  </a:cubicBezTo>
                  <a:cubicBezTo>
                    <a:pt x="1788192" y="1452011"/>
                    <a:pt x="1842167" y="1400153"/>
                    <a:pt x="1860159" y="1359936"/>
                  </a:cubicBezTo>
                  <a:cubicBezTo>
                    <a:pt x="1878151" y="1319719"/>
                    <a:pt x="1847459" y="1265744"/>
                    <a:pt x="1860159" y="1239286"/>
                  </a:cubicBezTo>
                  <a:cubicBezTo>
                    <a:pt x="1872859" y="1212828"/>
                    <a:pt x="1906726" y="1207536"/>
                    <a:pt x="1936359" y="1201186"/>
                  </a:cubicBezTo>
                  <a:cubicBezTo>
                    <a:pt x="1965992" y="1194836"/>
                    <a:pt x="2025259" y="1193778"/>
                    <a:pt x="2037959" y="1201186"/>
                  </a:cubicBezTo>
                  <a:cubicBezTo>
                    <a:pt x="2050659" y="1208594"/>
                    <a:pt x="2026317" y="1238228"/>
                    <a:pt x="2012559" y="1245636"/>
                  </a:cubicBezTo>
                  <a:cubicBezTo>
                    <a:pt x="1998801" y="1253044"/>
                    <a:pt x="1974459" y="1239286"/>
                    <a:pt x="1955409" y="1245636"/>
                  </a:cubicBezTo>
                  <a:cubicBezTo>
                    <a:pt x="1936359" y="1251986"/>
                    <a:pt x="1898259" y="1267861"/>
                    <a:pt x="1898259" y="1283736"/>
                  </a:cubicBezTo>
                  <a:cubicBezTo>
                    <a:pt x="1898259" y="1299611"/>
                    <a:pt x="1948001" y="1315486"/>
                    <a:pt x="1955409" y="1340886"/>
                  </a:cubicBezTo>
                  <a:cubicBezTo>
                    <a:pt x="1962817" y="1366286"/>
                    <a:pt x="1925776" y="1428728"/>
                    <a:pt x="1942709" y="1436136"/>
                  </a:cubicBezTo>
                  <a:cubicBezTo>
                    <a:pt x="1959642" y="1443544"/>
                    <a:pt x="2015734" y="1396978"/>
                    <a:pt x="2057009" y="1385336"/>
                  </a:cubicBezTo>
                  <a:cubicBezTo>
                    <a:pt x="2098284" y="1373694"/>
                    <a:pt x="2138501" y="1378986"/>
                    <a:pt x="2190359" y="1366286"/>
                  </a:cubicBezTo>
                  <a:cubicBezTo>
                    <a:pt x="2242217" y="1353586"/>
                    <a:pt x="2320534" y="1339828"/>
                    <a:pt x="2368159" y="1309136"/>
                  </a:cubicBezTo>
                  <a:cubicBezTo>
                    <a:pt x="2415784" y="1278444"/>
                    <a:pt x="2444359" y="1210711"/>
                    <a:pt x="2476109" y="1182136"/>
                  </a:cubicBezTo>
                  <a:cubicBezTo>
                    <a:pt x="2507859" y="1153561"/>
                    <a:pt x="2534317" y="1146153"/>
                    <a:pt x="2558659" y="1137686"/>
                  </a:cubicBezTo>
                  <a:cubicBezTo>
                    <a:pt x="2583001" y="1129219"/>
                    <a:pt x="2596759" y="1157794"/>
                    <a:pt x="2622159" y="1131336"/>
                  </a:cubicBezTo>
                  <a:cubicBezTo>
                    <a:pt x="2647559" y="1104878"/>
                    <a:pt x="2680367" y="1020211"/>
                    <a:pt x="2711059" y="978936"/>
                  </a:cubicBezTo>
                  <a:cubicBezTo>
                    <a:pt x="2741751" y="937661"/>
                    <a:pt x="2781967" y="921786"/>
                    <a:pt x="2806309" y="883686"/>
                  </a:cubicBezTo>
                  <a:cubicBezTo>
                    <a:pt x="2830651" y="845586"/>
                    <a:pt x="2840176" y="790553"/>
                    <a:pt x="2857109" y="750336"/>
                  </a:cubicBezTo>
                  <a:cubicBezTo>
                    <a:pt x="2874042" y="710119"/>
                    <a:pt x="2897326" y="680486"/>
                    <a:pt x="2907909" y="642386"/>
                  </a:cubicBezTo>
                  <a:cubicBezTo>
                    <a:pt x="2918492" y="604286"/>
                    <a:pt x="2937542" y="548194"/>
                    <a:pt x="2920609" y="521736"/>
                  </a:cubicBezTo>
                  <a:cubicBezTo>
                    <a:pt x="2903676" y="495278"/>
                    <a:pt x="2809484" y="494219"/>
                    <a:pt x="2806309" y="483636"/>
                  </a:cubicBezTo>
                  <a:cubicBezTo>
                    <a:pt x="2803134" y="473053"/>
                    <a:pt x="2878276" y="471994"/>
                    <a:pt x="2901559" y="458236"/>
                  </a:cubicBezTo>
                  <a:cubicBezTo>
                    <a:pt x="2924842" y="444478"/>
                    <a:pt x="2938601" y="439186"/>
                    <a:pt x="2946009" y="401086"/>
                  </a:cubicBezTo>
                  <a:cubicBezTo>
                    <a:pt x="2953417" y="362986"/>
                    <a:pt x="2932251" y="261386"/>
                    <a:pt x="2946009" y="229636"/>
                  </a:cubicBezTo>
                  <a:cubicBezTo>
                    <a:pt x="2959767" y="197886"/>
                    <a:pt x="3009509" y="220111"/>
                    <a:pt x="3028559" y="210586"/>
                  </a:cubicBezTo>
                  <a:cubicBezTo>
                    <a:pt x="3047609" y="201061"/>
                    <a:pt x="3047609" y="188361"/>
                    <a:pt x="3060309" y="172486"/>
                  </a:cubicBezTo>
                  <a:cubicBezTo>
                    <a:pt x="3073009" y="156611"/>
                    <a:pt x="3096292" y="132269"/>
                    <a:pt x="3104759" y="115336"/>
                  </a:cubicBezTo>
                  <a:cubicBezTo>
                    <a:pt x="3113226" y="98403"/>
                    <a:pt x="3102642" y="77236"/>
                    <a:pt x="3111109" y="70886"/>
                  </a:cubicBezTo>
                  <a:cubicBezTo>
                    <a:pt x="3119576" y="64536"/>
                    <a:pt x="3150267" y="57128"/>
                    <a:pt x="3155559" y="77236"/>
                  </a:cubicBezTo>
                  <a:cubicBezTo>
                    <a:pt x="3160851" y="97344"/>
                    <a:pt x="3134392" y="164019"/>
                    <a:pt x="3142859" y="191536"/>
                  </a:cubicBezTo>
                  <a:cubicBezTo>
                    <a:pt x="3151326" y="219053"/>
                    <a:pt x="3186251" y="241278"/>
                    <a:pt x="3206359" y="242336"/>
                  </a:cubicBezTo>
                  <a:cubicBezTo>
                    <a:pt x="3226467" y="243394"/>
                    <a:pt x="3280442" y="232811"/>
                    <a:pt x="3301609" y="216936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2" name="任意多边形 41"/>
            <p:cNvSpPr/>
            <p:nvPr/>
          </p:nvSpPr>
          <p:spPr>
            <a:xfrm>
              <a:off x="3111500" y="3432301"/>
              <a:ext cx="819461" cy="499136"/>
            </a:xfrm>
            <a:custGeom>
              <a:avLst/>
              <a:gdLst>
                <a:gd name="connsiteX0" fmla="*/ 717550 w 819461"/>
                <a:gd name="connsiteY0" fmla="*/ 41149 h 499136"/>
                <a:gd name="connsiteX1" fmla="*/ 755650 w 819461"/>
                <a:gd name="connsiteY1" fmla="*/ 85599 h 499136"/>
                <a:gd name="connsiteX2" fmla="*/ 819150 w 819461"/>
                <a:gd name="connsiteY2" fmla="*/ 85599 h 499136"/>
                <a:gd name="connsiteX3" fmla="*/ 781050 w 819461"/>
                <a:gd name="connsiteY3" fmla="*/ 142749 h 499136"/>
                <a:gd name="connsiteX4" fmla="*/ 806450 w 819461"/>
                <a:gd name="connsiteY4" fmla="*/ 180849 h 499136"/>
                <a:gd name="connsiteX5" fmla="*/ 787400 w 819461"/>
                <a:gd name="connsiteY5" fmla="*/ 244349 h 499136"/>
                <a:gd name="connsiteX6" fmla="*/ 749300 w 819461"/>
                <a:gd name="connsiteY6" fmla="*/ 269749 h 499136"/>
                <a:gd name="connsiteX7" fmla="*/ 673100 w 819461"/>
                <a:gd name="connsiteY7" fmla="*/ 320549 h 499136"/>
                <a:gd name="connsiteX8" fmla="*/ 603250 w 819461"/>
                <a:gd name="connsiteY8" fmla="*/ 409449 h 499136"/>
                <a:gd name="connsiteX9" fmla="*/ 558800 w 819461"/>
                <a:gd name="connsiteY9" fmla="*/ 320549 h 499136"/>
                <a:gd name="connsiteX10" fmla="*/ 495300 w 819461"/>
                <a:gd name="connsiteY10" fmla="*/ 282449 h 499136"/>
                <a:gd name="connsiteX11" fmla="*/ 431800 w 819461"/>
                <a:gd name="connsiteY11" fmla="*/ 282449 h 499136"/>
                <a:gd name="connsiteX12" fmla="*/ 381000 w 819461"/>
                <a:gd name="connsiteY12" fmla="*/ 282449 h 499136"/>
                <a:gd name="connsiteX13" fmla="*/ 349250 w 819461"/>
                <a:gd name="connsiteY13" fmla="*/ 326899 h 499136"/>
                <a:gd name="connsiteX14" fmla="*/ 285750 w 819461"/>
                <a:gd name="connsiteY14" fmla="*/ 371349 h 499136"/>
                <a:gd name="connsiteX15" fmla="*/ 260350 w 819461"/>
                <a:gd name="connsiteY15" fmla="*/ 403099 h 499136"/>
                <a:gd name="connsiteX16" fmla="*/ 254000 w 819461"/>
                <a:gd name="connsiteY16" fmla="*/ 441199 h 499136"/>
                <a:gd name="connsiteX17" fmla="*/ 203200 w 819461"/>
                <a:gd name="connsiteY17" fmla="*/ 453899 h 499136"/>
                <a:gd name="connsiteX18" fmla="*/ 222250 w 819461"/>
                <a:gd name="connsiteY18" fmla="*/ 498349 h 499136"/>
                <a:gd name="connsiteX19" fmla="*/ 171450 w 819461"/>
                <a:gd name="connsiteY19" fmla="*/ 479299 h 499136"/>
                <a:gd name="connsiteX20" fmla="*/ 139700 w 819461"/>
                <a:gd name="connsiteY20" fmla="*/ 441199 h 499136"/>
                <a:gd name="connsiteX21" fmla="*/ 146050 w 819461"/>
                <a:gd name="connsiteY21" fmla="*/ 409449 h 499136"/>
                <a:gd name="connsiteX22" fmla="*/ 82550 w 819461"/>
                <a:gd name="connsiteY22" fmla="*/ 390399 h 499136"/>
                <a:gd name="connsiteX23" fmla="*/ 76200 w 819461"/>
                <a:gd name="connsiteY23" fmla="*/ 333249 h 499136"/>
                <a:gd name="connsiteX24" fmla="*/ 107950 w 819461"/>
                <a:gd name="connsiteY24" fmla="*/ 301499 h 499136"/>
                <a:gd name="connsiteX25" fmla="*/ 133350 w 819461"/>
                <a:gd name="connsiteY25" fmla="*/ 269749 h 499136"/>
                <a:gd name="connsiteX26" fmla="*/ 95250 w 819461"/>
                <a:gd name="connsiteY26" fmla="*/ 231649 h 499136"/>
                <a:gd name="connsiteX27" fmla="*/ 114300 w 819461"/>
                <a:gd name="connsiteY27" fmla="*/ 199899 h 499136"/>
                <a:gd name="connsiteX28" fmla="*/ 0 w 819461"/>
                <a:gd name="connsiteY28" fmla="*/ 218949 h 499136"/>
                <a:gd name="connsiteX29" fmla="*/ 114300 w 819461"/>
                <a:gd name="connsiteY29" fmla="*/ 174499 h 499136"/>
                <a:gd name="connsiteX30" fmla="*/ 171450 w 819461"/>
                <a:gd name="connsiteY30" fmla="*/ 142749 h 499136"/>
                <a:gd name="connsiteX31" fmla="*/ 266700 w 819461"/>
                <a:gd name="connsiteY31" fmla="*/ 79249 h 499136"/>
                <a:gd name="connsiteX32" fmla="*/ 311150 w 819461"/>
                <a:gd name="connsiteY32" fmla="*/ 41149 h 499136"/>
                <a:gd name="connsiteX33" fmla="*/ 349250 w 819461"/>
                <a:gd name="connsiteY33" fmla="*/ 3049 h 499136"/>
                <a:gd name="connsiteX34" fmla="*/ 387350 w 819461"/>
                <a:gd name="connsiteY34" fmla="*/ 85599 h 499136"/>
                <a:gd name="connsiteX35" fmla="*/ 457200 w 819461"/>
                <a:gd name="connsiteY35" fmla="*/ 85599 h 499136"/>
                <a:gd name="connsiteX36" fmla="*/ 539750 w 819461"/>
                <a:gd name="connsiteY36" fmla="*/ 79249 h 499136"/>
                <a:gd name="connsiteX37" fmla="*/ 527050 w 819461"/>
                <a:gd name="connsiteY37" fmla="*/ 3049 h 499136"/>
                <a:gd name="connsiteX38" fmla="*/ 565150 w 819461"/>
                <a:gd name="connsiteY38" fmla="*/ 15749 h 499136"/>
                <a:gd name="connsiteX39" fmla="*/ 717550 w 819461"/>
                <a:gd name="connsiteY39" fmla="*/ 41149 h 49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819461" h="499136">
                  <a:moveTo>
                    <a:pt x="717550" y="41149"/>
                  </a:moveTo>
                  <a:cubicBezTo>
                    <a:pt x="749300" y="52791"/>
                    <a:pt x="738717" y="78191"/>
                    <a:pt x="755650" y="85599"/>
                  </a:cubicBezTo>
                  <a:cubicBezTo>
                    <a:pt x="772583" y="93007"/>
                    <a:pt x="814917" y="76074"/>
                    <a:pt x="819150" y="85599"/>
                  </a:cubicBezTo>
                  <a:cubicBezTo>
                    <a:pt x="823383" y="95124"/>
                    <a:pt x="783167" y="126874"/>
                    <a:pt x="781050" y="142749"/>
                  </a:cubicBezTo>
                  <a:cubicBezTo>
                    <a:pt x="778933" y="158624"/>
                    <a:pt x="805392" y="163916"/>
                    <a:pt x="806450" y="180849"/>
                  </a:cubicBezTo>
                  <a:cubicBezTo>
                    <a:pt x="807508" y="197782"/>
                    <a:pt x="796925" y="229532"/>
                    <a:pt x="787400" y="244349"/>
                  </a:cubicBezTo>
                  <a:cubicBezTo>
                    <a:pt x="777875" y="259166"/>
                    <a:pt x="749300" y="269749"/>
                    <a:pt x="749300" y="269749"/>
                  </a:cubicBezTo>
                  <a:cubicBezTo>
                    <a:pt x="730250" y="282449"/>
                    <a:pt x="697442" y="297266"/>
                    <a:pt x="673100" y="320549"/>
                  </a:cubicBezTo>
                  <a:cubicBezTo>
                    <a:pt x="648758" y="343832"/>
                    <a:pt x="622300" y="409449"/>
                    <a:pt x="603250" y="409449"/>
                  </a:cubicBezTo>
                  <a:cubicBezTo>
                    <a:pt x="584200" y="409449"/>
                    <a:pt x="576792" y="341716"/>
                    <a:pt x="558800" y="320549"/>
                  </a:cubicBezTo>
                  <a:cubicBezTo>
                    <a:pt x="540808" y="299382"/>
                    <a:pt x="516467" y="288799"/>
                    <a:pt x="495300" y="282449"/>
                  </a:cubicBezTo>
                  <a:cubicBezTo>
                    <a:pt x="474133" y="276099"/>
                    <a:pt x="431800" y="282449"/>
                    <a:pt x="431800" y="282449"/>
                  </a:cubicBezTo>
                  <a:cubicBezTo>
                    <a:pt x="412750" y="282449"/>
                    <a:pt x="394758" y="275041"/>
                    <a:pt x="381000" y="282449"/>
                  </a:cubicBezTo>
                  <a:cubicBezTo>
                    <a:pt x="367242" y="289857"/>
                    <a:pt x="365125" y="312082"/>
                    <a:pt x="349250" y="326899"/>
                  </a:cubicBezTo>
                  <a:cubicBezTo>
                    <a:pt x="333375" y="341716"/>
                    <a:pt x="300567" y="358649"/>
                    <a:pt x="285750" y="371349"/>
                  </a:cubicBezTo>
                  <a:cubicBezTo>
                    <a:pt x="270933" y="384049"/>
                    <a:pt x="265642" y="391457"/>
                    <a:pt x="260350" y="403099"/>
                  </a:cubicBezTo>
                  <a:cubicBezTo>
                    <a:pt x="255058" y="414741"/>
                    <a:pt x="263525" y="432732"/>
                    <a:pt x="254000" y="441199"/>
                  </a:cubicBezTo>
                  <a:cubicBezTo>
                    <a:pt x="244475" y="449666"/>
                    <a:pt x="208492" y="444374"/>
                    <a:pt x="203200" y="453899"/>
                  </a:cubicBezTo>
                  <a:cubicBezTo>
                    <a:pt x="197908" y="463424"/>
                    <a:pt x="227542" y="494116"/>
                    <a:pt x="222250" y="498349"/>
                  </a:cubicBezTo>
                  <a:cubicBezTo>
                    <a:pt x="216958" y="502582"/>
                    <a:pt x="185208" y="488824"/>
                    <a:pt x="171450" y="479299"/>
                  </a:cubicBezTo>
                  <a:cubicBezTo>
                    <a:pt x="157692" y="469774"/>
                    <a:pt x="143933" y="452841"/>
                    <a:pt x="139700" y="441199"/>
                  </a:cubicBezTo>
                  <a:cubicBezTo>
                    <a:pt x="135467" y="429557"/>
                    <a:pt x="155575" y="417916"/>
                    <a:pt x="146050" y="409449"/>
                  </a:cubicBezTo>
                  <a:cubicBezTo>
                    <a:pt x="136525" y="400982"/>
                    <a:pt x="94192" y="403099"/>
                    <a:pt x="82550" y="390399"/>
                  </a:cubicBezTo>
                  <a:cubicBezTo>
                    <a:pt x="70908" y="377699"/>
                    <a:pt x="71967" y="348066"/>
                    <a:pt x="76200" y="333249"/>
                  </a:cubicBezTo>
                  <a:cubicBezTo>
                    <a:pt x="80433" y="318432"/>
                    <a:pt x="98425" y="312082"/>
                    <a:pt x="107950" y="301499"/>
                  </a:cubicBezTo>
                  <a:cubicBezTo>
                    <a:pt x="117475" y="290916"/>
                    <a:pt x="135467" y="281391"/>
                    <a:pt x="133350" y="269749"/>
                  </a:cubicBezTo>
                  <a:cubicBezTo>
                    <a:pt x="131233" y="258107"/>
                    <a:pt x="98425" y="243291"/>
                    <a:pt x="95250" y="231649"/>
                  </a:cubicBezTo>
                  <a:cubicBezTo>
                    <a:pt x="92075" y="220007"/>
                    <a:pt x="130175" y="202016"/>
                    <a:pt x="114300" y="199899"/>
                  </a:cubicBezTo>
                  <a:cubicBezTo>
                    <a:pt x="98425" y="197782"/>
                    <a:pt x="0" y="223182"/>
                    <a:pt x="0" y="218949"/>
                  </a:cubicBezTo>
                  <a:cubicBezTo>
                    <a:pt x="0" y="214716"/>
                    <a:pt x="85725" y="187199"/>
                    <a:pt x="114300" y="174499"/>
                  </a:cubicBezTo>
                  <a:cubicBezTo>
                    <a:pt x="142875" y="161799"/>
                    <a:pt x="146050" y="158624"/>
                    <a:pt x="171450" y="142749"/>
                  </a:cubicBezTo>
                  <a:cubicBezTo>
                    <a:pt x="196850" y="126874"/>
                    <a:pt x="243417" y="96182"/>
                    <a:pt x="266700" y="79249"/>
                  </a:cubicBezTo>
                  <a:cubicBezTo>
                    <a:pt x="289983" y="62316"/>
                    <a:pt x="297392" y="53849"/>
                    <a:pt x="311150" y="41149"/>
                  </a:cubicBezTo>
                  <a:cubicBezTo>
                    <a:pt x="324908" y="28449"/>
                    <a:pt x="336550" y="-4359"/>
                    <a:pt x="349250" y="3049"/>
                  </a:cubicBezTo>
                  <a:cubicBezTo>
                    <a:pt x="361950" y="10457"/>
                    <a:pt x="369358" y="71841"/>
                    <a:pt x="387350" y="85599"/>
                  </a:cubicBezTo>
                  <a:cubicBezTo>
                    <a:pt x="405342" y="99357"/>
                    <a:pt x="431800" y="86657"/>
                    <a:pt x="457200" y="85599"/>
                  </a:cubicBezTo>
                  <a:cubicBezTo>
                    <a:pt x="482600" y="84541"/>
                    <a:pt x="528108" y="93007"/>
                    <a:pt x="539750" y="79249"/>
                  </a:cubicBezTo>
                  <a:cubicBezTo>
                    <a:pt x="551392" y="65491"/>
                    <a:pt x="522817" y="13632"/>
                    <a:pt x="527050" y="3049"/>
                  </a:cubicBezTo>
                  <a:cubicBezTo>
                    <a:pt x="531283" y="-7534"/>
                    <a:pt x="539750" y="12574"/>
                    <a:pt x="565150" y="15749"/>
                  </a:cubicBezTo>
                  <a:cubicBezTo>
                    <a:pt x="590550" y="18924"/>
                    <a:pt x="685800" y="29507"/>
                    <a:pt x="717550" y="41149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3" name="任意多边形 42"/>
            <p:cNvSpPr/>
            <p:nvPr/>
          </p:nvSpPr>
          <p:spPr>
            <a:xfrm>
              <a:off x="2380706" y="3353191"/>
              <a:ext cx="699114" cy="981931"/>
            </a:xfrm>
            <a:custGeom>
              <a:avLst/>
              <a:gdLst>
                <a:gd name="connsiteX0" fmla="*/ 489494 w 699114"/>
                <a:gd name="connsiteY0" fmla="*/ 107559 h 981931"/>
                <a:gd name="connsiteX1" fmla="*/ 572044 w 699114"/>
                <a:gd name="connsiteY1" fmla="*/ 164709 h 981931"/>
                <a:gd name="connsiteX2" fmla="*/ 635544 w 699114"/>
                <a:gd name="connsiteY2" fmla="*/ 126609 h 981931"/>
                <a:gd name="connsiteX3" fmla="*/ 679994 w 699114"/>
                <a:gd name="connsiteY3" fmla="*/ 177409 h 981931"/>
                <a:gd name="connsiteX4" fmla="*/ 667294 w 699114"/>
                <a:gd name="connsiteY4" fmla="*/ 221859 h 981931"/>
                <a:gd name="connsiteX5" fmla="*/ 622844 w 699114"/>
                <a:gd name="connsiteY5" fmla="*/ 253609 h 981931"/>
                <a:gd name="connsiteX6" fmla="*/ 591094 w 699114"/>
                <a:gd name="connsiteY6" fmla="*/ 253609 h 981931"/>
                <a:gd name="connsiteX7" fmla="*/ 641894 w 699114"/>
                <a:gd name="connsiteY7" fmla="*/ 304409 h 981931"/>
                <a:gd name="connsiteX8" fmla="*/ 699044 w 699114"/>
                <a:gd name="connsiteY8" fmla="*/ 329809 h 981931"/>
                <a:gd name="connsiteX9" fmla="*/ 654594 w 699114"/>
                <a:gd name="connsiteY9" fmla="*/ 355209 h 981931"/>
                <a:gd name="connsiteX10" fmla="*/ 699044 w 699114"/>
                <a:gd name="connsiteY10" fmla="*/ 412359 h 981931"/>
                <a:gd name="connsiteX11" fmla="*/ 660944 w 699114"/>
                <a:gd name="connsiteY11" fmla="*/ 463159 h 981931"/>
                <a:gd name="connsiteX12" fmla="*/ 540294 w 699114"/>
                <a:gd name="connsiteY12" fmla="*/ 571109 h 981931"/>
                <a:gd name="connsiteX13" fmla="*/ 470444 w 699114"/>
                <a:gd name="connsiteY13" fmla="*/ 660009 h 981931"/>
                <a:gd name="connsiteX14" fmla="*/ 419644 w 699114"/>
                <a:gd name="connsiteY14" fmla="*/ 780659 h 981931"/>
                <a:gd name="connsiteX15" fmla="*/ 406944 w 699114"/>
                <a:gd name="connsiteY15" fmla="*/ 844159 h 981931"/>
                <a:gd name="connsiteX16" fmla="*/ 387894 w 699114"/>
                <a:gd name="connsiteY16" fmla="*/ 888609 h 981931"/>
                <a:gd name="connsiteX17" fmla="*/ 311694 w 699114"/>
                <a:gd name="connsiteY17" fmla="*/ 844159 h 981931"/>
                <a:gd name="connsiteX18" fmla="*/ 267244 w 699114"/>
                <a:gd name="connsiteY18" fmla="*/ 875909 h 981931"/>
                <a:gd name="connsiteX19" fmla="*/ 235494 w 699114"/>
                <a:gd name="connsiteY19" fmla="*/ 945759 h 981931"/>
                <a:gd name="connsiteX20" fmla="*/ 146594 w 699114"/>
                <a:gd name="connsiteY20" fmla="*/ 977509 h 981931"/>
                <a:gd name="connsiteX21" fmla="*/ 216444 w 699114"/>
                <a:gd name="connsiteY21" fmla="*/ 850509 h 981931"/>
                <a:gd name="connsiteX22" fmla="*/ 184694 w 699114"/>
                <a:gd name="connsiteY22" fmla="*/ 774309 h 981931"/>
                <a:gd name="connsiteX23" fmla="*/ 267244 w 699114"/>
                <a:gd name="connsiteY23" fmla="*/ 767959 h 981931"/>
                <a:gd name="connsiteX24" fmla="*/ 216444 w 699114"/>
                <a:gd name="connsiteY24" fmla="*/ 736209 h 981931"/>
                <a:gd name="connsiteX25" fmla="*/ 171994 w 699114"/>
                <a:gd name="connsiteY25" fmla="*/ 736209 h 981931"/>
                <a:gd name="connsiteX26" fmla="*/ 108494 w 699114"/>
                <a:gd name="connsiteY26" fmla="*/ 806059 h 981931"/>
                <a:gd name="connsiteX27" fmla="*/ 152944 w 699114"/>
                <a:gd name="connsiteY27" fmla="*/ 888609 h 981931"/>
                <a:gd name="connsiteX28" fmla="*/ 108494 w 699114"/>
                <a:gd name="connsiteY28" fmla="*/ 894959 h 981931"/>
                <a:gd name="connsiteX29" fmla="*/ 95794 w 699114"/>
                <a:gd name="connsiteY29" fmla="*/ 844159 h 981931"/>
                <a:gd name="connsiteX30" fmla="*/ 32294 w 699114"/>
                <a:gd name="connsiteY30" fmla="*/ 837809 h 981931"/>
                <a:gd name="connsiteX31" fmla="*/ 38644 w 699114"/>
                <a:gd name="connsiteY31" fmla="*/ 774309 h 981931"/>
                <a:gd name="connsiteX32" fmla="*/ 108494 w 699114"/>
                <a:gd name="connsiteY32" fmla="*/ 704459 h 981931"/>
                <a:gd name="connsiteX33" fmla="*/ 70394 w 699114"/>
                <a:gd name="connsiteY33" fmla="*/ 621909 h 981931"/>
                <a:gd name="connsiteX34" fmla="*/ 108494 w 699114"/>
                <a:gd name="connsiteY34" fmla="*/ 564759 h 981931"/>
                <a:gd name="connsiteX35" fmla="*/ 216444 w 699114"/>
                <a:gd name="connsiteY35" fmla="*/ 475859 h 981931"/>
                <a:gd name="connsiteX36" fmla="*/ 292644 w 699114"/>
                <a:gd name="connsiteY36" fmla="*/ 425059 h 981931"/>
                <a:gd name="connsiteX37" fmla="*/ 203744 w 699114"/>
                <a:gd name="connsiteY37" fmla="*/ 412359 h 981931"/>
                <a:gd name="connsiteX38" fmla="*/ 298994 w 699114"/>
                <a:gd name="connsiteY38" fmla="*/ 374259 h 981931"/>
                <a:gd name="connsiteX39" fmla="*/ 254544 w 699114"/>
                <a:gd name="connsiteY39" fmla="*/ 298059 h 981931"/>
                <a:gd name="connsiteX40" fmla="*/ 273594 w 699114"/>
                <a:gd name="connsiteY40" fmla="*/ 228209 h 981931"/>
                <a:gd name="connsiteX41" fmla="*/ 216444 w 699114"/>
                <a:gd name="connsiteY41" fmla="*/ 196459 h 981931"/>
                <a:gd name="connsiteX42" fmla="*/ 197394 w 699114"/>
                <a:gd name="connsiteY42" fmla="*/ 253609 h 981931"/>
                <a:gd name="connsiteX43" fmla="*/ 171994 w 699114"/>
                <a:gd name="connsiteY43" fmla="*/ 298059 h 981931"/>
                <a:gd name="connsiteX44" fmla="*/ 146594 w 699114"/>
                <a:gd name="connsiteY44" fmla="*/ 298059 h 981931"/>
                <a:gd name="connsiteX45" fmla="*/ 216444 w 699114"/>
                <a:gd name="connsiteY45" fmla="*/ 329809 h 981931"/>
                <a:gd name="connsiteX46" fmla="*/ 203744 w 699114"/>
                <a:gd name="connsiteY46" fmla="*/ 374259 h 981931"/>
                <a:gd name="connsiteX47" fmla="*/ 171994 w 699114"/>
                <a:gd name="connsiteY47" fmla="*/ 386959 h 981931"/>
                <a:gd name="connsiteX48" fmla="*/ 133894 w 699114"/>
                <a:gd name="connsiteY48" fmla="*/ 386959 h 981931"/>
                <a:gd name="connsiteX49" fmla="*/ 152944 w 699114"/>
                <a:gd name="connsiteY49" fmla="*/ 342509 h 981931"/>
                <a:gd name="connsiteX50" fmla="*/ 114844 w 699114"/>
                <a:gd name="connsiteY50" fmla="*/ 310759 h 981931"/>
                <a:gd name="connsiteX51" fmla="*/ 57694 w 699114"/>
                <a:gd name="connsiteY51" fmla="*/ 355209 h 981931"/>
                <a:gd name="connsiteX52" fmla="*/ 38644 w 699114"/>
                <a:gd name="connsiteY52" fmla="*/ 380609 h 981931"/>
                <a:gd name="connsiteX53" fmla="*/ 32294 w 699114"/>
                <a:gd name="connsiteY53" fmla="*/ 342509 h 981931"/>
                <a:gd name="connsiteX54" fmla="*/ 51344 w 699114"/>
                <a:gd name="connsiteY54" fmla="*/ 291709 h 981931"/>
                <a:gd name="connsiteX55" fmla="*/ 32294 w 699114"/>
                <a:gd name="connsiteY55" fmla="*/ 253609 h 981931"/>
                <a:gd name="connsiteX56" fmla="*/ 64044 w 699114"/>
                <a:gd name="connsiteY56" fmla="*/ 171059 h 981931"/>
                <a:gd name="connsiteX57" fmla="*/ 544 w 699114"/>
                <a:gd name="connsiteY57" fmla="*/ 139309 h 981931"/>
                <a:gd name="connsiteX58" fmla="*/ 38644 w 699114"/>
                <a:gd name="connsiteY58" fmla="*/ 75809 h 981931"/>
                <a:gd name="connsiteX59" fmla="*/ 127544 w 699114"/>
                <a:gd name="connsiteY59" fmla="*/ 120259 h 981931"/>
                <a:gd name="connsiteX60" fmla="*/ 178344 w 699114"/>
                <a:gd name="connsiteY60" fmla="*/ 50409 h 981931"/>
                <a:gd name="connsiteX61" fmla="*/ 216444 w 699114"/>
                <a:gd name="connsiteY61" fmla="*/ 82159 h 981931"/>
                <a:gd name="connsiteX62" fmla="*/ 286294 w 699114"/>
                <a:gd name="connsiteY62" fmla="*/ 31359 h 981931"/>
                <a:gd name="connsiteX63" fmla="*/ 330744 w 699114"/>
                <a:gd name="connsiteY63" fmla="*/ 50409 h 981931"/>
                <a:gd name="connsiteX64" fmla="*/ 387894 w 699114"/>
                <a:gd name="connsiteY64" fmla="*/ 5959 h 981931"/>
                <a:gd name="connsiteX65" fmla="*/ 445044 w 699114"/>
                <a:gd name="connsiteY65" fmla="*/ 5959 h 981931"/>
                <a:gd name="connsiteX66" fmla="*/ 489494 w 699114"/>
                <a:gd name="connsiteY66" fmla="*/ 56759 h 981931"/>
                <a:gd name="connsiteX67" fmla="*/ 489494 w 699114"/>
                <a:gd name="connsiteY67" fmla="*/ 107559 h 981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99114" h="981931">
                  <a:moveTo>
                    <a:pt x="489494" y="107559"/>
                  </a:moveTo>
                  <a:cubicBezTo>
                    <a:pt x="503252" y="125551"/>
                    <a:pt x="547702" y="161534"/>
                    <a:pt x="572044" y="164709"/>
                  </a:cubicBezTo>
                  <a:cubicBezTo>
                    <a:pt x="596386" y="167884"/>
                    <a:pt x="617552" y="124492"/>
                    <a:pt x="635544" y="126609"/>
                  </a:cubicBezTo>
                  <a:cubicBezTo>
                    <a:pt x="653536" y="128726"/>
                    <a:pt x="674702" y="161534"/>
                    <a:pt x="679994" y="177409"/>
                  </a:cubicBezTo>
                  <a:cubicBezTo>
                    <a:pt x="685286" y="193284"/>
                    <a:pt x="676819" y="209159"/>
                    <a:pt x="667294" y="221859"/>
                  </a:cubicBezTo>
                  <a:cubicBezTo>
                    <a:pt x="657769" y="234559"/>
                    <a:pt x="635544" y="248317"/>
                    <a:pt x="622844" y="253609"/>
                  </a:cubicBezTo>
                  <a:cubicBezTo>
                    <a:pt x="610144" y="258901"/>
                    <a:pt x="587919" y="245142"/>
                    <a:pt x="591094" y="253609"/>
                  </a:cubicBezTo>
                  <a:cubicBezTo>
                    <a:pt x="594269" y="262076"/>
                    <a:pt x="623902" y="291709"/>
                    <a:pt x="641894" y="304409"/>
                  </a:cubicBezTo>
                  <a:cubicBezTo>
                    <a:pt x="659886" y="317109"/>
                    <a:pt x="696927" y="321342"/>
                    <a:pt x="699044" y="329809"/>
                  </a:cubicBezTo>
                  <a:cubicBezTo>
                    <a:pt x="701161" y="338276"/>
                    <a:pt x="654594" y="341451"/>
                    <a:pt x="654594" y="355209"/>
                  </a:cubicBezTo>
                  <a:cubicBezTo>
                    <a:pt x="654594" y="368967"/>
                    <a:pt x="697986" y="394368"/>
                    <a:pt x="699044" y="412359"/>
                  </a:cubicBezTo>
                  <a:cubicBezTo>
                    <a:pt x="700102" y="430350"/>
                    <a:pt x="687402" y="436701"/>
                    <a:pt x="660944" y="463159"/>
                  </a:cubicBezTo>
                  <a:cubicBezTo>
                    <a:pt x="634486" y="489617"/>
                    <a:pt x="572044" y="538301"/>
                    <a:pt x="540294" y="571109"/>
                  </a:cubicBezTo>
                  <a:cubicBezTo>
                    <a:pt x="508544" y="603917"/>
                    <a:pt x="490552" y="625084"/>
                    <a:pt x="470444" y="660009"/>
                  </a:cubicBezTo>
                  <a:cubicBezTo>
                    <a:pt x="450336" y="694934"/>
                    <a:pt x="430227" y="749967"/>
                    <a:pt x="419644" y="780659"/>
                  </a:cubicBezTo>
                  <a:cubicBezTo>
                    <a:pt x="409061" y="811351"/>
                    <a:pt x="412236" y="826167"/>
                    <a:pt x="406944" y="844159"/>
                  </a:cubicBezTo>
                  <a:cubicBezTo>
                    <a:pt x="401652" y="862151"/>
                    <a:pt x="403769" y="888609"/>
                    <a:pt x="387894" y="888609"/>
                  </a:cubicBezTo>
                  <a:cubicBezTo>
                    <a:pt x="372019" y="888609"/>
                    <a:pt x="331802" y="846276"/>
                    <a:pt x="311694" y="844159"/>
                  </a:cubicBezTo>
                  <a:cubicBezTo>
                    <a:pt x="291586" y="842042"/>
                    <a:pt x="279944" y="858976"/>
                    <a:pt x="267244" y="875909"/>
                  </a:cubicBezTo>
                  <a:cubicBezTo>
                    <a:pt x="254544" y="892842"/>
                    <a:pt x="255602" y="928826"/>
                    <a:pt x="235494" y="945759"/>
                  </a:cubicBezTo>
                  <a:cubicBezTo>
                    <a:pt x="215386" y="962692"/>
                    <a:pt x="149769" y="993384"/>
                    <a:pt x="146594" y="977509"/>
                  </a:cubicBezTo>
                  <a:cubicBezTo>
                    <a:pt x="143419" y="961634"/>
                    <a:pt x="210094" y="884376"/>
                    <a:pt x="216444" y="850509"/>
                  </a:cubicBezTo>
                  <a:cubicBezTo>
                    <a:pt x="222794" y="816642"/>
                    <a:pt x="176227" y="788067"/>
                    <a:pt x="184694" y="774309"/>
                  </a:cubicBezTo>
                  <a:cubicBezTo>
                    <a:pt x="193161" y="760551"/>
                    <a:pt x="261952" y="774309"/>
                    <a:pt x="267244" y="767959"/>
                  </a:cubicBezTo>
                  <a:cubicBezTo>
                    <a:pt x="272536" y="761609"/>
                    <a:pt x="232319" y="741501"/>
                    <a:pt x="216444" y="736209"/>
                  </a:cubicBezTo>
                  <a:cubicBezTo>
                    <a:pt x="200569" y="730917"/>
                    <a:pt x="189986" y="724567"/>
                    <a:pt x="171994" y="736209"/>
                  </a:cubicBezTo>
                  <a:cubicBezTo>
                    <a:pt x="154002" y="747851"/>
                    <a:pt x="111669" y="780659"/>
                    <a:pt x="108494" y="806059"/>
                  </a:cubicBezTo>
                  <a:cubicBezTo>
                    <a:pt x="105319" y="831459"/>
                    <a:pt x="152944" y="873792"/>
                    <a:pt x="152944" y="888609"/>
                  </a:cubicBezTo>
                  <a:cubicBezTo>
                    <a:pt x="152944" y="903426"/>
                    <a:pt x="118019" y="902367"/>
                    <a:pt x="108494" y="894959"/>
                  </a:cubicBezTo>
                  <a:cubicBezTo>
                    <a:pt x="98969" y="887551"/>
                    <a:pt x="108494" y="853684"/>
                    <a:pt x="95794" y="844159"/>
                  </a:cubicBezTo>
                  <a:cubicBezTo>
                    <a:pt x="83094" y="834634"/>
                    <a:pt x="41819" y="849451"/>
                    <a:pt x="32294" y="837809"/>
                  </a:cubicBezTo>
                  <a:cubicBezTo>
                    <a:pt x="22769" y="826167"/>
                    <a:pt x="25944" y="796534"/>
                    <a:pt x="38644" y="774309"/>
                  </a:cubicBezTo>
                  <a:cubicBezTo>
                    <a:pt x="51344" y="752084"/>
                    <a:pt x="103202" y="729859"/>
                    <a:pt x="108494" y="704459"/>
                  </a:cubicBezTo>
                  <a:cubicBezTo>
                    <a:pt x="113786" y="679059"/>
                    <a:pt x="70394" y="645192"/>
                    <a:pt x="70394" y="621909"/>
                  </a:cubicBezTo>
                  <a:cubicBezTo>
                    <a:pt x="70394" y="598626"/>
                    <a:pt x="84152" y="589101"/>
                    <a:pt x="108494" y="564759"/>
                  </a:cubicBezTo>
                  <a:cubicBezTo>
                    <a:pt x="132836" y="540417"/>
                    <a:pt x="185752" y="499142"/>
                    <a:pt x="216444" y="475859"/>
                  </a:cubicBezTo>
                  <a:cubicBezTo>
                    <a:pt x="247136" y="452576"/>
                    <a:pt x="294761" y="435642"/>
                    <a:pt x="292644" y="425059"/>
                  </a:cubicBezTo>
                  <a:cubicBezTo>
                    <a:pt x="290527" y="414476"/>
                    <a:pt x="202686" y="420826"/>
                    <a:pt x="203744" y="412359"/>
                  </a:cubicBezTo>
                  <a:cubicBezTo>
                    <a:pt x="204802" y="403892"/>
                    <a:pt x="290527" y="393309"/>
                    <a:pt x="298994" y="374259"/>
                  </a:cubicBezTo>
                  <a:cubicBezTo>
                    <a:pt x="307461" y="355209"/>
                    <a:pt x="258777" y="322401"/>
                    <a:pt x="254544" y="298059"/>
                  </a:cubicBezTo>
                  <a:cubicBezTo>
                    <a:pt x="250311" y="273717"/>
                    <a:pt x="279944" y="245142"/>
                    <a:pt x="273594" y="228209"/>
                  </a:cubicBezTo>
                  <a:cubicBezTo>
                    <a:pt x="267244" y="211276"/>
                    <a:pt x="229144" y="192226"/>
                    <a:pt x="216444" y="196459"/>
                  </a:cubicBezTo>
                  <a:cubicBezTo>
                    <a:pt x="203744" y="200692"/>
                    <a:pt x="204802" y="236676"/>
                    <a:pt x="197394" y="253609"/>
                  </a:cubicBezTo>
                  <a:cubicBezTo>
                    <a:pt x="189986" y="270542"/>
                    <a:pt x="180461" y="290651"/>
                    <a:pt x="171994" y="298059"/>
                  </a:cubicBezTo>
                  <a:cubicBezTo>
                    <a:pt x="163527" y="305467"/>
                    <a:pt x="139186" y="292767"/>
                    <a:pt x="146594" y="298059"/>
                  </a:cubicBezTo>
                  <a:cubicBezTo>
                    <a:pt x="154002" y="303351"/>
                    <a:pt x="206919" y="317109"/>
                    <a:pt x="216444" y="329809"/>
                  </a:cubicBezTo>
                  <a:cubicBezTo>
                    <a:pt x="225969" y="342509"/>
                    <a:pt x="211152" y="364734"/>
                    <a:pt x="203744" y="374259"/>
                  </a:cubicBezTo>
                  <a:cubicBezTo>
                    <a:pt x="196336" y="383784"/>
                    <a:pt x="183636" y="384842"/>
                    <a:pt x="171994" y="386959"/>
                  </a:cubicBezTo>
                  <a:cubicBezTo>
                    <a:pt x="160352" y="389076"/>
                    <a:pt x="137069" y="394367"/>
                    <a:pt x="133894" y="386959"/>
                  </a:cubicBezTo>
                  <a:cubicBezTo>
                    <a:pt x="130719" y="379551"/>
                    <a:pt x="156119" y="355209"/>
                    <a:pt x="152944" y="342509"/>
                  </a:cubicBezTo>
                  <a:cubicBezTo>
                    <a:pt x="149769" y="329809"/>
                    <a:pt x="130719" y="308642"/>
                    <a:pt x="114844" y="310759"/>
                  </a:cubicBezTo>
                  <a:cubicBezTo>
                    <a:pt x="98969" y="312876"/>
                    <a:pt x="70394" y="343567"/>
                    <a:pt x="57694" y="355209"/>
                  </a:cubicBezTo>
                  <a:cubicBezTo>
                    <a:pt x="44994" y="366851"/>
                    <a:pt x="42877" y="382726"/>
                    <a:pt x="38644" y="380609"/>
                  </a:cubicBezTo>
                  <a:cubicBezTo>
                    <a:pt x="34411" y="378492"/>
                    <a:pt x="30177" y="357326"/>
                    <a:pt x="32294" y="342509"/>
                  </a:cubicBezTo>
                  <a:cubicBezTo>
                    <a:pt x="34411" y="327692"/>
                    <a:pt x="51344" y="306526"/>
                    <a:pt x="51344" y="291709"/>
                  </a:cubicBezTo>
                  <a:cubicBezTo>
                    <a:pt x="51344" y="276892"/>
                    <a:pt x="30177" y="273717"/>
                    <a:pt x="32294" y="253609"/>
                  </a:cubicBezTo>
                  <a:cubicBezTo>
                    <a:pt x="34411" y="233501"/>
                    <a:pt x="69336" y="190109"/>
                    <a:pt x="64044" y="171059"/>
                  </a:cubicBezTo>
                  <a:cubicBezTo>
                    <a:pt x="58752" y="152009"/>
                    <a:pt x="4777" y="155184"/>
                    <a:pt x="544" y="139309"/>
                  </a:cubicBezTo>
                  <a:cubicBezTo>
                    <a:pt x="-3689" y="123434"/>
                    <a:pt x="17477" y="78984"/>
                    <a:pt x="38644" y="75809"/>
                  </a:cubicBezTo>
                  <a:cubicBezTo>
                    <a:pt x="59811" y="72634"/>
                    <a:pt x="104261" y="124492"/>
                    <a:pt x="127544" y="120259"/>
                  </a:cubicBezTo>
                  <a:cubicBezTo>
                    <a:pt x="150827" y="116026"/>
                    <a:pt x="163527" y="56759"/>
                    <a:pt x="178344" y="50409"/>
                  </a:cubicBezTo>
                  <a:cubicBezTo>
                    <a:pt x="193161" y="44059"/>
                    <a:pt x="198452" y="85334"/>
                    <a:pt x="216444" y="82159"/>
                  </a:cubicBezTo>
                  <a:cubicBezTo>
                    <a:pt x="234436" y="78984"/>
                    <a:pt x="267244" y="36651"/>
                    <a:pt x="286294" y="31359"/>
                  </a:cubicBezTo>
                  <a:cubicBezTo>
                    <a:pt x="305344" y="26067"/>
                    <a:pt x="313811" y="54642"/>
                    <a:pt x="330744" y="50409"/>
                  </a:cubicBezTo>
                  <a:cubicBezTo>
                    <a:pt x="347677" y="46176"/>
                    <a:pt x="368844" y="13367"/>
                    <a:pt x="387894" y="5959"/>
                  </a:cubicBezTo>
                  <a:cubicBezTo>
                    <a:pt x="406944" y="-1449"/>
                    <a:pt x="428111" y="-2508"/>
                    <a:pt x="445044" y="5959"/>
                  </a:cubicBezTo>
                  <a:cubicBezTo>
                    <a:pt x="461977" y="14426"/>
                    <a:pt x="481027" y="37709"/>
                    <a:pt x="489494" y="56759"/>
                  </a:cubicBezTo>
                  <a:cubicBezTo>
                    <a:pt x="497961" y="75809"/>
                    <a:pt x="475736" y="89567"/>
                    <a:pt x="489494" y="107559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4" name="任意多边形 43"/>
            <p:cNvSpPr/>
            <p:nvPr/>
          </p:nvSpPr>
          <p:spPr>
            <a:xfrm>
              <a:off x="2255407" y="4722339"/>
              <a:ext cx="237249" cy="110238"/>
            </a:xfrm>
            <a:custGeom>
              <a:avLst/>
              <a:gdLst>
                <a:gd name="connsiteX0" fmla="*/ 113 w 237249"/>
                <a:gd name="connsiteY0" fmla="*/ 63021 h 110238"/>
                <a:gd name="connsiteX1" fmla="*/ 61073 w 237249"/>
                <a:gd name="connsiteY1" fmla="*/ 40161 h 110238"/>
                <a:gd name="connsiteX2" fmla="*/ 137273 w 237249"/>
                <a:gd name="connsiteY2" fmla="*/ 17301 h 110238"/>
                <a:gd name="connsiteX3" fmla="*/ 167753 w 237249"/>
                <a:gd name="connsiteY3" fmla="*/ 63021 h 110238"/>
                <a:gd name="connsiteX4" fmla="*/ 236333 w 237249"/>
                <a:gd name="connsiteY4" fmla="*/ 40161 h 110238"/>
                <a:gd name="connsiteX5" fmla="*/ 198233 w 237249"/>
                <a:gd name="connsiteY5" fmla="*/ 2061 h 110238"/>
                <a:gd name="connsiteX6" fmla="*/ 76313 w 237249"/>
                <a:gd name="connsiteY6" fmla="*/ 108741 h 110238"/>
                <a:gd name="connsiteX7" fmla="*/ 113 w 237249"/>
                <a:gd name="connsiteY7" fmla="*/ 63021 h 11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7249" h="110238">
                  <a:moveTo>
                    <a:pt x="113" y="63021"/>
                  </a:moveTo>
                  <a:cubicBezTo>
                    <a:pt x="-2427" y="51591"/>
                    <a:pt x="38213" y="47781"/>
                    <a:pt x="61073" y="40161"/>
                  </a:cubicBezTo>
                  <a:cubicBezTo>
                    <a:pt x="83933" y="32541"/>
                    <a:pt x="119493" y="13491"/>
                    <a:pt x="137273" y="17301"/>
                  </a:cubicBezTo>
                  <a:cubicBezTo>
                    <a:pt x="155053" y="21111"/>
                    <a:pt x="151243" y="59211"/>
                    <a:pt x="167753" y="63021"/>
                  </a:cubicBezTo>
                  <a:cubicBezTo>
                    <a:pt x="184263" y="66831"/>
                    <a:pt x="231253" y="50321"/>
                    <a:pt x="236333" y="40161"/>
                  </a:cubicBezTo>
                  <a:cubicBezTo>
                    <a:pt x="241413" y="30001"/>
                    <a:pt x="224903" y="-9369"/>
                    <a:pt x="198233" y="2061"/>
                  </a:cubicBezTo>
                  <a:cubicBezTo>
                    <a:pt x="171563" y="13491"/>
                    <a:pt x="108063" y="98581"/>
                    <a:pt x="76313" y="108741"/>
                  </a:cubicBezTo>
                  <a:cubicBezTo>
                    <a:pt x="44563" y="118901"/>
                    <a:pt x="2653" y="74451"/>
                    <a:pt x="113" y="63021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5" name="任意多边形 44"/>
            <p:cNvSpPr/>
            <p:nvPr/>
          </p:nvSpPr>
          <p:spPr>
            <a:xfrm>
              <a:off x="2125576" y="4831059"/>
              <a:ext cx="64468" cy="91583"/>
            </a:xfrm>
            <a:custGeom>
              <a:avLst/>
              <a:gdLst>
                <a:gd name="connsiteX0" fmla="*/ 53744 w 64468"/>
                <a:gd name="connsiteY0" fmla="*/ 21 h 91583"/>
                <a:gd name="connsiteX1" fmla="*/ 404 w 64468"/>
                <a:gd name="connsiteY1" fmla="*/ 68601 h 91583"/>
                <a:gd name="connsiteX2" fmla="*/ 30884 w 64468"/>
                <a:gd name="connsiteY2" fmla="*/ 91461 h 91583"/>
                <a:gd name="connsiteX3" fmla="*/ 61364 w 64468"/>
                <a:gd name="connsiteY3" fmla="*/ 76221 h 91583"/>
                <a:gd name="connsiteX4" fmla="*/ 53744 w 64468"/>
                <a:gd name="connsiteY4" fmla="*/ 21 h 91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468" h="91583">
                  <a:moveTo>
                    <a:pt x="53744" y="21"/>
                  </a:moveTo>
                  <a:cubicBezTo>
                    <a:pt x="43584" y="-1249"/>
                    <a:pt x="4214" y="53361"/>
                    <a:pt x="404" y="68601"/>
                  </a:cubicBezTo>
                  <a:cubicBezTo>
                    <a:pt x="-3406" y="83841"/>
                    <a:pt x="20724" y="90191"/>
                    <a:pt x="30884" y="91461"/>
                  </a:cubicBezTo>
                  <a:cubicBezTo>
                    <a:pt x="41044" y="92731"/>
                    <a:pt x="55014" y="83841"/>
                    <a:pt x="61364" y="76221"/>
                  </a:cubicBezTo>
                  <a:cubicBezTo>
                    <a:pt x="67714" y="68601"/>
                    <a:pt x="63904" y="1291"/>
                    <a:pt x="53744" y="21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6" name="任意多边形 45"/>
            <p:cNvSpPr/>
            <p:nvPr/>
          </p:nvSpPr>
          <p:spPr>
            <a:xfrm>
              <a:off x="1968308" y="4942371"/>
              <a:ext cx="63714" cy="56052"/>
            </a:xfrm>
            <a:custGeom>
              <a:avLst/>
              <a:gdLst>
                <a:gd name="connsiteX0" fmla="*/ 63692 w 63714"/>
                <a:gd name="connsiteY0" fmla="*/ 16979 h 56052"/>
                <a:gd name="connsiteX1" fmla="*/ 12892 w 63714"/>
                <a:gd name="connsiteY1" fmla="*/ 4279 h 56052"/>
                <a:gd name="connsiteX2" fmla="*/ 192 w 63714"/>
                <a:gd name="connsiteY2" fmla="*/ 4279 h 56052"/>
                <a:gd name="connsiteX3" fmla="*/ 19242 w 63714"/>
                <a:gd name="connsiteY3" fmla="*/ 55079 h 56052"/>
                <a:gd name="connsiteX4" fmla="*/ 63692 w 63714"/>
                <a:gd name="connsiteY4" fmla="*/ 16979 h 56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14" h="56052">
                  <a:moveTo>
                    <a:pt x="63692" y="16979"/>
                  </a:moveTo>
                  <a:cubicBezTo>
                    <a:pt x="62634" y="8512"/>
                    <a:pt x="23475" y="6396"/>
                    <a:pt x="12892" y="4279"/>
                  </a:cubicBezTo>
                  <a:cubicBezTo>
                    <a:pt x="2309" y="2162"/>
                    <a:pt x="-866" y="-4188"/>
                    <a:pt x="192" y="4279"/>
                  </a:cubicBezTo>
                  <a:cubicBezTo>
                    <a:pt x="1250" y="12746"/>
                    <a:pt x="9717" y="47671"/>
                    <a:pt x="19242" y="55079"/>
                  </a:cubicBezTo>
                  <a:cubicBezTo>
                    <a:pt x="28767" y="62487"/>
                    <a:pt x="64750" y="25446"/>
                    <a:pt x="63692" y="16979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7" name="任意多边形 46"/>
            <p:cNvSpPr/>
            <p:nvPr/>
          </p:nvSpPr>
          <p:spPr>
            <a:xfrm>
              <a:off x="1536143" y="5078242"/>
              <a:ext cx="319293" cy="205057"/>
            </a:xfrm>
            <a:custGeom>
              <a:avLst/>
              <a:gdLst>
                <a:gd name="connsiteX0" fmla="*/ 222807 w 319293"/>
                <a:gd name="connsiteY0" fmla="*/ 52558 h 205057"/>
                <a:gd name="connsiteX1" fmla="*/ 267257 w 319293"/>
                <a:gd name="connsiteY1" fmla="*/ 8108 h 205057"/>
                <a:gd name="connsiteX2" fmla="*/ 318057 w 319293"/>
                <a:gd name="connsiteY2" fmla="*/ 8108 h 205057"/>
                <a:gd name="connsiteX3" fmla="*/ 299007 w 319293"/>
                <a:gd name="connsiteY3" fmla="*/ 90658 h 205057"/>
                <a:gd name="connsiteX4" fmla="*/ 248207 w 319293"/>
                <a:gd name="connsiteY4" fmla="*/ 97008 h 205057"/>
                <a:gd name="connsiteX5" fmla="*/ 172007 w 319293"/>
                <a:gd name="connsiteY5" fmla="*/ 128758 h 205057"/>
                <a:gd name="connsiteX6" fmla="*/ 102157 w 319293"/>
                <a:gd name="connsiteY6" fmla="*/ 128758 h 205057"/>
                <a:gd name="connsiteX7" fmla="*/ 57707 w 319293"/>
                <a:gd name="connsiteY7" fmla="*/ 179558 h 205057"/>
                <a:gd name="connsiteX8" fmla="*/ 38657 w 319293"/>
                <a:gd name="connsiteY8" fmla="*/ 204958 h 205057"/>
                <a:gd name="connsiteX9" fmla="*/ 557 w 319293"/>
                <a:gd name="connsiteY9" fmla="*/ 185908 h 205057"/>
                <a:gd name="connsiteX10" fmla="*/ 70407 w 319293"/>
                <a:gd name="connsiteY10" fmla="*/ 128758 h 205057"/>
                <a:gd name="connsiteX11" fmla="*/ 108507 w 319293"/>
                <a:gd name="connsiteY11" fmla="*/ 97008 h 205057"/>
                <a:gd name="connsiteX12" fmla="*/ 178357 w 319293"/>
                <a:gd name="connsiteY12" fmla="*/ 90658 h 205057"/>
                <a:gd name="connsiteX13" fmla="*/ 222807 w 319293"/>
                <a:gd name="connsiteY13" fmla="*/ 52558 h 205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9293" h="205057">
                  <a:moveTo>
                    <a:pt x="222807" y="52558"/>
                  </a:moveTo>
                  <a:cubicBezTo>
                    <a:pt x="237624" y="38800"/>
                    <a:pt x="251382" y="15516"/>
                    <a:pt x="267257" y="8108"/>
                  </a:cubicBezTo>
                  <a:cubicBezTo>
                    <a:pt x="283132" y="700"/>
                    <a:pt x="312765" y="-5650"/>
                    <a:pt x="318057" y="8108"/>
                  </a:cubicBezTo>
                  <a:cubicBezTo>
                    <a:pt x="323349" y="21866"/>
                    <a:pt x="310649" y="75842"/>
                    <a:pt x="299007" y="90658"/>
                  </a:cubicBezTo>
                  <a:cubicBezTo>
                    <a:pt x="287365" y="105474"/>
                    <a:pt x="269374" y="90658"/>
                    <a:pt x="248207" y="97008"/>
                  </a:cubicBezTo>
                  <a:cubicBezTo>
                    <a:pt x="227040" y="103358"/>
                    <a:pt x="196349" y="123466"/>
                    <a:pt x="172007" y="128758"/>
                  </a:cubicBezTo>
                  <a:cubicBezTo>
                    <a:pt x="147665" y="134050"/>
                    <a:pt x="121207" y="120291"/>
                    <a:pt x="102157" y="128758"/>
                  </a:cubicBezTo>
                  <a:cubicBezTo>
                    <a:pt x="83107" y="137225"/>
                    <a:pt x="68290" y="166858"/>
                    <a:pt x="57707" y="179558"/>
                  </a:cubicBezTo>
                  <a:cubicBezTo>
                    <a:pt x="47124" y="192258"/>
                    <a:pt x="48182" y="203900"/>
                    <a:pt x="38657" y="204958"/>
                  </a:cubicBezTo>
                  <a:cubicBezTo>
                    <a:pt x="29132" y="206016"/>
                    <a:pt x="-4735" y="198608"/>
                    <a:pt x="557" y="185908"/>
                  </a:cubicBezTo>
                  <a:cubicBezTo>
                    <a:pt x="5849" y="173208"/>
                    <a:pt x="70407" y="128758"/>
                    <a:pt x="70407" y="128758"/>
                  </a:cubicBezTo>
                  <a:cubicBezTo>
                    <a:pt x="88399" y="113941"/>
                    <a:pt x="90515" y="103358"/>
                    <a:pt x="108507" y="97008"/>
                  </a:cubicBezTo>
                  <a:cubicBezTo>
                    <a:pt x="126499" y="90658"/>
                    <a:pt x="164599" y="102300"/>
                    <a:pt x="178357" y="90658"/>
                  </a:cubicBezTo>
                  <a:cubicBezTo>
                    <a:pt x="192115" y="79016"/>
                    <a:pt x="207990" y="66316"/>
                    <a:pt x="222807" y="52558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8" name="任意多边形 47"/>
            <p:cNvSpPr/>
            <p:nvPr/>
          </p:nvSpPr>
          <p:spPr>
            <a:xfrm>
              <a:off x="5289550" y="4177087"/>
              <a:ext cx="31861" cy="97306"/>
            </a:xfrm>
            <a:custGeom>
              <a:avLst/>
              <a:gdLst>
                <a:gd name="connsiteX0" fmla="*/ 0 w 31861"/>
                <a:gd name="connsiteY0" fmla="*/ 96463 h 97306"/>
                <a:gd name="connsiteX1" fmla="*/ 0 w 31861"/>
                <a:gd name="connsiteY1" fmla="*/ 1213 h 97306"/>
                <a:gd name="connsiteX2" fmla="*/ 31750 w 31861"/>
                <a:gd name="connsiteY2" fmla="*/ 45663 h 97306"/>
                <a:gd name="connsiteX3" fmla="*/ 0 w 31861"/>
                <a:gd name="connsiteY3" fmla="*/ 96463 h 9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61" h="97306">
                  <a:moveTo>
                    <a:pt x="0" y="96463"/>
                  </a:moveTo>
                  <a:cubicBezTo>
                    <a:pt x="-5292" y="89055"/>
                    <a:pt x="-5292" y="9680"/>
                    <a:pt x="0" y="1213"/>
                  </a:cubicBezTo>
                  <a:cubicBezTo>
                    <a:pt x="5292" y="-7254"/>
                    <a:pt x="29633" y="30846"/>
                    <a:pt x="31750" y="45663"/>
                  </a:cubicBezTo>
                  <a:cubicBezTo>
                    <a:pt x="33867" y="60480"/>
                    <a:pt x="5292" y="103871"/>
                    <a:pt x="0" y="96463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49" name="任意多边形 48"/>
            <p:cNvSpPr/>
            <p:nvPr/>
          </p:nvSpPr>
          <p:spPr>
            <a:xfrm>
              <a:off x="5168524" y="2355545"/>
              <a:ext cx="146476" cy="191334"/>
            </a:xfrm>
            <a:custGeom>
              <a:avLst/>
              <a:gdLst>
                <a:gd name="connsiteX0" fmla="*/ 108326 w 146476"/>
                <a:gd name="connsiteY0" fmla="*/ 114605 h 191334"/>
                <a:gd name="connsiteX1" fmla="*/ 146426 w 146476"/>
                <a:gd name="connsiteY1" fmla="*/ 38405 h 191334"/>
                <a:gd name="connsiteX2" fmla="*/ 114676 w 146476"/>
                <a:gd name="connsiteY2" fmla="*/ 305 h 191334"/>
                <a:gd name="connsiteX3" fmla="*/ 44826 w 146476"/>
                <a:gd name="connsiteY3" fmla="*/ 57455 h 191334"/>
                <a:gd name="connsiteX4" fmla="*/ 19426 w 146476"/>
                <a:gd name="connsiteY4" fmla="*/ 89205 h 191334"/>
                <a:gd name="connsiteX5" fmla="*/ 32126 w 146476"/>
                <a:gd name="connsiteY5" fmla="*/ 127305 h 191334"/>
                <a:gd name="connsiteX6" fmla="*/ 376 w 146476"/>
                <a:gd name="connsiteY6" fmla="*/ 178105 h 191334"/>
                <a:gd name="connsiteX7" fmla="*/ 57526 w 146476"/>
                <a:gd name="connsiteY7" fmla="*/ 190805 h 191334"/>
                <a:gd name="connsiteX8" fmla="*/ 89276 w 146476"/>
                <a:gd name="connsiteY8" fmla="*/ 165405 h 191334"/>
                <a:gd name="connsiteX9" fmla="*/ 108326 w 146476"/>
                <a:gd name="connsiteY9" fmla="*/ 114605 h 191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476" h="191334">
                  <a:moveTo>
                    <a:pt x="108326" y="114605"/>
                  </a:moveTo>
                  <a:cubicBezTo>
                    <a:pt x="117851" y="93438"/>
                    <a:pt x="145368" y="57455"/>
                    <a:pt x="146426" y="38405"/>
                  </a:cubicBezTo>
                  <a:cubicBezTo>
                    <a:pt x="147484" y="19355"/>
                    <a:pt x="131609" y="-2870"/>
                    <a:pt x="114676" y="305"/>
                  </a:cubicBezTo>
                  <a:cubicBezTo>
                    <a:pt x="97743" y="3480"/>
                    <a:pt x="60701" y="42638"/>
                    <a:pt x="44826" y="57455"/>
                  </a:cubicBezTo>
                  <a:cubicBezTo>
                    <a:pt x="28951" y="72272"/>
                    <a:pt x="21543" y="77563"/>
                    <a:pt x="19426" y="89205"/>
                  </a:cubicBezTo>
                  <a:cubicBezTo>
                    <a:pt x="17309" y="100847"/>
                    <a:pt x="35301" y="112488"/>
                    <a:pt x="32126" y="127305"/>
                  </a:cubicBezTo>
                  <a:cubicBezTo>
                    <a:pt x="28951" y="142122"/>
                    <a:pt x="-3857" y="167522"/>
                    <a:pt x="376" y="178105"/>
                  </a:cubicBezTo>
                  <a:cubicBezTo>
                    <a:pt x="4609" y="188688"/>
                    <a:pt x="42709" y="192922"/>
                    <a:pt x="57526" y="190805"/>
                  </a:cubicBezTo>
                  <a:cubicBezTo>
                    <a:pt x="72343" y="188688"/>
                    <a:pt x="78693" y="172813"/>
                    <a:pt x="89276" y="165405"/>
                  </a:cubicBezTo>
                  <a:cubicBezTo>
                    <a:pt x="99859" y="157997"/>
                    <a:pt x="98801" y="135772"/>
                    <a:pt x="108326" y="114605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0" name="任意多边形 49"/>
            <p:cNvSpPr/>
            <p:nvPr/>
          </p:nvSpPr>
          <p:spPr>
            <a:xfrm>
              <a:off x="2084908" y="3571523"/>
              <a:ext cx="70722" cy="58443"/>
            </a:xfrm>
            <a:custGeom>
              <a:avLst/>
              <a:gdLst>
                <a:gd name="connsiteX0" fmla="*/ 61392 w 70722"/>
                <a:gd name="connsiteY0" fmla="*/ 3527 h 58443"/>
                <a:gd name="connsiteX1" fmla="*/ 10592 w 70722"/>
                <a:gd name="connsiteY1" fmla="*/ 9877 h 58443"/>
                <a:gd name="connsiteX2" fmla="*/ 4242 w 70722"/>
                <a:gd name="connsiteY2" fmla="*/ 54327 h 58443"/>
                <a:gd name="connsiteX3" fmla="*/ 61392 w 70722"/>
                <a:gd name="connsiteY3" fmla="*/ 54327 h 58443"/>
                <a:gd name="connsiteX4" fmla="*/ 61392 w 70722"/>
                <a:gd name="connsiteY4" fmla="*/ 3527 h 5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22" h="58443">
                  <a:moveTo>
                    <a:pt x="61392" y="3527"/>
                  </a:moveTo>
                  <a:cubicBezTo>
                    <a:pt x="52925" y="-3881"/>
                    <a:pt x="20117" y="1410"/>
                    <a:pt x="10592" y="9877"/>
                  </a:cubicBezTo>
                  <a:cubicBezTo>
                    <a:pt x="1067" y="18344"/>
                    <a:pt x="-4225" y="46919"/>
                    <a:pt x="4242" y="54327"/>
                  </a:cubicBezTo>
                  <a:cubicBezTo>
                    <a:pt x="12709" y="61735"/>
                    <a:pt x="45517" y="57502"/>
                    <a:pt x="61392" y="54327"/>
                  </a:cubicBezTo>
                  <a:cubicBezTo>
                    <a:pt x="77267" y="51152"/>
                    <a:pt x="69859" y="10935"/>
                    <a:pt x="61392" y="3527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2" name="任意多边形 51"/>
            <p:cNvSpPr/>
            <p:nvPr/>
          </p:nvSpPr>
          <p:spPr>
            <a:xfrm>
              <a:off x="2215619" y="3492238"/>
              <a:ext cx="56557" cy="82812"/>
            </a:xfrm>
            <a:custGeom>
              <a:avLst/>
              <a:gdLst>
                <a:gd name="connsiteX0" fmla="*/ 51331 w 56557"/>
                <a:gd name="connsiteY0" fmla="*/ 262 h 82812"/>
                <a:gd name="connsiteX1" fmla="*/ 531 w 56557"/>
                <a:gd name="connsiteY1" fmla="*/ 32012 h 82812"/>
                <a:gd name="connsiteX2" fmla="*/ 25931 w 56557"/>
                <a:gd name="connsiteY2" fmla="*/ 51062 h 82812"/>
                <a:gd name="connsiteX3" fmla="*/ 44981 w 56557"/>
                <a:gd name="connsiteY3" fmla="*/ 82812 h 82812"/>
                <a:gd name="connsiteX4" fmla="*/ 51331 w 56557"/>
                <a:gd name="connsiteY4" fmla="*/ 51062 h 82812"/>
                <a:gd name="connsiteX5" fmla="*/ 51331 w 56557"/>
                <a:gd name="connsiteY5" fmla="*/ 262 h 8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557" h="82812">
                  <a:moveTo>
                    <a:pt x="51331" y="262"/>
                  </a:moveTo>
                  <a:cubicBezTo>
                    <a:pt x="42864" y="-2913"/>
                    <a:pt x="4764" y="23545"/>
                    <a:pt x="531" y="32012"/>
                  </a:cubicBezTo>
                  <a:cubicBezTo>
                    <a:pt x="-3702" y="40479"/>
                    <a:pt x="18523" y="42595"/>
                    <a:pt x="25931" y="51062"/>
                  </a:cubicBezTo>
                  <a:cubicBezTo>
                    <a:pt x="33339" y="59529"/>
                    <a:pt x="40748" y="82812"/>
                    <a:pt x="44981" y="82812"/>
                  </a:cubicBezTo>
                  <a:cubicBezTo>
                    <a:pt x="49214" y="82812"/>
                    <a:pt x="46039" y="61645"/>
                    <a:pt x="51331" y="51062"/>
                  </a:cubicBezTo>
                  <a:cubicBezTo>
                    <a:pt x="56623" y="40479"/>
                    <a:pt x="59798" y="3437"/>
                    <a:pt x="51331" y="262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3" name="任意多边形 52"/>
            <p:cNvSpPr/>
            <p:nvPr/>
          </p:nvSpPr>
          <p:spPr>
            <a:xfrm>
              <a:off x="2273278" y="3981349"/>
              <a:ext cx="55760" cy="51651"/>
            </a:xfrm>
            <a:custGeom>
              <a:avLst/>
              <a:gdLst>
                <a:gd name="connsiteX0" fmla="*/ 44472 w 55760"/>
                <a:gd name="connsiteY0" fmla="*/ 101 h 51651"/>
                <a:gd name="connsiteX1" fmla="*/ 22 w 55760"/>
                <a:gd name="connsiteY1" fmla="*/ 38201 h 51651"/>
                <a:gd name="connsiteX2" fmla="*/ 50822 w 55760"/>
                <a:gd name="connsiteY2" fmla="*/ 50901 h 51651"/>
                <a:gd name="connsiteX3" fmla="*/ 44472 w 55760"/>
                <a:gd name="connsiteY3" fmla="*/ 101 h 51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760" h="51651">
                  <a:moveTo>
                    <a:pt x="44472" y="101"/>
                  </a:moveTo>
                  <a:cubicBezTo>
                    <a:pt x="36005" y="-2016"/>
                    <a:pt x="-1036" y="29734"/>
                    <a:pt x="22" y="38201"/>
                  </a:cubicBezTo>
                  <a:cubicBezTo>
                    <a:pt x="1080" y="46668"/>
                    <a:pt x="40239" y="54076"/>
                    <a:pt x="50822" y="50901"/>
                  </a:cubicBezTo>
                  <a:cubicBezTo>
                    <a:pt x="61405" y="47726"/>
                    <a:pt x="52939" y="2218"/>
                    <a:pt x="44472" y="101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4" name="椭圆 53"/>
            <p:cNvSpPr/>
            <p:nvPr/>
          </p:nvSpPr>
          <p:spPr>
            <a:xfrm>
              <a:off x="5171747" y="4007174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7" name="椭圆 56"/>
            <p:cNvSpPr/>
            <p:nvPr/>
          </p:nvSpPr>
          <p:spPr>
            <a:xfrm>
              <a:off x="5171747" y="3808156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8" name="椭圆 57"/>
            <p:cNvSpPr/>
            <p:nvPr/>
          </p:nvSpPr>
          <p:spPr>
            <a:xfrm>
              <a:off x="5282368" y="3932124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59" name="椭圆 58"/>
            <p:cNvSpPr/>
            <p:nvPr/>
          </p:nvSpPr>
          <p:spPr>
            <a:xfrm>
              <a:off x="5267128" y="3842941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0" name="椭圆 59"/>
            <p:cNvSpPr/>
            <p:nvPr/>
          </p:nvSpPr>
          <p:spPr>
            <a:xfrm>
              <a:off x="5225830" y="3754816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1" name="椭圆 60"/>
            <p:cNvSpPr/>
            <p:nvPr/>
          </p:nvSpPr>
          <p:spPr>
            <a:xfrm>
              <a:off x="5186987" y="4366215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2" name="椭圆 61"/>
            <p:cNvSpPr/>
            <p:nvPr/>
          </p:nvSpPr>
          <p:spPr>
            <a:xfrm>
              <a:off x="5225087" y="4448981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3" name="椭圆 62"/>
            <p:cNvSpPr/>
            <p:nvPr/>
          </p:nvSpPr>
          <p:spPr>
            <a:xfrm>
              <a:off x="5209847" y="4630019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5" name="椭圆 64"/>
            <p:cNvSpPr/>
            <p:nvPr/>
          </p:nvSpPr>
          <p:spPr>
            <a:xfrm>
              <a:off x="5285655" y="4630019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6" name="椭圆 65"/>
            <p:cNvSpPr/>
            <p:nvPr/>
          </p:nvSpPr>
          <p:spPr>
            <a:xfrm>
              <a:off x="5285655" y="4693291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7" name="椭圆 66"/>
            <p:cNvSpPr/>
            <p:nvPr/>
          </p:nvSpPr>
          <p:spPr>
            <a:xfrm>
              <a:off x="5285655" y="4777458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8" name="椭圆 67"/>
            <p:cNvSpPr/>
            <p:nvPr/>
          </p:nvSpPr>
          <p:spPr>
            <a:xfrm>
              <a:off x="2593366" y="4348908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69" name="椭圆 68"/>
            <p:cNvSpPr/>
            <p:nvPr/>
          </p:nvSpPr>
          <p:spPr>
            <a:xfrm>
              <a:off x="2546462" y="4402248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0" name="椭圆 69"/>
            <p:cNvSpPr/>
            <p:nvPr/>
          </p:nvSpPr>
          <p:spPr>
            <a:xfrm>
              <a:off x="2377228" y="4341288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1" name="椭圆 70"/>
            <p:cNvSpPr/>
            <p:nvPr/>
          </p:nvSpPr>
          <p:spPr>
            <a:xfrm>
              <a:off x="2399370" y="4447968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2" name="椭圆 71"/>
            <p:cNvSpPr/>
            <p:nvPr/>
          </p:nvSpPr>
          <p:spPr>
            <a:xfrm>
              <a:off x="1939928" y="4758096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3" name="椭圆 72"/>
            <p:cNvSpPr/>
            <p:nvPr/>
          </p:nvSpPr>
          <p:spPr>
            <a:xfrm>
              <a:off x="2518082" y="4788576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4" name="椭圆 73"/>
            <p:cNvSpPr/>
            <p:nvPr/>
          </p:nvSpPr>
          <p:spPr>
            <a:xfrm>
              <a:off x="1735308" y="5004600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5" name="椭圆 74"/>
            <p:cNvSpPr/>
            <p:nvPr/>
          </p:nvSpPr>
          <p:spPr>
            <a:xfrm>
              <a:off x="1897016" y="5019840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  <p:sp>
          <p:nvSpPr>
            <p:cNvPr id="76" name="椭圆 75"/>
            <p:cNvSpPr/>
            <p:nvPr/>
          </p:nvSpPr>
          <p:spPr>
            <a:xfrm>
              <a:off x="1644549" y="5073180"/>
              <a:ext cx="36000" cy="36000"/>
            </a:xfrm>
            <a:prstGeom prst="ellipse">
              <a:avLst/>
            </a:prstGeom>
            <a:grpFill/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/>
            </a:p>
          </p:txBody>
        </p:sp>
      </p:grpSp>
      <p:grpSp>
        <p:nvGrpSpPr>
          <p:cNvPr id="10248" name="组合 18432"/>
          <p:cNvGrpSpPr>
            <a:grpSpLocks/>
          </p:cNvGrpSpPr>
          <p:nvPr/>
        </p:nvGrpSpPr>
        <p:grpSpPr bwMode="auto">
          <a:xfrm>
            <a:off x="5330768" y="1778000"/>
            <a:ext cx="1152525" cy="274638"/>
            <a:chOff x="5666238" y="1785939"/>
            <a:chExt cx="753747" cy="275407"/>
          </a:xfrm>
        </p:grpSpPr>
        <p:sp>
          <p:nvSpPr>
            <p:cNvPr id="56" name="椭圆 55"/>
            <p:cNvSpPr/>
            <p:nvPr/>
          </p:nvSpPr>
          <p:spPr>
            <a:xfrm>
              <a:off x="5666238" y="1878272"/>
              <a:ext cx="107975" cy="10825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311" name="TextBox 18431"/>
            <p:cNvSpPr txBox="1">
              <a:spLocks noChangeArrowheads="1"/>
            </p:cNvSpPr>
            <p:nvPr/>
          </p:nvSpPr>
          <p:spPr bwMode="auto">
            <a:xfrm>
              <a:off x="5720225" y="1785939"/>
              <a:ext cx="699760" cy="275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1200" b="1">
                  <a:solidFill>
                    <a:srgbClr val="262626"/>
                  </a:solidFill>
                  <a:latin typeface="Segoe WP"/>
                </a:rPr>
                <a:t> </a:t>
              </a:r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Changchun</a:t>
              </a:r>
            </a:p>
          </p:txBody>
        </p:sp>
      </p:grpSp>
      <p:grpSp>
        <p:nvGrpSpPr>
          <p:cNvPr id="10249" name="组合 81"/>
          <p:cNvGrpSpPr>
            <a:grpSpLocks/>
          </p:cNvGrpSpPr>
          <p:nvPr/>
        </p:nvGrpSpPr>
        <p:grpSpPr bwMode="auto">
          <a:xfrm>
            <a:off x="5214881" y="2478088"/>
            <a:ext cx="754062" cy="274637"/>
            <a:chOff x="5666238" y="1785939"/>
            <a:chExt cx="753747" cy="273833"/>
          </a:xfrm>
        </p:grpSpPr>
        <p:sp>
          <p:nvSpPr>
            <p:cNvPr id="83" name="椭圆 82"/>
            <p:cNvSpPr/>
            <p:nvPr/>
          </p:nvSpPr>
          <p:spPr>
            <a:xfrm>
              <a:off x="5666238" y="1879327"/>
              <a:ext cx="107905" cy="107634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309" name="TextBox 83"/>
            <p:cNvSpPr txBox="1">
              <a:spLocks noChangeArrowheads="1"/>
            </p:cNvSpPr>
            <p:nvPr/>
          </p:nvSpPr>
          <p:spPr bwMode="auto">
            <a:xfrm>
              <a:off x="5720190" y="1785939"/>
              <a:ext cx="699795" cy="273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Dalian</a:t>
              </a:r>
            </a:p>
          </p:txBody>
        </p:sp>
      </p:grpSp>
      <p:grpSp>
        <p:nvGrpSpPr>
          <p:cNvPr id="10250" name="组合 18435"/>
          <p:cNvGrpSpPr>
            <a:grpSpLocks/>
          </p:cNvGrpSpPr>
          <p:nvPr/>
        </p:nvGrpSpPr>
        <p:grpSpPr bwMode="auto">
          <a:xfrm>
            <a:off x="3891228" y="2641600"/>
            <a:ext cx="1079500" cy="274638"/>
            <a:chOff x="4394683" y="2624793"/>
            <a:chExt cx="849448" cy="273833"/>
          </a:xfrm>
        </p:grpSpPr>
        <p:sp>
          <p:nvSpPr>
            <p:cNvPr id="86" name="椭圆 85"/>
            <p:cNvSpPr/>
            <p:nvPr/>
          </p:nvSpPr>
          <p:spPr>
            <a:xfrm>
              <a:off x="5099225" y="2715016"/>
              <a:ext cx="144906" cy="144039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307" name="TextBox 86"/>
            <p:cNvSpPr txBox="1">
              <a:spLocks noChangeArrowheads="1"/>
            </p:cNvSpPr>
            <p:nvPr/>
          </p:nvSpPr>
          <p:spPr bwMode="auto">
            <a:xfrm>
              <a:off x="4394683" y="2624793"/>
              <a:ext cx="700795" cy="273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zh-CN" altLang="en-US" sz="1200" b="1">
                  <a:solidFill>
                    <a:srgbClr val="262626"/>
                  </a:solidFill>
                  <a:latin typeface="Segoe WP"/>
                </a:rPr>
                <a:t> </a:t>
              </a:r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Tianjin</a:t>
              </a:r>
            </a:p>
          </p:txBody>
        </p:sp>
      </p:grpSp>
      <p:grpSp>
        <p:nvGrpSpPr>
          <p:cNvPr id="10251" name="组合 88"/>
          <p:cNvGrpSpPr>
            <a:grpSpLocks/>
          </p:cNvGrpSpPr>
          <p:nvPr/>
        </p:nvGrpSpPr>
        <p:grpSpPr bwMode="auto">
          <a:xfrm>
            <a:off x="3603195" y="2274888"/>
            <a:ext cx="1099614" cy="352425"/>
            <a:chOff x="4372986" y="2471796"/>
            <a:chExt cx="726380" cy="350945"/>
          </a:xfrm>
        </p:grpSpPr>
        <p:sp>
          <p:nvSpPr>
            <p:cNvPr id="90" name="椭圆 89"/>
            <p:cNvSpPr/>
            <p:nvPr/>
          </p:nvSpPr>
          <p:spPr>
            <a:xfrm>
              <a:off x="4991354" y="2715244"/>
              <a:ext cx="108012" cy="107497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305" name="TextBox 90"/>
            <p:cNvSpPr txBox="1">
              <a:spLocks noChangeArrowheads="1"/>
            </p:cNvSpPr>
            <p:nvPr/>
          </p:nvSpPr>
          <p:spPr bwMode="auto">
            <a:xfrm>
              <a:off x="4372986" y="2471796"/>
              <a:ext cx="699460" cy="273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zh-CN" altLang="en-US" sz="1200" b="1" dirty="0">
                  <a:solidFill>
                    <a:srgbClr val="262626"/>
                  </a:solidFill>
                  <a:latin typeface="Segoe WP"/>
                </a:rPr>
                <a:t> </a:t>
              </a:r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Beijing </a:t>
              </a:r>
            </a:p>
          </p:txBody>
        </p:sp>
      </p:grpSp>
      <p:grpSp>
        <p:nvGrpSpPr>
          <p:cNvPr id="10252" name="组合 91"/>
          <p:cNvGrpSpPr>
            <a:grpSpLocks/>
          </p:cNvGrpSpPr>
          <p:nvPr/>
        </p:nvGrpSpPr>
        <p:grpSpPr bwMode="auto">
          <a:xfrm>
            <a:off x="5187422" y="2798886"/>
            <a:ext cx="1008062" cy="274638"/>
            <a:chOff x="5666238" y="1785939"/>
            <a:chExt cx="768261" cy="275407"/>
          </a:xfrm>
        </p:grpSpPr>
        <p:sp>
          <p:nvSpPr>
            <p:cNvPr id="93" name="椭圆 92"/>
            <p:cNvSpPr/>
            <p:nvPr/>
          </p:nvSpPr>
          <p:spPr>
            <a:xfrm>
              <a:off x="5666238" y="1878272"/>
              <a:ext cx="107677" cy="10825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303" name="TextBox 93"/>
            <p:cNvSpPr txBox="1">
              <a:spLocks noChangeArrowheads="1"/>
            </p:cNvSpPr>
            <p:nvPr/>
          </p:nvSpPr>
          <p:spPr bwMode="auto">
            <a:xfrm>
              <a:off x="5733990" y="1785939"/>
              <a:ext cx="700509" cy="275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Qingdao</a:t>
              </a:r>
            </a:p>
          </p:txBody>
        </p:sp>
      </p:grpSp>
      <p:sp>
        <p:nvSpPr>
          <p:cNvPr id="10301" name="TextBox 96"/>
          <p:cNvSpPr txBox="1">
            <a:spLocks noChangeArrowheads="1"/>
          </p:cNvSpPr>
          <p:nvPr/>
        </p:nvSpPr>
        <p:spPr bwMode="auto">
          <a:xfrm>
            <a:off x="5368096" y="3540869"/>
            <a:ext cx="116041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40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WP"/>
              </a:rPr>
              <a:t>Shanghai</a:t>
            </a:r>
          </a:p>
        </p:txBody>
      </p:sp>
      <p:grpSp>
        <p:nvGrpSpPr>
          <p:cNvPr id="10254" name="组合 97"/>
          <p:cNvGrpSpPr>
            <a:grpSpLocks/>
          </p:cNvGrpSpPr>
          <p:nvPr/>
        </p:nvGrpSpPr>
        <p:grpSpPr bwMode="auto">
          <a:xfrm>
            <a:off x="4513206" y="3361556"/>
            <a:ext cx="746125" cy="274638"/>
            <a:chOff x="5793095" y="1752420"/>
            <a:chExt cx="745814" cy="274417"/>
          </a:xfrm>
        </p:grpSpPr>
        <p:sp>
          <p:nvSpPr>
            <p:cNvPr id="99" name="椭圆 98"/>
            <p:cNvSpPr/>
            <p:nvPr/>
          </p:nvSpPr>
          <p:spPr>
            <a:xfrm>
              <a:off x="6431004" y="1864221"/>
              <a:ext cx="107905" cy="10786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99" name="TextBox 99"/>
            <p:cNvSpPr txBox="1">
              <a:spLocks noChangeArrowheads="1"/>
            </p:cNvSpPr>
            <p:nvPr/>
          </p:nvSpPr>
          <p:spPr bwMode="auto">
            <a:xfrm>
              <a:off x="5793095" y="1752420"/>
              <a:ext cx="699796" cy="274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Suzhou</a:t>
              </a:r>
              <a:endParaRPr lang="zh-CN" altLang="en-US" sz="1200" b="1" dirty="0">
                <a:solidFill>
                  <a:srgbClr val="262626"/>
                </a:solidFill>
                <a:latin typeface="Segoe WP"/>
              </a:endParaRPr>
            </a:p>
          </p:txBody>
        </p:sp>
      </p:grpSp>
      <p:grpSp>
        <p:nvGrpSpPr>
          <p:cNvPr id="10255" name="组合 100"/>
          <p:cNvGrpSpPr>
            <a:grpSpLocks/>
          </p:cNvGrpSpPr>
          <p:nvPr/>
        </p:nvGrpSpPr>
        <p:grpSpPr bwMode="auto">
          <a:xfrm>
            <a:off x="4467291" y="3158926"/>
            <a:ext cx="704729" cy="317698"/>
            <a:chOff x="5746438" y="1800373"/>
            <a:chExt cx="705387" cy="316767"/>
          </a:xfrm>
        </p:grpSpPr>
        <p:sp>
          <p:nvSpPr>
            <p:cNvPr id="102" name="椭圆 101"/>
            <p:cNvSpPr/>
            <p:nvPr/>
          </p:nvSpPr>
          <p:spPr>
            <a:xfrm>
              <a:off x="6343774" y="2009506"/>
              <a:ext cx="108051" cy="107634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97" name="TextBox 102"/>
            <p:cNvSpPr txBox="1">
              <a:spLocks noChangeArrowheads="1"/>
            </p:cNvSpPr>
            <p:nvPr/>
          </p:nvSpPr>
          <p:spPr bwMode="auto">
            <a:xfrm>
              <a:off x="5746438" y="1800373"/>
              <a:ext cx="699152" cy="273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Wuxi</a:t>
              </a:r>
            </a:p>
          </p:txBody>
        </p:sp>
      </p:grpSp>
      <p:grpSp>
        <p:nvGrpSpPr>
          <p:cNvPr id="10256" name="组合 103"/>
          <p:cNvGrpSpPr>
            <a:grpSpLocks/>
          </p:cNvGrpSpPr>
          <p:nvPr/>
        </p:nvGrpSpPr>
        <p:grpSpPr bwMode="auto">
          <a:xfrm>
            <a:off x="5075174" y="3786187"/>
            <a:ext cx="1264321" cy="367457"/>
            <a:chOff x="5667254" y="1879327"/>
            <a:chExt cx="722524" cy="366380"/>
          </a:xfrm>
        </p:grpSpPr>
        <p:sp>
          <p:nvSpPr>
            <p:cNvPr id="105" name="椭圆 104"/>
            <p:cNvSpPr/>
            <p:nvPr/>
          </p:nvSpPr>
          <p:spPr>
            <a:xfrm>
              <a:off x="5667254" y="1879327"/>
              <a:ext cx="106143" cy="107634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95" name="TextBox 105"/>
            <p:cNvSpPr txBox="1">
              <a:spLocks noChangeArrowheads="1"/>
            </p:cNvSpPr>
            <p:nvPr/>
          </p:nvSpPr>
          <p:spPr bwMode="auto">
            <a:xfrm>
              <a:off x="5690318" y="1971874"/>
              <a:ext cx="699460" cy="273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Hangzhou</a:t>
              </a:r>
            </a:p>
          </p:txBody>
        </p:sp>
      </p:grpSp>
      <p:sp>
        <p:nvSpPr>
          <p:cNvPr id="108" name="椭圆 107"/>
          <p:cNvSpPr/>
          <p:nvPr/>
        </p:nvSpPr>
        <p:spPr>
          <a:xfrm>
            <a:off x="4540193" y="3814763"/>
            <a:ext cx="107950" cy="107950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258" name="TextBox 108"/>
          <p:cNvSpPr txBox="1">
            <a:spLocks noChangeArrowheads="1"/>
          </p:cNvSpPr>
          <p:nvPr/>
        </p:nvSpPr>
        <p:spPr bwMode="auto">
          <a:xfrm>
            <a:off x="3819220" y="3505572"/>
            <a:ext cx="8636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600" b="1" dirty="0">
                <a:solidFill>
                  <a:srgbClr val="0D0D0D"/>
                </a:solidFill>
                <a:latin typeface="Segoe WP"/>
              </a:rPr>
              <a:t>Wuhan</a:t>
            </a:r>
          </a:p>
        </p:txBody>
      </p:sp>
      <p:grpSp>
        <p:nvGrpSpPr>
          <p:cNvPr id="10259" name="组合 109"/>
          <p:cNvGrpSpPr>
            <a:grpSpLocks/>
          </p:cNvGrpSpPr>
          <p:nvPr/>
        </p:nvGrpSpPr>
        <p:grpSpPr bwMode="auto">
          <a:xfrm>
            <a:off x="5187893" y="4370388"/>
            <a:ext cx="712788" cy="274637"/>
            <a:chOff x="5666238" y="1785939"/>
            <a:chExt cx="713974" cy="275407"/>
          </a:xfrm>
        </p:grpSpPr>
        <p:sp>
          <p:nvSpPr>
            <p:cNvPr id="111" name="椭圆 110"/>
            <p:cNvSpPr/>
            <p:nvPr/>
          </p:nvSpPr>
          <p:spPr>
            <a:xfrm>
              <a:off x="5666238" y="1878272"/>
              <a:ext cx="108130" cy="10825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93" name="TextBox 111"/>
            <p:cNvSpPr txBox="1">
              <a:spLocks noChangeArrowheads="1"/>
            </p:cNvSpPr>
            <p:nvPr/>
          </p:nvSpPr>
          <p:spPr bwMode="auto">
            <a:xfrm>
              <a:off x="5680549" y="1785939"/>
              <a:ext cx="699663" cy="275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Xiamen</a:t>
              </a:r>
            </a:p>
          </p:txBody>
        </p:sp>
      </p:grpSp>
      <p:grpSp>
        <p:nvGrpSpPr>
          <p:cNvPr id="10260" name="组合 112"/>
          <p:cNvGrpSpPr>
            <a:grpSpLocks/>
          </p:cNvGrpSpPr>
          <p:nvPr/>
        </p:nvGrpSpPr>
        <p:grpSpPr bwMode="auto">
          <a:xfrm>
            <a:off x="2976828" y="3734991"/>
            <a:ext cx="914400" cy="274637"/>
            <a:chOff x="5212444" y="1871506"/>
            <a:chExt cx="699460" cy="275407"/>
          </a:xfrm>
        </p:grpSpPr>
        <p:sp>
          <p:nvSpPr>
            <p:cNvPr id="114" name="椭圆 113"/>
            <p:cNvSpPr/>
            <p:nvPr/>
          </p:nvSpPr>
          <p:spPr>
            <a:xfrm>
              <a:off x="5666361" y="1878272"/>
              <a:ext cx="106862" cy="10825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91" name="TextBox 114"/>
            <p:cNvSpPr txBox="1">
              <a:spLocks noChangeArrowheads="1"/>
            </p:cNvSpPr>
            <p:nvPr/>
          </p:nvSpPr>
          <p:spPr bwMode="auto">
            <a:xfrm>
              <a:off x="5212444" y="1871506"/>
              <a:ext cx="699460" cy="275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Chengdu</a:t>
              </a:r>
            </a:p>
          </p:txBody>
        </p:sp>
      </p:grpSp>
      <p:grpSp>
        <p:nvGrpSpPr>
          <p:cNvPr id="10261" name="组合 118"/>
          <p:cNvGrpSpPr>
            <a:grpSpLocks/>
          </p:cNvGrpSpPr>
          <p:nvPr/>
        </p:nvGrpSpPr>
        <p:grpSpPr bwMode="auto">
          <a:xfrm>
            <a:off x="4107252" y="4801716"/>
            <a:ext cx="698500" cy="274638"/>
            <a:chOff x="5195682" y="1774323"/>
            <a:chExt cx="699460" cy="275407"/>
          </a:xfrm>
        </p:grpSpPr>
        <p:sp>
          <p:nvSpPr>
            <p:cNvPr id="120" name="椭圆 119"/>
            <p:cNvSpPr/>
            <p:nvPr/>
          </p:nvSpPr>
          <p:spPr>
            <a:xfrm>
              <a:off x="5665781" y="1774328"/>
              <a:ext cx="108098" cy="108253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89" name="TextBox 120"/>
            <p:cNvSpPr txBox="1">
              <a:spLocks noChangeArrowheads="1"/>
            </p:cNvSpPr>
            <p:nvPr/>
          </p:nvSpPr>
          <p:spPr bwMode="auto">
            <a:xfrm>
              <a:off x="5195682" y="1774323"/>
              <a:ext cx="699460" cy="2754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Zhuhai</a:t>
              </a:r>
            </a:p>
          </p:txBody>
        </p:sp>
      </p:grpSp>
      <p:grpSp>
        <p:nvGrpSpPr>
          <p:cNvPr id="10262" name="组合 121"/>
          <p:cNvGrpSpPr>
            <a:grpSpLocks/>
          </p:cNvGrpSpPr>
          <p:nvPr/>
        </p:nvGrpSpPr>
        <p:grpSpPr bwMode="auto">
          <a:xfrm>
            <a:off x="4683312" y="4585692"/>
            <a:ext cx="1109217" cy="286895"/>
            <a:chOff x="5561783" y="1821481"/>
            <a:chExt cx="803400" cy="287700"/>
          </a:xfrm>
        </p:grpSpPr>
        <p:sp>
          <p:nvSpPr>
            <p:cNvPr id="123" name="椭圆 122"/>
            <p:cNvSpPr/>
            <p:nvPr/>
          </p:nvSpPr>
          <p:spPr>
            <a:xfrm>
              <a:off x="5561783" y="1965905"/>
              <a:ext cx="144877" cy="143276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87" name="TextBox 123"/>
            <p:cNvSpPr txBox="1">
              <a:spLocks noChangeArrowheads="1"/>
            </p:cNvSpPr>
            <p:nvPr/>
          </p:nvSpPr>
          <p:spPr bwMode="auto">
            <a:xfrm>
              <a:off x="5666094" y="1821481"/>
              <a:ext cx="699089" cy="275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Shenzhen</a:t>
              </a:r>
            </a:p>
          </p:txBody>
        </p:sp>
      </p:grpSp>
      <p:sp>
        <p:nvSpPr>
          <p:cNvPr id="126" name="椭圆 125"/>
          <p:cNvSpPr/>
          <p:nvPr/>
        </p:nvSpPr>
        <p:spPr>
          <a:xfrm>
            <a:off x="4551306" y="4711700"/>
            <a:ext cx="107950" cy="107950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0264" name="TextBox 126"/>
          <p:cNvSpPr txBox="1">
            <a:spLocks noChangeArrowheads="1"/>
          </p:cNvSpPr>
          <p:nvPr/>
        </p:nvSpPr>
        <p:spPr bwMode="auto">
          <a:xfrm>
            <a:off x="4106806" y="4370388"/>
            <a:ext cx="12128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600" b="1">
                <a:solidFill>
                  <a:srgbClr val="0D0D0D"/>
                </a:solidFill>
                <a:latin typeface="Segoe WP"/>
              </a:rPr>
              <a:t>Guangzhou</a:t>
            </a:r>
          </a:p>
        </p:txBody>
      </p:sp>
      <p:grpSp>
        <p:nvGrpSpPr>
          <p:cNvPr id="10265" name="组合 127"/>
          <p:cNvGrpSpPr>
            <a:grpSpLocks/>
          </p:cNvGrpSpPr>
          <p:nvPr/>
        </p:nvGrpSpPr>
        <p:grpSpPr bwMode="auto">
          <a:xfrm>
            <a:off x="4533441" y="4837778"/>
            <a:ext cx="944563" cy="392782"/>
            <a:chOff x="5482514" y="1771610"/>
            <a:chExt cx="742260" cy="392206"/>
          </a:xfrm>
        </p:grpSpPr>
        <p:sp>
          <p:nvSpPr>
            <p:cNvPr id="129" name="椭圆 128"/>
            <p:cNvSpPr/>
            <p:nvPr/>
          </p:nvSpPr>
          <p:spPr>
            <a:xfrm>
              <a:off x="5600294" y="1771610"/>
              <a:ext cx="107285" cy="107791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85" name="TextBox 129"/>
            <p:cNvSpPr txBox="1">
              <a:spLocks noChangeArrowheads="1"/>
            </p:cNvSpPr>
            <p:nvPr/>
          </p:nvSpPr>
          <p:spPr bwMode="auto">
            <a:xfrm>
              <a:off x="5482514" y="1889582"/>
              <a:ext cx="742260" cy="2742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Dongguan</a:t>
              </a:r>
            </a:p>
          </p:txBody>
        </p:sp>
      </p:grpSp>
      <p:grpSp>
        <p:nvGrpSpPr>
          <p:cNvPr id="10266" name="组合 131"/>
          <p:cNvGrpSpPr>
            <a:grpSpLocks/>
          </p:cNvGrpSpPr>
          <p:nvPr/>
        </p:nvGrpSpPr>
        <p:grpSpPr bwMode="auto">
          <a:xfrm>
            <a:off x="3263149" y="3959224"/>
            <a:ext cx="916111" cy="302250"/>
            <a:chOff x="4980583" y="1879327"/>
            <a:chExt cx="915291" cy="301365"/>
          </a:xfrm>
        </p:grpSpPr>
        <p:sp>
          <p:nvSpPr>
            <p:cNvPr id="133" name="椭圆 132"/>
            <p:cNvSpPr/>
            <p:nvPr/>
          </p:nvSpPr>
          <p:spPr>
            <a:xfrm>
              <a:off x="5665890" y="1879327"/>
              <a:ext cx="107853" cy="107634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83" name="TextBox 133"/>
            <p:cNvSpPr txBox="1">
              <a:spLocks noChangeArrowheads="1"/>
            </p:cNvSpPr>
            <p:nvPr/>
          </p:nvSpPr>
          <p:spPr bwMode="auto">
            <a:xfrm>
              <a:off x="4980583" y="1904504"/>
              <a:ext cx="915291" cy="276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Chongqing</a:t>
              </a:r>
            </a:p>
          </p:txBody>
        </p:sp>
      </p:grpSp>
      <p:sp>
        <p:nvSpPr>
          <p:cNvPr id="18442" name="矩形标注 18441"/>
          <p:cNvSpPr/>
          <p:nvPr/>
        </p:nvSpPr>
        <p:spPr>
          <a:xfrm>
            <a:off x="5617483" y="4786929"/>
            <a:ext cx="1198658" cy="718879"/>
          </a:xfrm>
          <a:prstGeom prst="wedgeRectCallout">
            <a:avLst>
              <a:gd name="adj1" fmla="val -39969"/>
              <a:gd name="adj2" fmla="val -131704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The east region  of DenkeiTrade</a:t>
            </a:r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4" name="矩形标注 143"/>
          <p:cNvSpPr/>
          <p:nvPr/>
        </p:nvSpPr>
        <p:spPr>
          <a:xfrm>
            <a:off x="2727945" y="1778000"/>
            <a:ext cx="1307423" cy="741363"/>
          </a:xfrm>
          <a:prstGeom prst="wedgeRectCallout">
            <a:avLst>
              <a:gd name="adj1" fmla="val 90084"/>
              <a:gd name="adj2" fmla="val -4865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The north region of Denkei Trade </a:t>
            </a:r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6" name="矩形标注 145"/>
          <p:cNvSpPr/>
          <p:nvPr/>
        </p:nvSpPr>
        <p:spPr>
          <a:xfrm>
            <a:off x="1387777" y="3117105"/>
            <a:ext cx="1331590" cy="743200"/>
          </a:xfrm>
          <a:prstGeom prst="wedgeRectCallout">
            <a:avLst>
              <a:gd name="adj1" fmla="val 88803"/>
              <a:gd name="adj2" fmla="val -21920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The west region of Denkei Trade</a:t>
            </a:r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147" name="矩形标注 146"/>
          <p:cNvSpPr/>
          <p:nvPr/>
        </p:nvSpPr>
        <p:spPr>
          <a:xfrm>
            <a:off x="2556068" y="4639612"/>
            <a:ext cx="1257844" cy="872188"/>
          </a:xfrm>
          <a:prstGeom prst="wedgeRectCallout">
            <a:avLst>
              <a:gd name="adj1" fmla="val 92651"/>
              <a:gd name="adj2" fmla="val -28081"/>
            </a:avLst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  <a:ea typeface="+mj-ea"/>
              </a:rPr>
              <a:t>The South region of Denkei Trade</a:t>
            </a:r>
            <a:endParaRPr lang="zh-CN" altLang="en-US" sz="1200" b="1" dirty="0">
              <a:solidFill>
                <a:schemeClr val="tx1">
                  <a:lumMod val="95000"/>
                  <a:lumOff val="5000"/>
                </a:schemeClr>
              </a:solidFill>
              <a:latin typeface="+mj-ea"/>
              <a:ea typeface="+mj-ea"/>
            </a:endParaRPr>
          </a:p>
        </p:txBody>
      </p:sp>
      <p:cxnSp>
        <p:nvCxnSpPr>
          <p:cNvPr id="10274" name="直接连接符 163"/>
          <p:cNvCxnSpPr>
            <a:cxnSpLocks noChangeShapeType="1"/>
            <a:endCxn id="149" idx="1"/>
          </p:cNvCxnSpPr>
          <p:nvPr/>
        </p:nvCxnSpPr>
        <p:spPr bwMode="auto">
          <a:xfrm>
            <a:off x="5627754" y="3732366"/>
            <a:ext cx="1296539" cy="962469"/>
          </a:xfrm>
          <a:prstGeom prst="line">
            <a:avLst/>
          </a:prstGeom>
          <a:noFill/>
          <a:ln w="9525" algn="ctr">
            <a:solidFill>
              <a:srgbClr val="7F7F7F"/>
            </a:solidFill>
            <a:round/>
            <a:headEnd/>
            <a:tailEnd type="oval" w="med" len="med"/>
          </a:ln>
        </p:spPr>
      </p:cxnSp>
      <p:pic>
        <p:nvPicPr>
          <p:cNvPr id="10275" name="Picture 2" descr="C:\Users\beibei\Desktop\小泥巴水印.png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2250" y="4405313"/>
            <a:ext cx="1893888" cy="1144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76" name="组合 135"/>
          <p:cNvGrpSpPr>
            <a:grpSpLocks/>
          </p:cNvGrpSpPr>
          <p:nvPr/>
        </p:nvGrpSpPr>
        <p:grpSpPr bwMode="auto">
          <a:xfrm>
            <a:off x="4035368" y="2928938"/>
            <a:ext cx="935038" cy="288925"/>
            <a:chOff x="5746821" y="1858356"/>
            <a:chExt cx="720080" cy="288032"/>
          </a:xfrm>
        </p:grpSpPr>
        <p:sp>
          <p:nvSpPr>
            <p:cNvPr id="137" name="椭圆 136"/>
            <p:cNvSpPr/>
            <p:nvPr/>
          </p:nvSpPr>
          <p:spPr>
            <a:xfrm>
              <a:off x="6359317" y="2038772"/>
              <a:ext cx="107584" cy="107616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81" name="TextBox 137"/>
            <p:cNvSpPr txBox="1">
              <a:spLocks noChangeArrowheads="1"/>
            </p:cNvSpPr>
            <p:nvPr/>
          </p:nvSpPr>
          <p:spPr bwMode="auto">
            <a:xfrm>
              <a:off x="5746821" y="1858356"/>
              <a:ext cx="699297" cy="2737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en-US" altLang="zh-CN" sz="1200" b="1">
                  <a:solidFill>
                    <a:srgbClr val="262626"/>
                  </a:solidFill>
                  <a:latin typeface="Segoe WP"/>
                </a:rPr>
                <a:t>Nanjing</a:t>
              </a:r>
            </a:p>
          </p:txBody>
        </p:sp>
      </p:grpSp>
      <p:grpSp>
        <p:nvGrpSpPr>
          <p:cNvPr id="10277" name="组合 138"/>
          <p:cNvGrpSpPr>
            <a:grpSpLocks/>
          </p:cNvGrpSpPr>
          <p:nvPr/>
        </p:nvGrpSpPr>
        <p:grpSpPr bwMode="auto">
          <a:xfrm>
            <a:off x="5063473" y="3014910"/>
            <a:ext cx="915987" cy="382337"/>
            <a:chOff x="6230189" y="1589678"/>
            <a:chExt cx="699460" cy="382543"/>
          </a:xfrm>
        </p:grpSpPr>
        <p:sp>
          <p:nvSpPr>
            <p:cNvPr id="143" name="椭圆 142"/>
            <p:cNvSpPr/>
            <p:nvPr/>
          </p:nvSpPr>
          <p:spPr>
            <a:xfrm>
              <a:off x="6430663" y="1864213"/>
              <a:ext cx="107889" cy="108008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10279" name="TextBox 144"/>
            <p:cNvSpPr txBox="1">
              <a:spLocks noChangeArrowheads="1"/>
            </p:cNvSpPr>
            <p:nvPr/>
          </p:nvSpPr>
          <p:spPr bwMode="auto">
            <a:xfrm>
              <a:off x="6230189" y="1589678"/>
              <a:ext cx="699460" cy="274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en-US" altLang="zh-CN" sz="1200" b="1" dirty="0">
                  <a:solidFill>
                    <a:srgbClr val="262626"/>
                  </a:solidFill>
                  <a:latin typeface="Segoe WP"/>
                </a:rPr>
                <a:t>Changshu</a:t>
              </a:r>
            </a:p>
          </p:txBody>
        </p:sp>
      </p:grpSp>
      <p:sp>
        <p:nvSpPr>
          <p:cNvPr id="145" name="TextBox 129"/>
          <p:cNvSpPr txBox="1">
            <a:spLocks noChangeArrowheads="1"/>
          </p:cNvSpPr>
          <p:nvPr/>
        </p:nvSpPr>
        <p:spPr bwMode="auto">
          <a:xfrm>
            <a:off x="4827328" y="4787539"/>
            <a:ext cx="9445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 b="1" dirty="0" err="1">
                <a:solidFill>
                  <a:srgbClr val="262626"/>
                </a:solidFill>
                <a:latin typeface="Segoe WP"/>
              </a:rPr>
              <a:t>Longhua</a:t>
            </a:r>
            <a:endParaRPr lang="en-US" altLang="zh-CN" sz="1200" b="1" dirty="0">
              <a:solidFill>
                <a:srgbClr val="262626"/>
              </a:solidFill>
              <a:latin typeface="Segoe WP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293" y="3877869"/>
            <a:ext cx="2040195" cy="1633931"/>
          </a:xfrm>
          <a:prstGeom prst="roundRect">
            <a:avLst>
              <a:gd name="adj" fmla="val 8149"/>
            </a:avLst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0" name="Picture 4" descr="海誠外観効果図-最終"/>
          <p:cNvPicPr>
            <a:picLocks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4293" y="2108117"/>
            <a:ext cx="2040195" cy="1615045"/>
          </a:xfrm>
          <a:prstGeom prst="roundRect">
            <a:avLst>
              <a:gd name="adj" fmla="val 8149"/>
            </a:avLst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2" name="TextBox 18446"/>
          <p:cNvSpPr txBox="1"/>
          <p:nvPr/>
        </p:nvSpPr>
        <p:spPr>
          <a:xfrm>
            <a:off x="6985275" y="3013710"/>
            <a:ext cx="1979213" cy="707886"/>
          </a:xfrm>
          <a:prstGeom prst="rect">
            <a:avLst/>
          </a:prstGeom>
          <a:solidFill>
            <a:schemeClr val="tx1">
              <a:lumMod val="95000"/>
              <a:lumOff val="5000"/>
              <a:alpha val="42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1000" b="1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Minhang</a:t>
            </a:r>
            <a:r>
              <a:rPr lang="en-US" altLang="zh-CN" sz="1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 Testing Lab</a:t>
            </a:r>
          </a:p>
          <a:p>
            <a:pPr algn="ctr">
              <a:defRPr/>
            </a:pPr>
            <a:r>
              <a:rPr lang="en-US" altLang="zh-CN" sz="1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No.609, Road </a:t>
            </a:r>
            <a:r>
              <a:rPr lang="en-US" altLang="zh-CN" sz="1000" b="1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Ziri</a:t>
            </a:r>
            <a:r>
              <a:rPr lang="en-US" altLang="zh-CN" sz="1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, </a:t>
            </a:r>
            <a:r>
              <a:rPr lang="en-US" altLang="zh-CN" sz="1000" b="1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Zizhu</a:t>
            </a:r>
            <a:r>
              <a:rPr lang="en-US" altLang="zh-CN" sz="1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 Science Park, </a:t>
            </a:r>
            <a:r>
              <a:rPr lang="en-US" altLang="zh-CN" sz="1000" b="1" dirty="0" err="1">
                <a:solidFill>
                  <a:schemeClr val="bg1"/>
                </a:solidFill>
                <a:latin typeface="微软雅黑" charset="-122"/>
                <a:ea typeface="微软雅黑" charset="-122"/>
              </a:rPr>
              <a:t>Minhang</a:t>
            </a:r>
            <a:r>
              <a:rPr lang="en-US" altLang="zh-CN" sz="1000" b="1" dirty="0">
                <a:solidFill>
                  <a:schemeClr val="bg1"/>
                </a:solidFill>
                <a:latin typeface="微软雅黑" charset="-122"/>
                <a:ea typeface="微软雅黑" charset="-122"/>
              </a:rPr>
              <a:t> District, Shanghai</a:t>
            </a:r>
          </a:p>
        </p:txBody>
      </p:sp>
      <p:sp>
        <p:nvSpPr>
          <p:cNvPr id="153" name="TextBox 18446"/>
          <p:cNvSpPr txBox="1"/>
          <p:nvPr/>
        </p:nvSpPr>
        <p:spPr>
          <a:xfrm>
            <a:off x="6912112" y="4790152"/>
            <a:ext cx="2052376" cy="707886"/>
          </a:xfrm>
          <a:prstGeom prst="rect">
            <a:avLst/>
          </a:prstGeom>
          <a:solidFill>
            <a:schemeClr val="tx1">
              <a:lumMod val="95000"/>
              <a:lumOff val="5000"/>
              <a:alpha val="42000"/>
            </a:schemeClr>
          </a:solidFill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1000" b="1">
                <a:solidFill>
                  <a:schemeClr val="bg1"/>
                </a:solidFill>
                <a:latin typeface="微软雅黑" charset="-122"/>
                <a:ea typeface="微软雅黑" charset="-122"/>
              </a:defRPr>
            </a:lvl1pPr>
          </a:lstStyle>
          <a:p>
            <a:r>
              <a:rPr lang="en-US" altLang="zh-CN" dirty="0" err="1"/>
              <a:t>Pudong</a:t>
            </a:r>
            <a:r>
              <a:rPr lang="en-US" altLang="zh-CN" dirty="0"/>
              <a:t> Testing Lab</a:t>
            </a:r>
          </a:p>
          <a:p>
            <a:r>
              <a:rPr lang="en-US" altLang="zh-CN" dirty="0"/>
              <a:t>No.786,Wangqiao Road</a:t>
            </a:r>
            <a:r>
              <a:rPr lang="zh-CN" altLang="en-US" dirty="0"/>
              <a:t>，</a:t>
            </a:r>
            <a:r>
              <a:rPr lang="en-US" altLang="zh-CN" dirty="0" err="1"/>
              <a:t>Pudong</a:t>
            </a:r>
            <a:r>
              <a:rPr lang="en-US" altLang="zh-CN" dirty="0"/>
              <a:t> New Area</a:t>
            </a:r>
            <a:r>
              <a:rPr lang="zh-CN" altLang="en-US" dirty="0"/>
              <a:t>，</a:t>
            </a:r>
            <a:r>
              <a:rPr lang="en-US" altLang="zh-CN" dirty="0"/>
              <a:t>Shanghai</a:t>
            </a:r>
            <a:endParaRPr lang="zh-CN" altLang="en-US" dirty="0"/>
          </a:p>
        </p:txBody>
      </p:sp>
      <p:sp>
        <p:nvSpPr>
          <p:cNvPr id="154" name="TextBox 18446"/>
          <p:cNvSpPr txBox="1"/>
          <p:nvPr/>
        </p:nvSpPr>
        <p:spPr>
          <a:xfrm>
            <a:off x="6915564" y="2137420"/>
            <a:ext cx="18193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1000" b="1" dirty="0" err="1">
                <a:latin typeface="微软雅黑" charset="-122"/>
                <a:ea typeface="微软雅黑" charset="-122"/>
              </a:rPr>
              <a:t>Denkei</a:t>
            </a:r>
            <a:r>
              <a:rPr lang="en-US" altLang="zh-CN" sz="1000" b="1" dirty="0">
                <a:latin typeface="微软雅黑" charset="-122"/>
                <a:ea typeface="微软雅黑" charset="-122"/>
              </a:rPr>
              <a:t> Technology R&amp;D</a:t>
            </a:r>
          </a:p>
        </p:txBody>
      </p:sp>
      <p:cxnSp>
        <p:nvCxnSpPr>
          <p:cNvPr id="156" name="直接连接符 163"/>
          <p:cNvCxnSpPr>
            <a:cxnSpLocks noChangeShapeType="1"/>
            <a:endCxn id="150" idx="1"/>
          </p:cNvCxnSpPr>
          <p:nvPr/>
        </p:nvCxnSpPr>
        <p:spPr bwMode="auto">
          <a:xfrm flipV="1">
            <a:off x="5601341" y="2915640"/>
            <a:ext cx="1322952" cy="781798"/>
          </a:xfrm>
          <a:prstGeom prst="line">
            <a:avLst/>
          </a:prstGeom>
          <a:noFill/>
          <a:ln w="9525" algn="ctr">
            <a:solidFill>
              <a:srgbClr val="7F7F7F"/>
            </a:solidFill>
            <a:round/>
            <a:headEnd/>
            <a:tailEnd type="oval" w="med" len="med"/>
          </a:ln>
        </p:spPr>
      </p:cxnSp>
      <p:sp>
        <p:nvSpPr>
          <p:cNvPr id="157" name="TextBox 18446"/>
          <p:cNvSpPr txBox="1"/>
          <p:nvPr/>
        </p:nvSpPr>
        <p:spPr>
          <a:xfrm>
            <a:off x="6915564" y="3893214"/>
            <a:ext cx="18244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zh-CN" sz="1000" b="1" dirty="0" err="1">
                <a:latin typeface="微软雅黑" charset="-122"/>
                <a:ea typeface="微软雅黑" charset="-122"/>
              </a:rPr>
              <a:t>Denkei</a:t>
            </a:r>
            <a:r>
              <a:rPr lang="en-US" altLang="zh-CN" sz="1000" b="1" dirty="0">
                <a:latin typeface="微软雅黑" charset="-122"/>
                <a:ea typeface="微软雅黑" charset="-122"/>
              </a:rPr>
              <a:t> Technology R&amp;D</a:t>
            </a:r>
          </a:p>
        </p:txBody>
      </p:sp>
      <p:sp>
        <p:nvSpPr>
          <p:cNvPr id="148" name="五角星 147"/>
          <p:cNvSpPr/>
          <p:nvPr/>
        </p:nvSpPr>
        <p:spPr>
          <a:xfrm>
            <a:off x="5254372" y="3639497"/>
            <a:ext cx="149024" cy="154107"/>
          </a:xfrm>
          <a:prstGeom prst="star5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+mn-ea"/>
            </a:endParaRPr>
          </a:p>
        </p:txBody>
      </p:sp>
    </p:spTree>
  </p:cSld>
  <p:clrMapOvr>
    <a:masterClrMapping/>
  </p:clrMapOvr>
  <p:transition spd="slow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8888" y="120650"/>
            <a:ext cx="7885112" cy="576263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Commissioning Test Industry Distribution</a:t>
            </a:r>
          </a:p>
        </p:txBody>
      </p:sp>
      <p:sp>
        <p:nvSpPr>
          <p:cNvPr id="5" name="AutoShape 174" descr="羊皮纸"/>
          <p:cNvSpPr>
            <a:spLocks noChangeArrowheads="1"/>
          </p:cNvSpPr>
          <p:nvPr/>
        </p:nvSpPr>
        <p:spPr bwMode="auto">
          <a:xfrm>
            <a:off x="5410200" y="1120775"/>
            <a:ext cx="3733800" cy="474663"/>
          </a:xfrm>
          <a:prstGeom prst="flowChartAlternateProcess">
            <a:avLst/>
          </a:prstGeom>
          <a:solidFill>
            <a:schemeClr val="bg1"/>
          </a:solidFill>
          <a:ln w="3175" algn="ctr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tabLst>
                <a:tab pos="574675" algn="l"/>
              </a:tabLst>
              <a:defRPr/>
            </a:pPr>
            <a:r>
              <a:rPr lang="en-US" altLang="zh-CN" sz="1400" b="1" dirty="0">
                <a:solidFill>
                  <a:srgbClr val="E46C0A"/>
                </a:solidFill>
                <a:latin typeface="微软雅黑" charset="-122"/>
                <a:ea typeface="微软雅黑" charset="-122"/>
              </a:rPr>
              <a:t>Auto industry test accounts</a:t>
            </a:r>
          </a:p>
          <a:p>
            <a:pPr algn="ctr">
              <a:tabLst>
                <a:tab pos="574675" algn="l"/>
              </a:tabLst>
              <a:defRPr/>
            </a:pPr>
            <a:r>
              <a:rPr lang="en-US" altLang="zh-CN" sz="1400" b="1" dirty="0">
                <a:solidFill>
                  <a:srgbClr val="E46C0A"/>
                </a:solidFill>
                <a:latin typeface="微软雅黑" charset="-122"/>
                <a:ea typeface="微软雅黑" charset="-122"/>
              </a:rPr>
              <a:t>over 90%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0" y="3489325"/>
            <a:ext cx="1533525" cy="474663"/>
          </a:xfrm>
          <a:prstGeom prst="roundRect">
            <a:avLst/>
          </a:prstGeom>
          <a:solidFill>
            <a:srgbClr val="0070C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lients</a:t>
            </a:r>
          </a:p>
        </p:txBody>
      </p:sp>
      <p:sp>
        <p:nvSpPr>
          <p:cNvPr id="7" name="圆角矩形 6"/>
          <p:cNvSpPr/>
          <p:nvPr/>
        </p:nvSpPr>
        <p:spPr>
          <a:xfrm>
            <a:off x="1907704" y="2436813"/>
            <a:ext cx="1533525" cy="474662"/>
          </a:xfrm>
          <a:prstGeom prst="roundRect">
            <a:avLst/>
          </a:prstGeom>
          <a:solidFill>
            <a:srgbClr val="96C8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Testing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3851920" y="1646238"/>
            <a:ext cx="1533525" cy="47625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Testing industry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3851920" y="2700338"/>
            <a:ext cx="1533525" cy="474662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mponent industry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3851920" y="2166813"/>
            <a:ext cx="1533525" cy="474663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Home appliance/IT </a:t>
            </a:r>
          </a:p>
        </p:txBody>
      </p:sp>
      <p:sp>
        <p:nvSpPr>
          <p:cNvPr id="14" name="圆角矩形 13"/>
          <p:cNvSpPr/>
          <p:nvPr/>
        </p:nvSpPr>
        <p:spPr>
          <a:xfrm>
            <a:off x="3851920" y="3225800"/>
            <a:ext cx="1533525" cy="474663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quipment industry</a:t>
            </a:r>
          </a:p>
        </p:txBody>
      </p:sp>
      <p:sp>
        <p:nvSpPr>
          <p:cNvPr id="15" name="圆角矩形 14"/>
          <p:cNvSpPr/>
          <p:nvPr/>
        </p:nvSpPr>
        <p:spPr>
          <a:xfrm>
            <a:off x="3851920" y="3794125"/>
            <a:ext cx="1533525" cy="474663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ptical industry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3851920" y="4319588"/>
            <a:ext cx="1533525" cy="474662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lectronics industry</a:t>
            </a:r>
          </a:p>
        </p:txBody>
      </p:sp>
      <p:cxnSp>
        <p:nvCxnSpPr>
          <p:cNvPr id="22" name="肘形连接符 21"/>
          <p:cNvCxnSpPr>
            <a:stCxn id="6" idx="3"/>
            <a:endCxn id="7" idx="1"/>
          </p:cNvCxnSpPr>
          <p:nvPr/>
        </p:nvCxnSpPr>
        <p:spPr>
          <a:xfrm flipV="1">
            <a:off x="1533525" y="2674144"/>
            <a:ext cx="374179" cy="1052513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肘形连接符 25"/>
          <p:cNvCxnSpPr>
            <a:stCxn id="7" idx="3"/>
            <a:endCxn id="9" idx="1"/>
          </p:cNvCxnSpPr>
          <p:nvPr/>
        </p:nvCxnSpPr>
        <p:spPr>
          <a:xfrm flipV="1">
            <a:off x="3441229" y="1358107"/>
            <a:ext cx="410691" cy="1316037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肘形连接符 27"/>
          <p:cNvCxnSpPr>
            <a:stCxn id="7" idx="3"/>
            <a:endCxn id="10" idx="1"/>
          </p:cNvCxnSpPr>
          <p:nvPr/>
        </p:nvCxnSpPr>
        <p:spPr>
          <a:xfrm flipV="1">
            <a:off x="3441229" y="1884363"/>
            <a:ext cx="410691" cy="789781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肘形连接符 29"/>
          <p:cNvCxnSpPr>
            <a:cxnSpLocks noChangeShapeType="1"/>
            <a:stCxn id="7" idx="3"/>
            <a:endCxn id="13" idx="1"/>
          </p:cNvCxnSpPr>
          <p:nvPr/>
        </p:nvCxnSpPr>
        <p:spPr bwMode="auto">
          <a:xfrm flipV="1">
            <a:off x="3441229" y="2404145"/>
            <a:ext cx="410691" cy="269999"/>
          </a:xfrm>
          <a:prstGeom prst="bentConnector3">
            <a:avLst>
              <a:gd name="adj1" fmla="val 50000"/>
            </a:avLst>
          </a:prstGeom>
          <a:noFill/>
          <a:ln w="9525" algn="ctr">
            <a:solidFill>
              <a:srgbClr val="595959"/>
            </a:solidFill>
            <a:miter lim="800000"/>
            <a:headEnd/>
            <a:tailEnd type="arrow" w="med" len="med"/>
          </a:ln>
          <a:effectLst>
            <a:outerShdw sx="102000" sy="102000" algn="ctr" rotWithShape="0">
              <a:srgbClr val="000000">
                <a:alpha val="39999"/>
              </a:srgbClr>
            </a:outerShdw>
          </a:effectLst>
        </p:spPr>
      </p:cxnSp>
      <p:cxnSp>
        <p:nvCxnSpPr>
          <p:cNvPr id="32" name="肘形连接符 31"/>
          <p:cNvCxnSpPr>
            <a:stCxn id="7" idx="3"/>
            <a:endCxn id="11" idx="1"/>
          </p:cNvCxnSpPr>
          <p:nvPr/>
        </p:nvCxnSpPr>
        <p:spPr>
          <a:xfrm>
            <a:off x="3441229" y="2674144"/>
            <a:ext cx="410691" cy="26352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肘形连接符 33"/>
          <p:cNvCxnSpPr>
            <a:stCxn id="7" idx="3"/>
            <a:endCxn id="14" idx="1"/>
          </p:cNvCxnSpPr>
          <p:nvPr/>
        </p:nvCxnSpPr>
        <p:spPr>
          <a:xfrm>
            <a:off x="3441229" y="2674144"/>
            <a:ext cx="410691" cy="788988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肘形连接符 38"/>
          <p:cNvCxnSpPr>
            <a:stCxn id="37" idx="3"/>
            <a:endCxn id="15" idx="1"/>
          </p:cNvCxnSpPr>
          <p:nvPr/>
        </p:nvCxnSpPr>
        <p:spPr>
          <a:xfrm flipV="1">
            <a:off x="3441229" y="4031457"/>
            <a:ext cx="410691" cy="52776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肘形连接符 40"/>
          <p:cNvCxnSpPr>
            <a:stCxn id="37" idx="3"/>
            <a:endCxn id="16" idx="1"/>
          </p:cNvCxnSpPr>
          <p:nvPr/>
        </p:nvCxnSpPr>
        <p:spPr>
          <a:xfrm flipV="1">
            <a:off x="3441229" y="4556919"/>
            <a:ext cx="410691" cy="2300"/>
          </a:xfrm>
          <a:prstGeom prst="bentConnector3">
            <a:avLst>
              <a:gd name="adj1" fmla="val 50001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67" name="组合 47"/>
          <p:cNvGrpSpPr>
            <a:grpSpLocks/>
          </p:cNvGrpSpPr>
          <p:nvPr/>
        </p:nvGrpSpPr>
        <p:grpSpPr bwMode="auto">
          <a:xfrm>
            <a:off x="5003800" y="2647950"/>
            <a:ext cx="3840163" cy="2479675"/>
            <a:chOff x="5329312" y="2648145"/>
            <a:chExt cx="3840088" cy="2478838"/>
          </a:xfrm>
        </p:grpSpPr>
        <p:graphicFrame>
          <p:nvGraphicFramePr>
            <p:cNvPr id="12346" name="Object 58"/>
            <p:cNvGraphicFramePr>
              <a:graphicFrameLocks/>
            </p:cNvGraphicFramePr>
            <p:nvPr/>
          </p:nvGraphicFramePr>
          <p:xfrm>
            <a:off x="5278512" y="2597345"/>
            <a:ext cx="3941688" cy="25804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444" r:id="rId4" imgW="3938357" imgH="2578831" progId="Excel.Sheet.8">
                    <p:embed/>
                  </p:oleObj>
                </mc:Choice>
                <mc:Fallback>
                  <p:oleObj r:id="rId4" imgW="3938357" imgH="2578831" progId="Excel.Sheet.8">
                    <p:embed/>
                    <p:pic>
                      <p:nvPicPr>
                        <p:cNvPr id="0" name="Picture 58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278512" y="2597345"/>
                          <a:ext cx="3941688" cy="2580438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4" name="TextBox 43"/>
            <p:cNvSpPr txBox="1"/>
            <p:nvPr/>
          </p:nvSpPr>
          <p:spPr>
            <a:xfrm>
              <a:off x="7289837" y="4009760"/>
              <a:ext cx="811196" cy="3697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/>
                </a:rPr>
                <a:t>90</a:t>
              </a:r>
              <a:r>
                <a:rPr lang="zh-CN" alt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/>
                </a:rPr>
                <a:t>％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492927" y="3108365"/>
              <a:ext cx="811196" cy="36976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/>
                </a:rPr>
                <a:t>10</a:t>
              </a:r>
              <a:r>
                <a:rPr lang="zh-CN" alt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微软雅黑"/>
                </a:rPr>
                <a:t>％</a:t>
              </a:r>
            </a:p>
          </p:txBody>
        </p:sp>
      </p:grpSp>
      <p:grpSp>
        <p:nvGrpSpPr>
          <p:cNvPr id="12368" name="组合 53"/>
          <p:cNvGrpSpPr>
            <a:grpSpLocks/>
          </p:cNvGrpSpPr>
          <p:nvPr/>
        </p:nvGrpSpPr>
        <p:grpSpPr bwMode="auto">
          <a:xfrm>
            <a:off x="7884361" y="4441676"/>
            <a:ext cx="1259636" cy="804862"/>
            <a:chOff x="8485787" y="3174590"/>
            <a:chExt cx="1259760" cy="805948"/>
          </a:xfrm>
        </p:grpSpPr>
        <p:grpSp>
          <p:nvGrpSpPr>
            <p:cNvPr id="12374" name="组合 49"/>
            <p:cNvGrpSpPr>
              <a:grpSpLocks/>
            </p:cNvGrpSpPr>
            <p:nvPr/>
          </p:nvGrpSpPr>
          <p:grpSpPr bwMode="auto">
            <a:xfrm>
              <a:off x="8485787" y="3174590"/>
              <a:ext cx="1259760" cy="475302"/>
              <a:chOff x="8485787" y="3174590"/>
              <a:chExt cx="1259760" cy="475302"/>
            </a:xfrm>
          </p:grpSpPr>
          <p:sp>
            <p:nvSpPr>
              <p:cNvPr id="47" name="圆角矩形 46"/>
              <p:cNvSpPr/>
              <p:nvPr/>
            </p:nvSpPr>
            <p:spPr>
              <a:xfrm>
                <a:off x="8557235" y="3174590"/>
                <a:ext cx="1188312" cy="475302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Auto industry</a:t>
                </a:r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8485787" y="3339913"/>
                <a:ext cx="144476" cy="14465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2375" name="组合 50"/>
            <p:cNvGrpSpPr>
              <a:grpSpLocks/>
            </p:cNvGrpSpPr>
            <p:nvPr/>
          </p:nvGrpSpPr>
          <p:grpSpPr bwMode="auto">
            <a:xfrm>
              <a:off x="8485787" y="3505236"/>
              <a:ext cx="983336" cy="475302"/>
              <a:chOff x="8485787" y="3174254"/>
              <a:chExt cx="983336" cy="475302"/>
            </a:xfrm>
          </p:grpSpPr>
          <p:sp>
            <p:nvSpPr>
              <p:cNvPr id="52" name="圆角矩形 51"/>
              <p:cNvSpPr/>
              <p:nvPr/>
            </p:nvSpPr>
            <p:spPr>
              <a:xfrm>
                <a:off x="8557809" y="3174254"/>
                <a:ext cx="911314" cy="475302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altLang="zh-CN" sz="1200" dirty="0">
                    <a:solidFill>
                      <a:schemeClr val="tx1"/>
                    </a:solidFill>
                  </a:rPr>
                  <a:t>  Others</a:t>
                </a:r>
              </a:p>
            </p:txBody>
          </p:sp>
          <p:sp>
            <p:nvSpPr>
              <p:cNvPr id="53" name="矩形 52"/>
              <p:cNvSpPr/>
              <p:nvPr/>
            </p:nvSpPr>
            <p:spPr>
              <a:xfrm>
                <a:off x="8485787" y="3339576"/>
                <a:ext cx="144476" cy="14465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9" name="圆角矩形 8"/>
          <p:cNvSpPr/>
          <p:nvPr/>
        </p:nvSpPr>
        <p:spPr>
          <a:xfrm>
            <a:off x="3851920" y="1120775"/>
            <a:ext cx="1533525" cy="474663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Auto Industry</a:t>
            </a:r>
          </a:p>
        </p:txBody>
      </p:sp>
      <p:sp>
        <p:nvSpPr>
          <p:cNvPr id="37" name="圆角矩形 36"/>
          <p:cNvSpPr/>
          <p:nvPr/>
        </p:nvSpPr>
        <p:spPr>
          <a:xfrm>
            <a:off x="1907704" y="4321887"/>
            <a:ext cx="1533525" cy="474663"/>
          </a:xfrm>
          <a:prstGeom prst="roundRect">
            <a:avLst/>
          </a:prstGeom>
          <a:solidFill>
            <a:srgbClr val="96C80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alibration</a:t>
            </a:r>
          </a:p>
        </p:txBody>
      </p:sp>
      <p:cxnSp>
        <p:nvCxnSpPr>
          <p:cNvPr id="40" name="肘形连接符 39"/>
          <p:cNvCxnSpPr>
            <a:stCxn id="6" idx="3"/>
            <a:endCxn id="37" idx="1"/>
          </p:cNvCxnSpPr>
          <p:nvPr/>
        </p:nvCxnSpPr>
        <p:spPr>
          <a:xfrm>
            <a:off x="1533525" y="3726657"/>
            <a:ext cx="374179" cy="832562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圆角矩形 83"/>
          <p:cNvSpPr/>
          <p:nvPr/>
        </p:nvSpPr>
        <p:spPr>
          <a:xfrm>
            <a:off x="3851920" y="4873625"/>
            <a:ext cx="1533525" cy="474663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nvironmental equipment </a:t>
            </a:r>
          </a:p>
        </p:txBody>
      </p:sp>
      <p:cxnSp>
        <p:nvCxnSpPr>
          <p:cNvPr id="46" name="肘形连接符 45"/>
          <p:cNvCxnSpPr/>
          <p:nvPr/>
        </p:nvCxnSpPr>
        <p:spPr>
          <a:xfrm rot="16200000" flipH="1">
            <a:off x="3472228" y="4710056"/>
            <a:ext cx="554038" cy="205346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Denkei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R&amp;D 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Equipments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list </a:t>
            </a:r>
            <a:endParaRPr lang="zh-CN" altLang="en-US" sz="2400" b="1" dirty="0">
              <a:solidFill>
                <a:schemeClr val="bg1"/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latin typeface="+mn-ea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381355" y="902526"/>
            <a:ext cx="8395471" cy="4429496"/>
            <a:chOff x="381355" y="961901"/>
            <a:chExt cx="8395471" cy="4593769"/>
          </a:xfrm>
        </p:grpSpPr>
        <p:sp>
          <p:nvSpPr>
            <p:cNvPr id="38" name="フリーフォーム 9">
              <a:extLst>
                <a:ext uri="{FF2B5EF4-FFF2-40B4-BE49-F238E27FC236}">
                  <a16:creationId xmlns:a16="http://schemas.microsoft.com/office/drawing/2014/main" xmlns="" id="{0E247F15-BDF3-4504-8D17-093DDE070652}"/>
                </a:ext>
              </a:extLst>
            </p:cNvPr>
            <p:cNvSpPr/>
            <p:nvPr/>
          </p:nvSpPr>
          <p:spPr>
            <a:xfrm>
              <a:off x="395536" y="961901"/>
              <a:ext cx="1922734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Thermal Shock</a:t>
              </a:r>
              <a:endParaRPr lang="zh-CN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0" name="フリーフォーム 10">
              <a:extLst>
                <a:ext uri="{FF2B5EF4-FFF2-40B4-BE49-F238E27FC236}">
                  <a16:creationId xmlns:a16="http://schemas.microsoft.com/office/drawing/2014/main" xmlns="" id="{24EB13FF-88F4-4A68-8AFC-BA66D91F1195}"/>
                </a:ext>
              </a:extLst>
            </p:cNvPr>
            <p:cNvSpPr/>
            <p:nvPr/>
          </p:nvSpPr>
          <p:spPr>
            <a:xfrm>
              <a:off x="2353933" y="1005337"/>
              <a:ext cx="4917505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C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SPEC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ZUNDAR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ARTNER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1" name="フリーフォーム 11">
              <a:extLst>
                <a:ext uri="{FF2B5EF4-FFF2-40B4-BE49-F238E27FC236}">
                  <a16:creationId xmlns:a16="http://schemas.microsoft.com/office/drawing/2014/main" xmlns="" id="{A67DA90F-24AF-46D3-A0A9-A9F6EBB698C3}"/>
                </a:ext>
              </a:extLst>
            </p:cNvPr>
            <p:cNvSpPr/>
            <p:nvPr/>
          </p:nvSpPr>
          <p:spPr>
            <a:xfrm>
              <a:off x="7454010" y="1010316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4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3" name="フリーフォーム 12">
              <a:extLst>
                <a:ext uri="{FF2B5EF4-FFF2-40B4-BE49-F238E27FC236}">
                  <a16:creationId xmlns:a16="http://schemas.microsoft.com/office/drawing/2014/main" xmlns="" id="{891BB576-6D47-432E-9AD2-54B5882733E9}"/>
                </a:ext>
              </a:extLst>
            </p:cNvPr>
            <p:cNvSpPr/>
            <p:nvPr/>
          </p:nvSpPr>
          <p:spPr>
            <a:xfrm>
              <a:off x="381355" y="1469444"/>
              <a:ext cx="1936915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ja-JP" altLang="en-US" sz="1400" kern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6" name="フリーフォーム 13">
              <a:extLst>
                <a:ext uri="{FF2B5EF4-FFF2-40B4-BE49-F238E27FC236}">
                  <a16:creationId xmlns:a16="http://schemas.microsoft.com/office/drawing/2014/main" xmlns="" id="{0169CE72-3D04-4BDD-A4F3-8B48AB355725}"/>
                </a:ext>
              </a:extLst>
            </p:cNvPr>
            <p:cNvSpPr/>
            <p:nvPr/>
          </p:nvSpPr>
          <p:spPr>
            <a:xfrm>
              <a:off x="2353933" y="1516566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TAC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SPEC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ZUNDAR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5" name="フリーフォーム 14">
              <a:extLst>
                <a:ext uri="{FF2B5EF4-FFF2-40B4-BE49-F238E27FC236}">
                  <a16:creationId xmlns:a16="http://schemas.microsoft.com/office/drawing/2014/main" xmlns="" id="{692A728D-4346-4C75-A790-F6518004E07B}"/>
                </a:ext>
              </a:extLst>
            </p:cNvPr>
            <p:cNvSpPr/>
            <p:nvPr/>
          </p:nvSpPr>
          <p:spPr>
            <a:xfrm>
              <a:off x="7454010" y="1517079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42</a:t>
              </a: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ets</a:t>
              </a:r>
            </a:p>
          </p:txBody>
        </p:sp>
        <p:sp>
          <p:nvSpPr>
            <p:cNvPr id="56" name="フリーフォーム 15">
              <a:extLst>
                <a:ext uri="{FF2B5EF4-FFF2-40B4-BE49-F238E27FC236}">
                  <a16:creationId xmlns:a16="http://schemas.microsoft.com/office/drawing/2014/main" xmlns="" id="{A5111D25-96F1-49EB-AF75-C4FBF2CE014D}"/>
                </a:ext>
              </a:extLst>
            </p:cNvPr>
            <p:cNvSpPr/>
            <p:nvPr/>
          </p:nvSpPr>
          <p:spPr>
            <a:xfrm>
              <a:off x="395536" y="1980673"/>
              <a:ext cx="1956416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120000"/>
                </a:lnSpc>
              </a:pP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Power Temperature Cycle</a:t>
              </a:r>
              <a:endParaRPr lang="ja-JP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7" name="フリーフォーム 16">
              <a:extLst>
                <a:ext uri="{FF2B5EF4-FFF2-40B4-BE49-F238E27FC236}">
                  <a16:creationId xmlns:a16="http://schemas.microsoft.com/office/drawing/2014/main" xmlns="" id="{8A84EF8E-0219-471C-A61B-B4D6A8D4F095}"/>
                </a:ext>
              </a:extLst>
            </p:cNvPr>
            <p:cNvSpPr/>
            <p:nvPr/>
          </p:nvSpPr>
          <p:spPr>
            <a:xfrm>
              <a:off x="2353933" y="2027795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SPEC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ZUNDAR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ARTNER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8" name="フリーフォーム 17">
              <a:extLst>
                <a:ext uri="{FF2B5EF4-FFF2-40B4-BE49-F238E27FC236}">
                  <a16:creationId xmlns:a16="http://schemas.microsoft.com/office/drawing/2014/main" xmlns="" id="{251B93C9-CFCE-497D-868F-6C843555781F}"/>
                </a:ext>
              </a:extLst>
            </p:cNvPr>
            <p:cNvSpPr/>
            <p:nvPr/>
          </p:nvSpPr>
          <p:spPr>
            <a:xfrm>
              <a:off x="7454010" y="2028308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2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59" name="フリーフォーム 18">
              <a:extLst>
                <a:ext uri="{FF2B5EF4-FFF2-40B4-BE49-F238E27FC236}">
                  <a16:creationId xmlns:a16="http://schemas.microsoft.com/office/drawing/2014/main" xmlns="" id="{2209EF38-A276-456D-AEDD-FA3D5AFFDC80}"/>
                </a:ext>
              </a:extLst>
            </p:cNvPr>
            <p:cNvSpPr/>
            <p:nvPr/>
          </p:nvSpPr>
          <p:spPr>
            <a:xfrm>
              <a:off x="402837" y="2491902"/>
              <a:ext cx="1936916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altLang="zh-CN" sz="1200" b="1" dirty="0">
                  <a:solidFill>
                    <a:srgbClr val="262626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Combined Vibration</a:t>
              </a:r>
              <a:endParaRPr lang="ja-JP" altLang="en-US" sz="1200" kern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0" name="フリーフォーム 19">
              <a:extLst>
                <a:ext uri="{FF2B5EF4-FFF2-40B4-BE49-F238E27FC236}">
                  <a16:creationId xmlns:a16="http://schemas.microsoft.com/office/drawing/2014/main" xmlns="" id="{9F4BAF9B-47D6-4F20-B1F7-1952F2A2CB4C}"/>
                </a:ext>
              </a:extLst>
            </p:cNvPr>
            <p:cNvSpPr/>
            <p:nvPr/>
          </p:nvSpPr>
          <p:spPr>
            <a:xfrm>
              <a:off x="2353933" y="2539023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EMIC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TI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1" name="フリーフォーム 20">
              <a:extLst>
                <a:ext uri="{FF2B5EF4-FFF2-40B4-BE49-F238E27FC236}">
                  <a16:creationId xmlns:a16="http://schemas.microsoft.com/office/drawing/2014/main" xmlns="" id="{9E2A48DC-1BFA-4D64-82DB-0267D747F9CA}"/>
                </a:ext>
              </a:extLst>
            </p:cNvPr>
            <p:cNvSpPr/>
            <p:nvPr/>
          </p:nvSpPr>
          <p:spPr>
            <a:xfrm>
              <a:off x="7418348" y="2539023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2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2" name="フリーフォーム 21">
              <a:extLst>
                <a:ext uri="{FF2B5EF4-FFF2-40B4-BE49-F238E27FC236}">
                  <a16:creationId xmlns:a16="http://schemas.microsoft.com/office/drawing/2014/main" xmlns="" id="{263B5447-63A3-45DE-81D7-B97C4FEEB673}"/>
                </a:ext>
              </a:extLst>
            </p:cNvPr>
            <p:cNvSpPr/>
            <p:nvPr/>
          </p:nvSpPr>
          <p:spPr>
            <a:xfrm>
              <a:off x="415036" y="3013804"/>
              <a:ext cx="1936916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altLang="zh-CN" sz="1200" b="1" dirty="0">
                  <a:solidFill>
                    <a:srgbClr val="262626"/>
                  </a:solidFill>
                  <a:latin typeface="微软雅黑" pitchFamily="34" charset="-122"/>
                  <a:ea typeface="微软雅黑" pitchFamily="34" charset="-122"/>
                  <a:cs typeface="Arial" charset="0"/>
                </a:rPr>
                <a:t>Combined Salt-Spray</a:t>
              </a:r>
              <a:endParaRPr lang="ja-JP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ja-JP" altLang="en-US" sz="1200" kern="12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3" name="フリーフォーム 22">
              <a:extLst>
                <a:ext uri="{FF2B5EF4-FFF2-40B4-BE49-F238E27FC236}">
                  <a16:creationId xmlns:a16="http://schemas.microsoft.com/office/drawing/2014/main" xmlns="" id="{D4B5AF29-ED18-4584-BEDF-9657D25F267E}"/>
                </a:ext>
              </a:extLst>
            </p:cNvPr>
            <p:cNvSpPr/>
            <p:nvPr/>
          </p:nvSpPr>
          <p:spPr>
            <a:xfrm>
              <a:off x="2353933" y="3050252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UGA</a:t>
              </a:r>
              <a:endParaRPr lang="en-US" altLang="ja-JP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4" name="フリーフォーム 23">
              <a:extLst>
                <a:ext uri="{FF2B5EF4-FFF2-40B4-BE49-F238E27FC236}">
                  <a16:creationId xmlns:a16="http://schemas.microsoft.com/office/drawing/2014/main" xmlns="" id="{40AB5D62-E8B8-494C-AE89-89ECF9D32A6D}"/>
                </a:ext>
              </a:extLst>
            </p:cNvPr>
            <p:cNvSpPr/>
            <p:nvPr/>
          </p:nvSpPr>
          <p:spPr>
            <a:xfrm>
              <a:off x="7454010" y="3050765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5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5" name="フリーフォーム 24">
              <a:extLst>
                <a:ext uri="{FF2B5EF4-FFF2-40B4-BE49-F238E27FC236}">
                  <a16:creationId xmlns:a16="http://schemas.microsoft.com/office/drawing/2014/main" xmlns="" id="{2829C483-8778-4BF8-A6BA-9FFE683C771F}"/>
                </a:ext>
              </a:extLst>
            </p:cNvPr>
            <p:cNvSpPr/>
            <p:nvPr/>
          </p:nvSpPr>
          <p:spPr>
            <a:xfrm>
              <a:off x="413055" y="3513691"/>
              <a:ext cx="1938897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120000"/>
                </a:lnSpc>
              </a:pP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Physical</a:t>
              </a:r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Xenon weather/Gas corrosion</a:t>
              </a:r>
              <a:endParaRPr lang="ja-JP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6" name="フリーフォーム 25">
              <a:extLst>
                <a:ext uri="{FF2B5EF4-FFF2-40B4-BE49-F238E27FC236}">
                  <a16:creationId xmlns:a16="http://schemas.microsoft.com/office/drawing/2014/main" xmlns="" id="{CBCCCD63-E13D-459F-9C45-3B553E3654ED}"/>
                </a:ext>
              </a:extLst>
            </p:cNvPr>
            <p:cNvSpPr/>
            <p:nvPr/>
          </p:nvSpPr>
          <p:spPr>
            <a:xfrm>
              <a:off x="2353933" y="3561481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UGA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ZUNDAR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社</a:t>
              </a:r>
            </a:p>
          </p:txBody>
        </p:sp>
        <p:sp>
          <p:nvSpPr>
            <p:cNvPr id="67" name="フリーフォーム 26">
              <a:extLst>
                <a:ext uri="{FF2B5EF4-FFF2-40B4-BE49-F238E27FC236}">
                  <a16:creationId xmlns:a16="http://schemas.microsoft.com/office/drawing/2014/main" xmlns="" id="{789297B8-B546-4D46-A2F8-C98342F35990}"/>
                </a:ext>
              </a:extLst>
            </p:cNvPr>
            <p:cNvSpPr/>
            <p:nvPr/>
          </p:nvSpPr>
          <p:spPr>
            <a:xfrm>
              <a:off x="7454010" y="3561994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7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68" name="フリーフォーム 27">
              <a:extLst>
                <a:ext uri="{FF2B5EF4-FFF2-40B4-BE49-F238E27FC236}">
                  <a16:creationId xmlns:a16="http://schemas.microsoft.com/office/drawing/2014/main" xmlns="" id="{1DEE9639-52E9-435A-801B-28577E9207E8}"/>
                </a:ext>
              </a:extLst>
            </p:cNvPr>
            <p:cNvSpPr/>
            <p:nvPr/>
          </p:nvSpPr>
          <p:spPr>
            <a:xfrm>
              <a:off x="413055" y="4025586"/>
              <a:ext cx="1926698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120000"/>
                </a:lnSpc>
              </a:pP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Falling/Mechanical</a:t>
              </a:r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shock/Force-pull</a:t>
              </a:r>
              <a:endParaRPr lang="ja-JP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9" name="フリーフォーム 28">
              <a:extLst>
                <a:ext uri="{FF2B5EF4-FFF2-40B4-BE49-F238E27FC236}">
                  <a16:creationId xmlns:a16="http://schemas.microsoft.com/office/drawing/2014/main" xmlns="" id="{E872B4EA-6DDA-4D10-A846-163AB0954792}"/>
                </a:ext>
              </a:extLst>
            </p:cNvPr>
            <p:cNvSpPr/>
            <p:nvPr/>
          </p:nvSpPr>
          <p:spPr>
            <a:xfrm>
              <a:off x="2353933" y="4072709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HIMAZU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TI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0" name="フリーフォーム 29">
              <a:extLst>
                <a:ext uri="{FF2B5EF4-FFF2-40B4-BE49-F238E27FC236}">
                  <a16:creationId xmlns:a16="http://schemas.microsoft.com/office/drawing/2014/main" xmlns="" id="{A3D9A891-D660-4BF6-A5E6-ACD7224B2A67}"/>
                </a:ext>
              </a:extLst>
            </p:cNvPr>
            <p:cNvSpPr/>
            <p:nvPr/>
          </p:nvSpPr>
          <p:spPr>
            <a:xfrm>
              <a:off x="7454010" y="4073222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3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1" name="フリーフォーム 30">
              <a:extLst>
                <a:ext uri="{FF2B5EF4-FFF2-40B4-BE49-F238E27FC236}">
                  <a16:creationId xmlns:a16="http://schemas.microsoft.com/office/drawing/2014/main" xmlns="" id="{61530FCD-AA0B-4A6F-80A8-B8871B1BDE49}"/>
                </a:ext>
              </a:extLst>
            </p:cNvPr>
            <p:cNvSpPr/>
            <p:nvPr/>
          </p:nvSpPr>
          <p:spPr>
            <a:xfrm>
              <a:off x="413055" y="4535480"/>
              <a:ext cx="1926698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120000"/>
                </a:lnSpc>
              </a:pPr>
              <a:r>
                <a:rPr lang="en-US" altLang="ja-JP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New</a:t>
              </a:r>
              <a:r>
                <a:rPr lang="zh-CN" altLang="en-US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en-US" altLang="zh-CN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Energy</a:t>
              </a:r>
              <a:endParaRPr lang="ja-JP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2" name="フリーフォーム 31">
              <a:extLst>
                <a:ext uri="{FF2B5EF4-FFF2-40B4-BE49-F238E27FC236}">
                  <a16:creationId xmlns:a16="http://schemas.microsoft.com/office/drawing/2014/main" xmlns="" id="{72D0499E-8A42-46B7-B48C-B1D4939C493C}"/>
                </a:ext>
              </a:extLst>
            </p:cNvPr>
            <p:cNvSpPr/>
            <p:nvPr/>
          </p:nvSpPr>
          <p:spPr>
            <a:xfrm>
              <a:off x="2353933" y="4583938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defTabSz="444500"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TI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ZUNDAR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Dlgatron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MKLtech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en-US" altLang="ja-JP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UGA</a:t>
              </a:r>
              <a:endParaRPr lang="en-US" altLang="ja-JP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3" name="フリーフォーム 32">
              <a:extLst>
                <a:ext uri="{FF2B5EF4-FFF2-40B4-BE49-F238E27FC236}">
                  <a16:creationId xmlns:a16="http://schemas.microsoft.com/office/drawing/2014/main" xmlns="" id="{65FD000B-FF19-4B49-9830-F4EFD67AEEBA}"/>
                </a:ext>
              </a:extLst>
            </p:cNvPr>
            <p:cNvSpPr/>
            <p:nvPr/>
          </p:nvSpPr>
          <p:spPr>
            <a:xfrm>
              <a:off x="7454010" y="4584451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35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5" name="フリーフォーム 30">
              <a:extLst>
                <a:ext uri="{FF2B5EF4-FFF2-40B4-BE49-F238E27FC236}">
                  <a16:creationId xmlns:a16="http://schemas.microsoft.com/office/drawing/2014/main" xmlns="" id="{61530FCD-AA0B-4A6F-80A8-B8871B1BDE49}"/>
                </a:ext>
              </a:extLst>
            </p:cNvPr>
            <p:cNvSpPr/>
            <p:nvPr/>
          </p:nvSpPr>
          <p:spPr>
            <a:xfrm>
              <a:off x="395535" y="5057347"/>
              <a:ext cx="1936915" cy="498323"/>
            </a:xfrm>
            <a:custGeom>
              <a:avLst/>
              <a:gdLst>
                <a:gd name="connsiteX0" fmla="*/ 0 w 1525008"/>
                <a:gd name="connsiteY0" fmla="*/ 0 h 328321"/>
                <a:gd name="connsiteX1" fmla="*/ 1470287 w 1525008"/>
                <a:gd name="connsiteY1" fmla="*/ 0 h 328321"/>
                <a:gd name="connsiteX2" fmla="*/ 1525008 w 1525008"/>
                <a:gd name="connsiteY2" fmla="*/ 54721 h 328321"/>
                <a:gd name="connsiteX3" fmla="*/ 1525008 w 1525008"/>
                <a:gd name="connsiteY3" fmla="*/ 328321 h 328321"/>
                <a:gd name="connsiteX4" fmla="*/ 1525008 w 1525008"/>
                <a:gd name="connsiteY4" fmla="*/ 328321 h 328321"/>
                <a:gd name="connsiteX5" fmla="*/ 54721 w 1525008"/>
                <a:gd name="connsiteY5" fmla="*/ 328321 h 328321"/>
                <a:gd name="connsiteX6" fmla="*/ 0 w 1525008"/>
                <a:gd name="connsiteY6" fmla="*/ 273600 h 328321"/>
                <a:gd name="connsiteX7" fmla="*/ 0 w 1525008"/>
                <a:gd name="connsiteY7" fmla="*/ 0 h 3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5008" h="328321">
                  <a:moveTo>
                    <a:pt x="0" y="0"/>
                  </a:moveTo>
                  <a:lnTo>
                    <a:pt x="1470287" y="0"/>
                  </a:lnTo>
                  <a:lnTo>
                    <a:pt x="1525008" y="54721"/>
                  </a:lnTo>
                  <a:lnTo>
                    <a:pt x="1525008" y="328321"/>
                  </a:lnTo>
                  <a:lnTo>
                    <a:pt x="1525008" y="328321"/>
                  </a:lnTo>
                  <a:lnTo>
                    <a:pt x="54721" y="328321"/>
                  </a:lnTo>
                  <a:lnTo>
                    <a:pt x="0" y="2736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601" tIns="34981" rIns="27361" bIns="34981" numCol="1" spcCol="1270" anchor="ctr" anchorCtr="0">
              <a:noAutofit/>
            </a:bodyPr>
            <a:lstStyle/>
            <a:p>
              <a:pPr lvl="0" defTabSz="533400">
                <a:lnSpc>
                  <a:spcPct val="120000"/>
                </a:lnSpc>
              </a:pPr>
              <a:r>
                <a:rPr lang="en-US" altLang="ja-JP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Electric</a:t>
              </a:r>
              <a:endParaRPr lang="ja-JP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6" name="フリーフォーム 31">
              <a:extLst>
                <a:ext uri="{FF2B5EF4-FFF2-40B4-BE49-F238E27FC236}">
                  <a16:creationId xmlns:a16="http://schemas.microsoft.com/office/drawing/2014/main" xmlns="" id="{72D0499E-8A42-46B7-B48C-B1D4939C493C}"/>
                </a:ext>
              </a:extLst>
            </p:cNvPr>
            <p:cNvSpPr/>
            <p:nvPr/>
          </p:nvSpPr>
          <p:spPr>
            <a:xfrm>
              <a:off x="2351952" y="5104470"/>
              <a:ext cx="4917506" cy="413607"/>
            </a:xfrm>
            <a:custGeom>
              <a:avLst/>
              <a:gdLst>
                <a:gd name="connsiteX0" fmla="*/ 0 w 2520387"/>
                <a:gd name="connsiteY0" fmla="*/ 0 h 272506"/>
                <a:gd name="connsiteX1" fmla="*/ 2474968 w 2520387"/>
                <a:gd name="connsiteY1" fmla="*/ 0 h 272506"/>
                <a:gd name="connsiteX2" fmla="*/ 2520387 w 2520387"/>
                <a:gd name="connsiteY2" fmla="*/ 45419 h 272506"/>
                <a:gd name="connsiteX3" fmla="*/ 2520387 w 2520387"/>
                <a:gd name="connsiteY3" fmla="*/ 272506 h 272506"/>
                <a:gd name="connsiteX4" fmla="*/ 2520387 w 2520387"/>
                <a:gd name="connsiteY4" fmla="*/ 272506 h 272506"/>
                <a:gd name="connsiteX5" fmla="*/ 45419 w 2520387"/>
                <a:gd name="connsiteY5" fmla="*/ 272506 h 272506"/>
                <a:gd name="connsiteX6" fmla="*/ 0 w 2520387"/>
                <a:gd name="connsiteY6" fmla="*/ 227087 h 272506"/>
                <a:gd name="connsiteX7" fmla="*/ 0 w 2520387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20387" h="272506">
                  <a:moveTo>
                    <a:pt x="0" y="0"/>
                  </a:moveTo>
                  <a:lnTo>
                    <a:pt x="2474968" y="0"/>
                  </a:lnTo>
                  <a:lnTo>
                    <a:pt x="2520387" y="45419"/>
                  </a:lnTo>
                  <a:lnTo>
                    <a:pt x="2520387" y="272506"/>
                  </a:lnTo>
                  <a:lnTo>
                    <a:pt x="2520387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defTabSz="444500">
                <a:spcAft>
                  <a:spcPct val="35000"/>
                </a:spcAft>
              </a:pP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KIKUSUI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HIOKI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TEKTRONIX</a:t>
              </a:r>
              <a:r>
                <a:rPr lang="ja-JP" altLang="en-US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GRAPHTEC</a:t>
              </a:r>
              <a:r>
                <a:rPr lang="ja-JP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　</a:t>
              </a: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NOISKEN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7" name="フリーフォーム 32">
              <a:extLst>
                <a:ext uri="{FF2B5EF4-FFF2-40B4-BE49-F238E27FC236}">
                  <a16:creationId xmlns:a16="http://schemas.microsoft.com/office/drawing/2014/main" xmlns="" id="{65FD000B-FF19-4B49-9830-F4EFD67AEEBA}"/>
                </a:ext>
              </a:extLst>
            </p:cNvPr>
            <p:cNvSpPr/>
            <p:nvPr/>
          </p:nvSpPr>
          <p:spPr>
            <a:xfrm>
              <a:off x="7452029" y="5104983"/>
              <a:ext cx="1322816" cy="413607"/>
            </a:xfrm>
            <a:custGeom>
              <a:avLst/>
              <a:gdLst>
                <a:gd name="connsiteX0" fmla="*/ 0 w 1322816"/>
                <a:gd name="connsiteY0" fmla="*/ 0 h 272506"/>
                <a:gd name="connsiteX1" fmla="*/ 1277397 w 1322816"/>
                <a:gd name="connsiteY1" fmla="*/ 0 h 272506"/>
                <a:gd name="connsiteX2" fmla="*/ 1322816 w 1322816"/>
                <a:gd name="connsiteY2" fmla="*/ 45419 h 272506"/>
                <a:gd name="connsiteX3" fmla="*/ 1322816 w 1322816"/>
                <a:gd name="connsiteY3" fmla="*/ 272506 h 272506"/>
                <a:gd name="connsiteX4" fmla="*/ 1322816 w 1322816"/>
                <a:gd name="connsiteY4" fmla="*/ 272506 h 272506"/>
                <a:gd name="connsiteX5" fmla="*/ 45419 w 1322816"/>
                <a:gd name="connsiteY5" fmla="*/ 272506 h 272506"/>
                <a:gd name="connsiteX6" fmla="*/ 0 w 1322816"/>
                <a:gd name="connsiteY6" fmla="*/ 227087 h 272506"/>
                <a:gd name="connsiteX7" fmla="*/ 0 w 1322816"/>
                <a:gd name="connsiteY7" fmla="*/ 0 h 27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2816" h="272506">
                  <a:moveTo>
                    <a:pt x="0" y="0"/>
                  </a:moveTo>
                  <a:lnTo>
                    <a:pt x="1277397" y="0"/>
                  </a:lnTo>
                  <a:lnTo>
                    <a:pt x="1322816" y="45419"/>
                  </a:lnTo>
                  <a:lnTo>
                    <a:pt x="1322816" y="272506"/>
                  </a:lnTo>
                  <a:lnTo>
                    <a:pt x="1322816" y="272506"/>
                  </a:lnTo>
                  <a:lnTo>
                    <a:pt x="45419" y="272506"/>
                  </a:lnTo>
                  <a:lnTo>
                    <a:pt x="0" y="2270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409" tIns="29059" rIns="22709" bIns="29059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ja-JP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35sets</a:t>
              </a:r>
              <a:endParaRPr lang="ja-JP" altLang="en-US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4" name="矩形 3">
            <a:extLst>
              <a:ext uri="{FF2B5EF4-FFF2-40B4-BE49-F238E27FC236}">
                <a16:creationId xmlns:a16="http://schemas.microsoft.com/office/drawing/2014/main" xmlns="" id="{14D4647D-AEDB-4FD3-80CF-328B864688E0}"/>
              </a:ext>
            </a:extLst>
          </p:cNvPr>
          <p:cNvSpPr/>
          <p:nvPr/>
        </p:nvSpPr>
        <p:spPr>
          <a:xfrm>
            <a:off x="323528" y="1467631"/>
            <a:ext cx="2259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200" dirty="0"/>
              <a:t> </a:t>
            </a:r>
            <a:r>
              <a:rPr lang="zh-CN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rPr>
              <a:t>Temperature</a:t>
            </a:r>
            <a:r>
              <a:rPr lang="en-US" altLang="zh-CN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CN" alt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itchFamily="34" charset="-122"/>
                <a:ea typeface="微软雅黑" pitchFamily="34" charset="-122"/>
              </a:rPr>
              <a:t>Humidity</a:t>
            </a:r>
          </a:p>
        </p:txBody>
      </p:sp>
    </p:spTree>
    <p:extLst>
      <p:ext uri="{BB962C8B-B14F-4D97-AF65-F5344CB8AC3E}">
        <p14:creationId xmlns:p14="http://schemas.microsoft.com/office/powerpoint/2010/main" val="1649675340"/>
      </p:ext>
    </p:extLst>
  </p:cSld>
  <p:clrMapOvr>
    <a:masterClrMapping/>
  </p:clrMapOvr>
  <p:transition spd="slow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2936290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Pudo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Environmental Lab</a:t>
            </a:r>
          </a:p>
        </p:txBody>
      </p:sp>
      <p:sp>
        <p:nvSpPr>
          <p:cNvPr id="22" name="矩形 21"/>
          <p:cNvSpPr/>
          <p:nvPr/>
        </p:nvSpPr>
        <p:spPr>
          <a:xfrm>
            <a:off x="6643702" y="830443"/>
            <a:ext cx="2422336" cy="478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pitchFamily="34" charset="-122"/>
                <a:ea typeface="微软雅黑" pitchFamily="34" charset="-122"/>
              </a:rPr>
              <a:t>Environmental equipment </a:t>
            </a:r>
          </a:p>
        </p:txBody>
      </p:sp>
      <p:sp>
        <p:nvSpPr>
          <p:cNvPr id="24" name="矩形 23"/>
          <p:cNvSpPr/>
          <p:nvPr/>
        </p:nvSpPr>
        <p:spPr>
          <a:xfrm>
            <a:off x="6643702" y="1307852"/>
            <a:ext cx="2422336" cy="4788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rgbClr val="262626"/>
                </a:solidFill>
                <a:latin typeface="微软雅黑" charset="-122"/>
                <a:ea typeface="微软雅黑" charset="-122"/>
              </a:rPr>
              <a:t>19 sets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078" y="4344017"/>
            <a:ext cx="1608836" cy="1013219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260" y="4352924"/>
            <a:ext cx="1608240" cy="99570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090" y="1331902"/>
            <a:ext cx="1617409" cy="99787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261" y="2326173"/>
            <a:ext cx="1608238" cy="101155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0140" y="3352800"/>
            <a:ext cx="1235034" cy="99121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010" y="1331902"/>
            <a:ext cx="1613904" cy="994271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5584" y="2323567"/>
            <a:ext cx="1249590" cy="1021403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712" y="3349746"/>
            <a:ext cx="992424" cy="994271"/>
          </a:xfrm>
          <a:prstGeom prst="rect">
            <a:avLst/>
          </a:prstGeom>
        </p:spPr>
      </p:pic>
      <p:graphicFrame>
        <p:nvGraphicFramePr>
          <p:cNvPr id="66" name="表格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640088"/>
              </p:ext>
            </p:extLst>
          </p:nvPr>
        </p:nvGraphicFramePr>
        <p:xfrm>
          <a:off x="92264" y="857236"/>
          <a:ext cx="6480000" cy="450000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8000">
                <a:tc rowSpan="3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hermal Shock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Low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T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mperature &amp; Humidity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8000"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08000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Dewing Test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080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Power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</a:t>
                      </a:r>
                      <a:r>
                        <a:rPr lang="en-US" altLang="zh-CN" sz="1200" b="1" baseline="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emperture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Cycling Test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Low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&amp; High T</a:t>
                      </a:r>
                      <a:r>
                        <a:rPr lang="en-US" altLang="zh-CN" sz="12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emperature</a:t>
                      </a:r>
                      <a:r>
                        <a:rPr lang="en-US" altLang="zh-CN" sz="1200" b="1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 – Walking Chamber</a:t>
                      </a: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1861428"/>
      </p:ext>
    </p:extLst>
  </p:cSld>
  <p:clrMapOvr>
    <a:masterClrMapping/>
  </p:clrMapOvr>
  <p:transition spd="slow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056416" y="2974634"/>
            <a:ext cx="3061466" cy="2763186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Pudong</a:t>
            </a: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 - Vibration Lab</a:t>
            </a:r>
          </a:p>
        </p:txBody>
      </p:sp>
      <p:sp>
        <p:nvSpPr>
          <p:cNvPr id="23" name="矩形 22"/>
          <p:cNvSpPr/>
          <p:nvPr/>
        </p:nvSpPr>
        <p:spPr>
          <a:xfrm>
            <a:off x="5715008" y="1517574"/>
            <a:ext cx="3190172" cy="1051894"/>
          </a:xfrm>
          <a:prstGeom prst="rect">
            <a:avLst/>
          </a:prstGeom>
          <a:solidFill>
            <a:schemeClr val="bg1">
              <a:alpha val="75000"/>
            </a:schemeClr>
          </a:solidFill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5T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*  1se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6T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*  2se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8T</a:t>
            </a:r>
            <a:r>
              <a:rPr lang="zh-CN" altLang="en-US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     </a:t>
            </a:r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*  1set</a:t>
            </a:r>
          </a:p>
          <a:p>
            <a:pPr algn="ctr"/>
            <a:r>
              <a:rPr lang="en-US" altLang="zh-CN" sz="1400" b="1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◆ 12T   *  1set</a:t>
            </a:r>
            <a:endParaRPr lang="zh-CN" altLang="en-US" sz="1400" b="1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5715008" y="927408"/>
            <a:ext cx="3190172" cy="59167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Vibration Equipment: 5 sets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Compound Vibration Equipment: </a:t>
            </a:r>
          </a:p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微软雅黑" charset="-122"/>
                <a:ea typeface="微软雅黑" charset="-122"/>
              </a:rPr>
              <a:t>5 sets</a:t>
            </a:r>
          </a:p>
        </p:txBody>
      </p:sp>
      <p:pic>
        <p:nvPicPr>
          <p:cNvPr id="16" name="图片 15" descr="_TEI0584 副本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5362" y="4036366"/>
            <a:ext cx="1845023" cy="1245734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102" y="2760526"/>
            <a:ext cx="1841546" cy="1280131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101" y="1519083"/>
            <a:ext cx="1841546" cy="1254619"/>
          </a:xfrm>
          <a:prstGeom prst="rect">
            <a:avLst/>
          </a:prstGeom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279145"/>
              </p:ext>
            </p:extLst>
          </p:nvPr>
        </p:nvGraphicFramePr>
        <p:xfrm>
          <a:off x="142844" y="924388"/>
          <a:ext cx="5429288" cy="4362003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5950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342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8459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5913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Vibration Test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(Sinusoidal, Random and Shock Test)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Combined </a:t>
                      </a:r>
                      <a:r>
                        <a:rPr kumimoji="0" lang="en-US" altLang="zh-CN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Enviroment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62626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Arial" charset="0"/>
                        </a:rPr>
                        <a:t> Te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59135"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59135">
                <a:tc vMerge="1">
                  <a:txBody>
                    <a:bodyPr/>
                    <a:lstStyle/>
                    <a:p>
                      <a:pPr algn="ctr"/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6038536"/>
      </p:ext>
    </p:extLst>
  </p:cSld>
  <p:clrMapOvr>
    <a:masterClrMapping/>
  </p:clrMapOvr>
  <p:transition spd="slow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30"/>
          <a:stretch/>
        </p:blipFill>
        <p:spPr>
          <a:xfrm flipH="1">
            <a:off x="6108008" y="2936290"/>
            <a:ext cx="3072504" cy="2707292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Pudong – New energy Lab-1</a:t>
            </a:r>
          </a:p>
        </p:txBody>
      </p:sp>
      <p:sp>
        <p:nvSpPr>
          <p:cNvPr id="22" name="矩形 21"/>
          <p:cNvSpPr/>
          <p:nvPr/>
        </p:nvSpPr>
        <p:spPr>
          <a:xfrm>
            <a:off x="6643702" y="842318"/>
            <a:ext cx="2422336" cy="478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l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New equipment</a:t>
            </a:r>
            <a:endParaRPr lang="zh-CN" altLang="en-US" sz="1400" b="1" dirty="0">
              <a:solidFill>
                <a:schemeClr val="lt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6643702" y="1319727"/>
            <a:ext cx="2422336" cy="478800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14sets</a:t>
            </a:r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249" y="4349283"/>
            <a:ext cx="1616665" cy="1007954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535" y="3339441"/>
            <a:ext cx="1607963" cy="997429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857" y="1340232"/>
            <a:ext cx="1619642" cy="985941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483" y="4349282"/>
            <a:ext cx="1599015" cy="1007954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1597" y="2353500"/>
            <a:ext cx="1613901" cy="985941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6189" y="3339441"/>
            <a:ext cx="1609725" cy="1009841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249" y="2348072"/>
            <a:ext cx="1616665" cy="991369"/>
          </a:xfrm>
          <a:prstGeom prst="rect">
            <a:avLst/>
          </a:prstGeom>
        </p:spPr>
      </p:pic>
      <p:pic>
        <p:nvPicPr>
          <p:cNvPr id="27" name="图片 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14" y="1339693"/>
            <a:ext cx="1612900" cy="986480"/>
          </a:xfrm>
          <a:prstGeom prst="rect">
            <a:avLst/>
          </a:prstGeom>
        </p:spPr>
      </p:pic>
      <p:graphicFrame>
        <p:nvGraphicFramePr>
          <p:cNvPr id="66" name="表格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5635383"/>
              </p:ext>
            </p:extLst>
          </p:nvPr>
        </p:nvGraphicFramePr>
        <p:xfrm>
          <a:off x="92264" y="857236"/>
          <a:ext cx="6480000" cy="450000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63500" sx="102000" sy="102000" algn="c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Test Item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>
                            <a:outerShdw blurRad="50800" dist="38100" dir="5400000" algn="t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微软雅黑" pitchFamily="34" charset="-122"/>
                          <a:ea typeface="微软雅黑" pitchFamily="34" charset="-122"/>
                        </a:rPr>
                        <a:t>Photo</a:t>
                      </a:r>
                      <a:endParaRPr lang="zh-CN" altLang="en-US" sz="1400" dirty="0">
                        <a:effectLst>
                          <a:outerShdw blurRad="63500" sx="102000" sy="102000" algn="c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80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Power Battery Assembly Charge-Discharge Test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20000"/>
                        </a:lnSpc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Power Temperature Cycle Chamber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8000">
                <a:tc vMerge="1"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</a:pPr>
                      <a:endParaRPr lang="zh-CN" alt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alt-Spray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0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0T Combined </a:t>
                      </a:r>
                      <a:r>
                        <a:rPr lang="en-US" altLang="zh-CN" sz="1200" b="1" kern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Viration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Mechanical</a:t>
                      </a:r>
                      <a:r>
                        <a:rPr lang="zh-CN" altLang="en-US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 </a:t>
                      </a:r>
                      <a:r>
                        <a:rPr lang="en-US" altLang="zh-CN" sz="1200" b="1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Shock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0800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Cooling System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New Energy Power Supplies</a:t>
                      </a:r>
                    </a:p>
                    <a:p>
                      <a:pPr algn="ctr"/>
                      <a:r>
                        <a:rPr lang="en-US" altLang="zh-CN" sz="1200" b="1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/Electronic load</a:t>
                      </a:r>
                      <a:endParaRPr lang="zh-CN" altLang="en-US" sz="1200" b="1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zh-CN" altLang="en-US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29" name="矩形 28"/>
          <p:cNvSpPr/>
          <p:nvPr/>
        </p:nvSpPr>
        <p:spPr>
          <a:xfrm>
            <a:off x="6653602" y="1849744"/>
            <a:ext cx="2422336" cy="478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solidFill>
                  <a:schemeClr val="lt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Test object</a:t>
            </a:r>
            <a:endParaRPr lang="zh-CN" altLang="en-US" sz="1400" b="1" dirty="0">
              <a:solidFill>
                <a:schemeClr val="lt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6653602" y="2327152"/>
            <a:ext cx="2422336" cy="929163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none" anchor="ctr">
            <a:noAutofit/>
          </a:bodyPr>
          <a:lstStyle/>
          <a:p>
            <a:pPr algn="ctr"/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Power battery</a:t>
            </a:r>
          </a:p>
          <a:p>
            <a:pPr algn="ctr"/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Electric machinery</a:t>
            </a:r>
          </a:p>
          <a:p>
            <a:pPr algn="ctr"/>
            <a:r>
              <a:rPr lang="en-US" altLang="zh-CN" sz="1400" b="1" dirty="0">
                <a:latin typeface="微软雅黑" pitchFamily="34" charset="-122"/>
                <a:ea typeface="微软雅黑" pitchFamily="34" charset="-122"/>
              </a:rPr>
              <a:t>Electronic control</a:t>
            </a:r>
            <a:endParaRPr lang="zh-CN" altLang="en-US" sz="14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805891"/>
      </p:ext>
    </p:extLst>
  </p:cSld>
  <p:clrMapOvr>
    <a:masterClrMapping/>
  </p:clrMapOvr>
  <p:transition spd="slow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59632" y="121196"/>
            <a:ext cx="7884368" cy="57606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altLang="zh-CN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Pudong – New energy Lab-2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479688" y="898136"/>
            <a:ext cx="8009404" cy="3476156"/>
            <a:chOff x="479689" y="898136"/>
            <a:chExt cx="7643032" cy="3733244"/>
          </a:xfrm>
        </p:grpSpPr>
        <p:sp>
          <p:nvSpPr>
            <p:cNvPr id="28" name="圆角矩形 27"/>
            <p:cNvSpPr/>
            <p:nvPr/>
          </p:nvSpPr>
          <p:spPr>
            <a:xfrm>
              <a:off x="479689" y="916052"/>
              <a:ext cx="2186000" cy="83053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latin typeface="微软雅黑" pitchFamily="34" charset="-122"/>
                  <a:ea typeface="微软雅黑" pitchFamily="34" charset="-122"/>
                </a:rPr>
                <a:t>Power </a:t>
              </a:r>
              <a:r>
                <a:rPr lang="en-US" altLang="zh-CN" sz="1600" b="1" dirty="0" smtClean="0">
                  <a:latin typeface="微软雅黑" pitchFamily="34" charset="-122"/>
                  <a:ea typeface="微软雅黑" pitchFamily="34" charset="-122"/>
                </a:rPr>
                <a:t>battery Test</a:t>
              </a:r>
              <a:endParaRPr lang="en-US" altLang="zh-CN" sz="160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3176070" y="898136"/>
              <a:ext cx="2186000" cy="83053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latin typeface="微软雅黑" pitchFamily="34" charset="-122"/>
                  <a:ea typeface="微软雅黑" pitchFamily="34" charset="-122"/>
                </a:rPr>
                <a:t>Electronic </a:t>
              </a:r>
              <a:r>
                <a:rPr lang="en-US" altLang="zh-CN" sz="1600" b="1" dirty="0" smtClean="0">
                  <a:latin typeface="微软雅黑" pitchFamily="34" charset="-122"/>
                  <a:ea typeface="微软雅黑" pitchFamily="34" charset="-122"/>
                </a:rPr>
                <a:t>control Test</a:t>
              </a:r>
              <a:endParaRPr lang="zh-CN" altLang="en-US" sz="160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2" name="圆角矩形 31"/>
            <p:cNvSpPr/>
            <p:nvPr/>
          </p:nvSpPr>
          <p:spPr>
            <a:xfrm>
              <a:off x="5872451" y="898136"/>
              <a:ext cx="2186000" cy="83053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latin typeface="微软雅黑" pitchFamily="34" charset="-122"/>
                  <a:ea typeface="微软雅黑" pitchFamily="34" charset="-122"/>
                </a:rPr>
                <a:t>Electric </a:t>
              </a:r>
              <a:r>
                <a:rPr lang="en-US" altLang="zh-CN" sz="1600" b="1" dirty="0" smtClean="0">
                  <a:latin typeface="微软雅黑" pitchFamily="34" charset="-122"/>
                  <a:ea typeface="微软雅黑" pitchFamily="34" charset="-122"/>
                </a:rPr>
                <a:t>machinery Test</a:t>
              </a:r>
              <a:endParaRPr lang="en-US" altLang="zh-CN" sz="160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33" name="圆角矩形 32"/>
            <p:cNvSpPr/>
            <p:nvPr/>
          </p:nvSpPr>
          <p:spPr>
            <a:xfrm>
              <a:off x="482530" y="3800843"/>
              <a:ext cx="7640191" cy="830537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600" b="1" dirty="0">
                  <a:latin typeface="微软雅黑" pitchFamily="34" charset="-122"/>
                  <a:ea typeface="微软雅黑" pitchFamily="34" charset="-122"/>
                </a:rPr>
                <a:t>Complete reliability and performance test configuration for new energy</a:t>
              </a:r>
              <a:endParaRPr lang="zh-CN" altLang="en-US" sz="1600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276" y="1796205"/>
              <a:ext cx="1965157" cy="1086488"/>
            </a:xfrm>
            <a:prstGeom prst="rect">
              <a:avLst/>
            </a:prstGeom>
          </p:spPr>
        </p:pic>
        <p:pic>
          <p:nvPicPr>
            <p:cNvPr id="35" name="图片 3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2419" y="1808079"/>
              <a:ext cx="1639752" cy="1093168"/>
            </a:xfrm>
            <a:prstGeom prst="rect">
              <a:avLst/>
            </a:prstGeom>
          </p:spPr>
        </p:pic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8483" y="1784329"/>
              <a:ext cx="1155761" cy="1086488"/>
            </a:xfrm>
            <a:prstGeom prst="rect">
              <a:avLst/>
            </a:prstGeom>
          </p:spPr>
        </p:pic>
        <p:sp>
          <p:nvSpPr>
            <p:cNvPr id="37" name="下箭头 36"/>
            <p:cNvSpPr/>
            <p:nvPr/>
          </p:nvSpPr>
          <p:spPr>
            <a:xfrm>
              <a:off x="1173701" y="2943941"/>
              <a:ext cx="776477" cy="76976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b="1">
                <a:latin typeface="+mn-ea"/>
              </a:endParaRPr>
            </a:p>
          </p:txBody>
        </p:sp>
        <p:sp>
          <p:nvSpPr>
            <p:cNvPr id="38" name="下箭头 37"/>
            <p:cNvSpPr/>
            <p:nvPr/>
          </p:nvSpPr>
          <p:spPr>
            <a:xfrm>
              <a:off x="6559747" y="2950029"/>
              <a:ext cx="776477" cy="76976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b="1">
                <a:latin typeface="+mn-ea"/>
              </a:endParaRPr>
            </a:p>
          </p:txBody>
        </p:sp>
        <p:sp>
          <p:nvSpPr>
            <p:cNvPr id="39" name="下箭头 38"/>
            <p:cNvSpPr/>
            <p:nvPr/>
          </p:nvSpPr>
          <p:spPr>
            <a:xfrm>
              <a:off x="3863367" y="2950029"/>
              <a:ext cx="776477" cy="769766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b="1">
                <a:latin typeface="+mn-ea"/>
              </a:endParaRPr>
            </a:p>
          </p:txBody>
        </p:sp>
      </p:grpSp>
      <p:sp>
        <p:nvSpPr>
          <p:cNvPr id="4" name="矩形 3"/>
          <p:cNvSpPr/>
          <p:nvPr/>
        </p:nvSpPr>
        <p:spPr>
          <a:xfrm>
            <a:off x="323528" y="4449760"/>
            <a:ext cx="8664310" cy="999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 Item</a:t>
            </a:r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ectrical performance testing: capacity, energy testing, working condition simulation, life cycle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nvironment 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hermal Shock test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Temperature &amp; Humidity test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Salt Spray 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…</a:t>
            </a:r>
            <a:endParaRPr lang="en-US" altLang="zh-CN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afety Testing: Overcharge/</a:t>
            </a:r>
            <a:r>
              <a:rPr lang="en-US" altLang="zh-CN" sz="1400" dirty="0" err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verdischarge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Protection, Vibration 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, </a:t>
            </a:r>
            <a:r>
              <a:rPr lang="en-US" altLang="zh-CN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mpact </a:t>
            </a:r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sting…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39619679"/>
      </p:ext>
    </p:extLst>
  </p:cSld>
  <p:clrMapOvr>
    <a:masterClrMapping/>
  </p:clrMapOvr>
  <p:transition spd="slow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SCORM_RATE_SLIDES" val="1"/>
  <p:tag name="ISPRING_SCORM_RATE_QUIZZES" val="0"/>
  <p:tag name="ISPRING_SCORM_PASSING_SCORE" val="100.0000000000"/>
  <p:tag name="ISPRING_RESOURCE_PATHS_HASH_2" val="9081608594be4148de30cedb2d8fb5a90abbca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穿越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40</TotalTime>
  <Words>1470</Words>
  <Application>Microsoft Office PowerPoint</Application>
  <PresentationFormat>全屏显示(16:10)</PresentationFormat>
  <Paragraphs>516</Paragraphs>
  <Slides>29</Slides>
  <Notes>29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7" baseType="lpstr">
      <vt:lpstr>Segoe WP</vt:lpstr>
      <vt:lpstr>微软雅黑</vt:lpstr>
      <vt:lpstr>Arial</vt:lpstr>
      <vt:lpstr>方正姚体</vt:lpstr>
      <vt:lpstr>华文楷体</vt:lpstr>
      <vt:lpstr>Tahoma</vt:lpstr>
      <vt:lpstr>Calibri</vt:lpstr>
      <vt:lpstr>宋体</vt:lpstr>
      <vt:lpstr>微软雅黑</vt:lpstr>
      <vt:lpstr>Wingdings</vt:lpstr>
      <vt:lpstr>Impact</vt:lpstr>
      <vt:lpstr>MS PGothic</vt:lpstr>
      <vt:lpstr>Corbel</vt:lpstr>
      <vt:lpstr>HGｺﾞｼｯｸM</vt:lpstr>
      <vt:lpstr>方正兰亭纤黑_GBK</vt:lpstr>
      <vt:lpstr>PMingLiU</vt:lpstr>
      <vt:lpstr>Office 主题</vt:lpstr>
      <vt:lpstr>Microsoft Excel 97-2003 Worksheet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beibei</dc:creator>
  <cp:lastModifiedBy>NDCsh_yjshi</cp:lastModifiedBy>
  <cp:revision>450</cp:revision>
  <cp:lastPrinted>2017-10-10T06:38:33Z</cp:lastPrinted>
  <dcterms:created xsi:type="dcterms:W3CDTF">2013-03-16T01:45:42Z</dcterms:created>
  <dcterms:modified xsi:type="dcterms:W3CDTF">2019-03-06T08:27:00Z</dcterms:modified>
</cp:coreProperties>
</file>